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comments/comment2.xml" ContentType="application/vnd.openxmlformats-officedocument.presentationml.comments+xml"/>
  <Override PartName="/ppt/comments/comment3.xml" ContentType="application/vnd.openxmlformats-officedocument.presentationml.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8.xml" ContentType="application/vnd.openxmlformats-officedocument.presentationml.notesSlide+xml"/>
  <Override PartName="/ppt/tags/tag3.xml" ContentType="application/vnd.openxmlformats-officedocument.presentationml.tags+xml"/>
  <Override PartName="/ppt/notesSlides/notesSlide19.xml" ContentType="application/vnd.openxmlformats-officedocument.presentationml.notesSlide+xml"/>
  <Override PartName="/ppt/tags/tag4.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5.xml" ContentType="application/vnd.openxmlformats-officedocument.presentationml.tags+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49"/>
  </p:notesMasterIdLst>
  <p:handoutMasterIdLst>
    <p:handoutMasterId r:id="rId50"/>
  </p:handoutMasterIdLst>
  <p:sldIdLst>
    <p:sldId id="256" r:id="rId2"/>
    <p:sldId id="257" r:id="rId3"/>
    <p:sldId id="258" r:id="rId4"/>
    <p:sldId id="259" r:id="rId5"/>
    <p:sldId id="260" r:id="rId6"/>
    <p:sldId id="261" r:id="rId7"/>
    <p:sldId id="264" r:id="rId8"/>
    <p:sldId id="263" r:id="rId9"/>
    <p:sldId id="265" r:id="rId10"/>
    <p:sldId id="267" r:id="rId11"/>
    <p:sldId id="305" r:id="rId12"/>
    <p:sldId id="306" r:id="rId13"/>
    <p:sldId id="307" r:id="rId14"/>
    <p:sldId id="308" r:id="rId15"/>
    <p:sldId id="309" r:id="rId16"/>
    <p:sldId id="276" r:id="rId17"/>
    <p:sldId id="262" r:id="rId18"/>
    <p:sldId id="268" r:id="rId19"/>
    <p:sldId id="269" r:id="rId20"/>
    <p:sldId id="277" r:id="rId21"/>
    <p:sldId id="278" r:id="rId22"/>
    <p:sldId id="280" r:id="rId23"/>
    <p:sldId id="281" r:id="rId24"/>
    <p:sldId id="285" r:id="rId25"/>
    <p:sldId id="283" r:id="rId26"/>
    <p:sldId id="288" r:id="rId27"/>
    <p:sldId id="284" r:id="rId28"/>
    <p:sldId id="290" r:id="rId29"/>
    <p:sldId id="289" r:id="rId30"/>
    <p:sldId id="282" r:id="rId31"/>
    <p:sldId id="291" r:id="rId32"/>
    <p:sldId id="300" r:id="rId33"/>
    <p:sldId id="292" r:id="rId34"/>
    <p:sldId id="271" r:id="rId35"/>
    <p:sldId id="301" r:id="rId36"/>
    <p:sldId id="302" r:id="rId37"/>
    <p:sldId id="304" r:id="rId38"/>
    <p:sldId id="303" r:id="rId39"/>
    <p:sldId id="293" r:id="rId40"/>
    <p:sldId id="298" r:id="rId41"/>
    <p:sldId id="297" r:id="rId42"/>
    <p:sldId id="299" r:id="rId43"/>
    <p:sldId id="294" r:id="rId44"/>
    <p:sldId id="296" r:id="rId45"/>
    <p:sldId id="270" r:id="rId46"/>
    <p:sldId id="295" r:id="rId47"/>
    <p:sldId id="273" r:id="rId4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il M" initials="MM" lastIdx="7" clrIdx="0">
    <p:extLst>
      <p:ext uri="{19B8F6BF-5375-455C-9EA6-DF929625EA0E}">
        <p15:presenceInfo xmlns:p15="http://schemas.microsoft.com/office/powerpoint/2012/main" userId="984e34b0a2497e2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7743C"/>
    <a:srgbClr val="D5FA68"/>
    <a:srgbClr val="DDC855"/>
    <a:srgbClr val="448B91"/>
    <a:srgbClr val="BAC48E"/>
    <a:srgbClr val="C2D181"/>
    <a:srgbClr val="B1789C"/>
    <a:srgbClr val="B5BD95"/>
    <a:srgbClr val="B1B69C"/>
    <a:srgbClr val="BFCC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584" autoAdjust="0"/>
    <p:restoredTop sz="91822" autoAdjust="0"/>
  </p:normalViewPr>
  <p:slideViewPr>
    <p:cSldViewPr snapToGrid="0">
      <p:cViewPr varScale="1">
        <p:scale>
          <a:sx n="73" d="100"/>
          <a:sy n="73" d="100"/>
        </p:scale>
        <p:origin x="96" y="294"/>
      </p:cViewPr>
      <p:guideLst/>
    </p:cSldViewPr>
  </p:slideViewPr>
  <p:notesTextViewPr>
    <p:cViewPr>
      <p:scale>
        <a:sx n="1" d="1"/>
        <a:sy n="1" d="1"/>
      </p:scale>
      <p:origin x="0" y="0"/>
    </p:cViewPr>
  </p:notesTextViewPr>
  <p:notesViewPr>
    <p:cSldViewPr snapToGrid="0">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commentAuthors" Target="commentAuthor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0-ED4D-4167-AE54-C51A8FAB6471}"/>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Phasmophobia</c:v>
                </c:pt>
                <c:pt idx="1">
                  <c:v>Forewarned</c:v>
                </c:pt>
              </c:strCache>
            </c:strRef>
          </c:cat>
          <c:val>
            <c:numRef>
              <c:f>Sheet1!$B$2:$B$3</c:f>
              <c:numCache>
                <c:formatCode>#,##0</c:formatCode>
                <c:ptCount val="2"/>
                <c:pt idx="0">
                  <c:v>112241</c:v>
                </c:pt>
                <c:pt idx="1">
                  <c:v>2061</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1-12-22T01:08:26.142" idx="1">
    <p:pos x="3082" y="2962"/>
    <p:text>foresee future of metaverse and systems that are user-centric in mind</p:text>
    <p:extLst>
      <p:ext uri="{C676402C-5697-4E1C-873F-D02D1690AC5C}">
        <p15:threadingInfo xmlns:p15="http://schemas.microsoft.com/office/powerpoint/2012/main" timeZoneBias="-120"/>
      </p:ext>
    </p:extLst>
  </p:cm>
  <p:cm authorId="1" dt="2021-12-22T01:09:55.353" idx="2">
    <p:pos x="3031" y="2159"/>
    <p:text>different time marks have different technological achievment because they overcome hardware infrastructure limitations .. because overlaps with 01 buletpoint 1 here means both? you could say</p:text>
    <p:extLst>
      <p:ext uri="{C676402C-5697-4E1C-873F-D02D1690AC5C}">
        <p15:threadingInfo xmlns:p15="http://schemas.microsoft.com/office/powerpoint/2012/main" timeZoneBias="-120"/>
      </p:ext>
    </p:extLst>
  </p:cm>
  <p:cm authorId="1" dt="2021-12-22T01:28:24.505" idx="6">
    <p:pos x="3045" y="1491"/>
    <p:text>westworld,terminator,matrix, space oddysey</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12-22T01:18:55.042" idx="5">
    <p:pos x="2700" y="2532"/>
    <p:text>metaverse allows to explore the possibilties of endless lifes not only for our kind but any kind any possible outcome... a second life of everything... testing and preparing for every kind of scenario for us for them</p:text>
    <p:extLst>
      <p:ext uri="{C676402C-5697-4E1C-873F-D02D1690AC5C}">
        <p15:threadingInfo xmlns:p15="http://schemas.microsoft.com/office/powerpoint/2012/main" timeZoneBias="-12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1-12-22T01:11:09.375" idx="3">
    <p:pos x="3059" y="2430"/>
    <p:text>Blender, UE5 open-source project to rule the industry from big-tech via a common standard infrastructure for software development and iteration not only in new features but also backwards compatability is the key. How they layed out the landscape of success to prove No.1 industry stanards commons by other big-tech companies</p:text>
    <p:extLst>
      <p:ext uri="{C676402C-5697-4E1C-873F-D02D1690AC5C}">
        <p15:threadingInfo xmlns:p15="http://schemas.microsoft.com/office/powerpoint/2012/main" timeZoneBias="-120"/>
      </p:ext>
    </p:extLst>
  </p:cm>
  <p:cm authorId="1" dt="2021-12-22T01:16:17.050" idx="4">
    <p:pos x="2856" y="2730"/>
    <p:text>not as a actual hardware infrastructure yet (cause of limitations) but as a concept and software implemenations over 2D screens... video games since 1960 a place for people to come together interact with each other and explore oportunities</p:text>
    <p:extLst>
      <p:ext uri="{C676402C-5697-4E1C-873F-D02D1690AC5C}">
        <p15:threadingInfo xmlns:p15="http://schemas.microsoft.com/office/powerpoint/2012/main" timeZoneBias="-12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1978</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1983</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2007+</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2019</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2024+</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F8573D5-C6B2-4F8A-A32F-0F3CE86E8F1B}"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FE7B847-91C7-43AD-B212-883ED2C5FCF9}">
      <dgm:prSet phldrT="[Text]"/>
      <dgm:spPr/>
      <dgm:t>
        <a:bodyPr/>
        <a:lstStyle/>
        <a:p>
          <a:r>
            <a:rPr lang="en-US" b="1" dirty="0">
              <a:latin typeface="Sora" pitchFamily="2" charset="0"/>
              <a:cs typeface="Sora" pitchFamily="2" charset="0"/>
            </a:rPr>
            <a:t>Web 1.0 - static</a:t>
          </a:r>
        </a:p>
      </dgm:t>
    </dgm:pt>
    <dgm:pt modelId="{4436B7E3-F318-4918-BDC1-8F2BC6E683D1}" type="parTrans" cxnId="{3E794A94-B2B8-48ED-9E74-8F955D3D1AF4}">
      <dgm:prSet/>
      <dgm:spPr/>
      <dgm:t>
        <a:bodyPr/>
        <a:lstStyle/>
        <a:p>
          <a:endParaRPr lang="en-US"/>
        </a:p>
      </dgm:t>
    </dgm:pt>
    <dgm:pt modelId="{54556CB8-E3AD-47FA-AC6C-788C5151F7EB}" type="sibTrans" cxnId="{3E794A94-B2B8-48ED-9E74-8F955D3D1AF4}">
      <dgm:prSet/>
      <dgm:spPr/>
      <dgm:t>
        <a:bodyPr/>
        <a:lstStyle/>
        <a:p>
          <a:endParaRPr lang="en-US"/>
        </a:p>
      </dgm:t>
    </dgm:pt>
    <dgm:pt modelId="{1F117E15-A5F1-4B2C-A6D6-3B4ACFB2F51C}">
      <dgm:prSet phldrT="[Text]"/>
      <dgm:spPr/>
      <dgm:t>
        <a:bodyPr/>
        <a:lstStyle/>
        <a:p>
          <a:r>
            <a:rPr lang="en-US" dirty="0">
              <a:latin typeface="Sora" pitchFamily="2" charset="0"/>
              <a:cs typeface="Sora" pitchFamily="2" charset="0"/>
            </a:rPr>
            <a:t>Browser</a:t>
          </a:r>
        </a:p>
      </dgm:t>
    </dgm:pt>
    <dgm:pt modelId="{A18C4AF1-3FFB-419F-B710-61CE759D6E4E}" type="parTrans" cxnId="{1E99F6DD-0A40-4FA0-997C-84C895D8F4D0}">
      <dgm:prSet/>
      <dgm:spPr/>
      <dgm:t>
        <a:bodyPr/>
        <a:lstStyle/>
        <a:p>
          <a:endParaRPr lang="en-US"/>
        </a:p>
      </dgm:t>
    </dgm:pt>
    <dgm:pt modelId="{6632D7E7-09E9-4997-B192-0EB8E77EE9B3}" type="sibTrans" cxnId="{1E99F6DD-0A40-4FA0-997C-84C895D8F4D0}">
      <dgm:prSet/>
      <dgm:spPr/>
      <dgm:t>
        <a:bodyPr/>
        <a:lstStyle/>
        <a:p>
          <a:endParaRPr lang="en-US"/>
        </a:p>
      </dgm:t>
    </dgm:pt>
    <dgm:pt modelId="{3EB6E66B-F475-42DB-BB41-0A33C30919BE}">
      <dgm:prSet phldrT="[Text]"/>
      <dgm:spPr/>
      <dgm:t>
        <a:bodyPr/>
        <a:lstStyle/>
        <a:p>
          <a:r>
            <a:rPr lang="en-US" dirty="0">
              <a:latin typeface="Sora" pitchFamily="2" charset="0"/>
              <a:cs typeface="Sora" pitchFamily="2" charset="0"/>
            </a:rPr>
            <a:t>Websites</a:t>
          </a:r>
        </a:p>
      </dgm:t>
    </dgm:pt>
    <dgm:pt modelId="{F45EB8DE-4517-4F0A-A300-AE8A38D31003}" type="parTrans" cxnId="{DFD3F792-C560-4328-90D1-2FAA4517F3BC}">
      <dgm:prSet/>
      <dgm:spPr/>
      <dgm:t>
        <a:bodyPr/>
        <a:lstStyle/>
        <a:p>
          <a:endParaRPr lang="en-US"/>
        </a:p>
      </dgm:t>
    </dgm:pt>
    <dgm:pt modelId="{DB7920F0-94CC-4861-9D7E-366C48724CCE}" type="sibTrans" cxnId="{DFD3F792-C560-4328-90D1-2FAA4517F3BC}">
      <dgm:prSet/>
      <dgm:spPr/>
      <dgm:t>
        <a:bodyPr/>
        <a:lstStyle/>
        <a:p>
          <a:endParaRPr lang="en-US"/>
        </a:p>
      </dgm:t>
    </dgm:pt>
    <dgm:pt modelId="{3DAD3983-E4D3-4D2A-8908-56F92B29D124}">
      <dgm:prSet phldrT="[Text]"/>
      <dgm:spPr/>
      <dgm:t>
        <a:bodyPr/>
        <a:lstStyle/>
        <a:p>
          <a:r>
            <a:rPr lang="en-US" b="1" dirty="0">
              <a:latin typeface="Sora" pitchFamily="2" charset="0"/>
              <a:cs typeface="Sora" pitchFamily="2" charset="0"/>
            </a:rPr>
            <a:t>Web 2.0 - centralized</a:t>
          </a:r>
        </a:p>
      </dgm:t>
    </dgm:pt>
    <dgm:pt modelId="{80622DBA-2249-4B8B-BA26-93233873ADB4}" type="parTrans" cxnId="{853019A5-D687-4A19-8051-E72DA1DAEEB9}">
      <dgm:prSet/>
      <dgm:spPr/>
      <dgm:t>
        <a:bodyPr/>
        <a:lstStyle/>
        <a:p>
          <a:endParaRPr lang="en-US"/>
        </a:p>
      </dgm:t>
    </dgm:pt>
    <dgm:pt modelId="{FA301B3E-8496-4B80-9D2C-74DE35A167D1}" type="sibTrans" cxnId="{853019A5-D687-4A19-8051-E72DA1DAEEB9}">
      <dgm:prSet/>
      <dgm:spPr/>
      <dgm:t>
        <a:bodyPr/>
        <a:lstStyle/>
        <a:p>
          <a:endParaRPr lang="en-US"/>
        </a:p>
      </dgm:t>
    </dgm:pt>
    <dgm:pt modelId="{4B494B15-2E01-457A-A792-6E27F557A1F0}">
      <dgm:prSet phldrT="[Text]"/>
      <dgm:spPr/>
      <dgm:t>
        <a:bodyPr/>
        <a:lstStyle/>
        <a:p>
          <a:r>
            <a:rPr lang="en-US" dirty="0">
              <a:latin typeface="Sora" pitchFamily="2" charset="0"/>
              <a:cs typeface="Sora" pitchFamily="2" charset="0"/>
            </a:rPr>
            <a:t>Mobile</a:t>
          </a:r>
        </a:p>
      </dgm:t>
    </dgm:pt>
    <dgm:pt modelId="{51CDDCAC-F403-4919-978B-7550D3F79F53}" type="parTrans" cxnId="{BDD6B2B7-B053-4148-A0A4-4B57941C7BD3}">
      <dgm:prSet/>
      <dgm:spPr/>
      <dgm:t>
        <a:bodyPr/>
        <a:lstStyle/>
        <a:p>
          <a:endParaRPr lang="en-US"/>
        </a:p>
      </dgm:t>
    </dgm:pt>
    <dgm:pt modelId="{B7C449DF-0238-4CE5-9209-395F5237E34C}" type="sibTrans" cxnId="{BDD6B2B7-B053-4148-A0A4-4B57941C7BD3}">
      <dgm:prSet/>
      <dgm:spPr/>
      <dgm:t>
        <a:bodyPr/>
        <a:lstStyle/>
        <a:p>
          <a:endParaRPr lang="en-US"/>
        </a:p>
      </dgm:t>
    </dgm:pt>
    <dgm:pt modelId="{30608B58-314A-4336-8411-F3ED2599822C}">
      <dgm:prSet phldrT="[Text]"/>
      <dgm:spPr/>
      <dgm:t>
        <a:bodyPr/>
        <a:lstStyle/>
        <a:p>
          <a:r>
            <a:rPr lang="en-US" dirty="0">
              <a:latin typeface="Sora" pitchFamily="2" charset="0"/>
              <a:cs typeface="Sora" pitchFamily="2" charset="0"/>
            </a:rPr>
            <a:t>Apps</a:t>
          </a:r>
        </a:p>
      </dgm:t>
    </dgm:pt>
    <dgm:pt modelId="{5710641C-7F3F-494D-B930-08845F7B6D09}" type="parTrans" cxnId="{708698EF-9CB0-43C3-B44E-C1166B788DD7}">
      <dgm:prSet/>
      <dgm:spPr/>
      <dgm:t>
        <a:bodyPr/>
        <a:lstStyle/>
        <a:p>
          <a:endParaRPr lang="en-US"/>
        </a:p>
      </dgm:t>
    </dgm:pt>
    <dgm:pt modelId="{5F990060-F781-4FB0-A6A4-37977917C08F}" type="sibTrans" cxnId="{708698EF-9CB0-43C3-B44E-C1166B788DD7}">
      <dgm:prSet/>
      <dgm:spPr/>
      <dgm:t>
        <a:bodyPr/>
        <a:lstStyle/>
        <a:p>
          <a:endParaRPr lang="en-US"/>
        </a:p>
      </dgm:t>
    </dgm:pt>
    <dgm:pt modelId="{5AEC650C-2689-4012-9024-144AA27C99BB}">
      <dgm:prSet phldrT="[Text]"/>
      <dgm:spPr/>
      <dgm:t>
        <a:bodyPr/>
        <a:lstStyle/>
        <a:p>
          <a:r>
            <a:rPr lang="en-US" dirty="0">
              <a:latin typeface="Sora" pitchFamily="2" charset="0"/>
              <a:cs typeface="Sora" pitchFamily="2" charset="0"/>
            </a:rPr>
            <a:t>Servers</a:t>
          </a:r>
        </a:p>
      </dgm:t>
    </dgm:pt>
    <dgm:pt modelId="{EB581A00-0A58-4B99-B713-677D75B28A84}" type="parTrans" cxnId="{FCD06824-8EB9-414A-B04B-68A47F4196FF}">
      <dgm:prSet/>
      <dgm:spPr/>
      <dgm:t>
        <a:bodyPr/>
        <a:lstStyle/>
        <a:p>
          <a:endParaRPr lang="en-US"/>
        </a:p>
      </dgm:t>
    </dgm:pt>
    <dgm:pt modelId="{DAF95190-36D4-457D-A5E3-265AC4214EE4}" type="sibTrans" cxnId="{FCD06824-8EB9-414A-B04B-68A47F4196FF}">
      <dgm:prSet/>
      <dgm:spPr/>
      <dgm:t>
        <a:bodyPr/>
        <a:lstStyle/>
        <a:p>
          <a:endParaRPr lang="en-US"/>
        </a:p>
      </dgm:t>
    </dgm:pt>
    <dgm:pt modelId="{711A6AEE-CAC4-4DDF-A96A-1BB01916719F}">
      <dgm:prSet phldrT="[Text]"/>
      <dgm:spPr/>
      <dgm:t>
        <a:bodyPr/>
        <a:lstStyle/>
        <a:p>
          <a:r>
            <a:rPr lang="en-US" b="1" dirty="0">
              <a:latin typeface="Sora" pitchFamily="2" charset="0"/>
              <a:cs typeface="Sora" pitchFamily="2" charset="0"/>
            </a:rPr>
            <a:t>Web 3.0 - decentralized</a:t>
          </a:r>
        </a:p>
      </dgm:t>
    </dgm:pt>
    <dgm:pt modelId="{342762AB-F185-4909-A2A5-4DFA57220E71}" type="sibTrans" cxnId="{B7233AB5-E61E-434D-AC3F-29B9F84B6D1D}">
      <dgm:prSet/>
      <dgm:spPr/>
      <dgm:t>
        <a:bodyPr/>
        <a:lstStyle/>
        <a:p>
          <a:endParaRPr lang="en-US"/>
        </a:p>
      </dgm:t>
    </dgm:pt>
    <dgm:pt modelId="{6FB70FD6-E707-4205-B0A2-025B51677442}" type="parTrans" cxnId="{B7233AB5-E61E-434D-AC3F-29B9F84B6D1D}">
      <dgm:prSet/>
      <dgm:spPr/>
      <dgm:t>
        <a:bodyPr/>
        <a:lstStyle/>
        <a:p>
          <a:endParaRPr lang="en-US"/>
        </a:p>
      </dgm:t>
    </dgm:pt>
    <dgm:pt modelId="{7950D0E0-0F3F-48FF-9404-270FCBE3A34C}">
      <dgm:prSet phldrT="[Text]"/>
      <dgm:spPr/>
      <dgm:t>
        <a:bodyPr/>
        <a:lstStyle/>
        <a:p>
          <a:pPr algn="ctr"/>
          <a:r>
            <a:rPr lang="en-US" dirty="0">
              <a:latin typeface="Sora" pitchFamily="2" charset="0"/>
              <a:cs typeface="Sora" pitchFamily="2" charset="0"/>
            </a:rPr>
            <a:t>XR</a:t>
          </a:r>
        </a:p>
      </dgm:t>
    </dgm:pt>
    <dgm:pt modelId="{0DDE3D10-5857-43A7-B0B9-C4E075C3D64F}" type="parTrans" cxnId="{AB10B52D-1A0E-4FA1-A40A-321778740A0D}">
      <dgm:prSet/>
      <dgm:spPr/>
      <dgm:t>
        <a:bodyPr/>
        <a:lstStyle/>
        <a:p>
          <a:endParaRPr lang="en-US"/>
        </a:p>
      </dgm:t>
    </dgm:pt>
    <dgm:pt modelId="{811C618D-D323-49FB-8408-7F6B5862EA2C}" type="sibTrans" cxnId="{AB10B52D-1A0E-4FA1-A40A-321778740A0D}">
      <dgm:prSet/>
      <dgm:spPr/>
      <dgm:t>
        <a:bodyPr/>
        <a:lstStyle/>
        <a:p>
          <a:endParaRPr lang="en-US"/>
        </a:p>
      </dgm:t>
    </dgm:pt>
    <dgm:pt modelId="{D722CDB3-32A4-4AEC-95C9-18153B86C40C}">
      <dgm:prSet phldrT="[Text]"/>
      <dgm:spPr/>
      <dgm:t>
        <a:bodyPr/>
        <a:lstStyle/>
        <a:p>
          <a:r>
            <a:rPr lang="en-US" dirty="0">
              <a:latin typeface="Sora" pitchFamily="2" charset="0"/>
              <a:cs typeface="Sora" pitchFamily="2" charset="0"/>
            </a:rPr>
            <a:t>A.I</a:t>
          </a:r>
        </a:p>
      </dgm:t>
    </dgm:pt>
    <dgm:pt modelId="{4EF1BE70-20B6-4973-8B8A-491C28A23106}" type="parTrans" cxnId="{D779AA29-848D-448B-ABAA-79723B56FC19}">
      <dgm:prSet/>
      <dgm:spPr/>
      <dgm:t>
        <a:bodyPr/>
        <a:lstStyle/>
        <a:p>
          <a:endParaRPr lang="en-US"/>
        </a:p>
      </dgm:t>
    </dgm:pt>
    <dgm:pt modelId="{2047FE27-3786-442A-A096-AD14D71CBCBE}" type="sibTrans" cxnId="{D779AA29-848D-448B-ABAA-79723B56FC19}">
      <dgm:prSet/>
      <dgm:spPr/>
      <dgm:t>
        <a:bodyPr/>
        <a:lstStyle/>
        <a:p>
          <a:endParaRPr lang="en-US"/>
        </a:p>
      </dgm:t>
    </dgm:pt>
    <dgm:pt modelId="{940E4AA7-74AB-45C5-B086-3FB52FBCFE16}">
      <dgm:prSet phldrT="[Text]"/>
      <dgm:spPr/>
      <dgm:t>
        <a:bodyPr/>
        <a:lstStyle/>
        <a:p>
          <a:r>
            <a:rPr lang="en-US" dirty="0">
              <a:latin typeface="Sora" pitchFamily="2" charset="0"/>
              <a:cs typeface="Sora" pitchFamily="2" charset="0"/>
            </a:rPr>
            <a:t>Blockchain</a:t>
          </a:r>
        </a:p>
      </dgm:t>
    </dgm:pt>
    <dgm:pt modelId="{F5422D5A-8F77-43DE-B3C2-5A25851D9488}" type="parTrans" cxnId="{3C70F259-5A49-4784-835F-1683E6F02221}">
      <dgm:prSet/>
      <dgm:spPr/>
      <dgm:t>
        <a:bodyPr/>
        <a:lstStyle/>
        <a:p>
          <a:endParaRPr lang="en-US"/>
        </a:p>
      </dgm:t>
    </dgm:pt>
    <dgm:pt modelId="{F313C869-F6B4-49BD-BBA6-83E5EDB49268}" type="sibTrans" cxnId="{3C70F259-5A49-4784-835F-1683E6F02221}">
      <dgm:prSet/>
      <dgm:spPr/>
      <dgm:t>
        <a:bodyPr/>
        <a:lstStyle/>
        <a:p>
          <a:endParaRPr lang="en-US"/>
        </a:p>
      </dgm:t>
    </dgm:pt>
    <dgm:pt modelId="{A4A140CE-7F57-4AF3-8180-9A73E984E8EC}">
      <dgm:prSet phldrT="[Text]"/>
      <dgm:spPr/>
      <dgm:t>
        <a:bodyPr/>
        <a:lstStyle/>
        <a:p>
          <a:r>
            <a:rPr lang="en-US" dirty="0">
              <a:latin typeface="Sora" pitchFamily="2" charset="0"/>
              <a:cs typeface="Sora" pitchFamily="2" charset="0"/>
            </a:rPr>
            <a:t>Cloud</a:t>
          </a:r>
        </a:p>
      </dgm:t>
    </dgm:pt>
    <dgm:pt modelId="{606E6FC1-28B3-4230-A92C-34E7E2856763}" type="parTrans" cxnId="{21F4C0C1-C76A-45CF-BC7C-1B8E7A6646C0}">
      <dgm:prSet/>
      <dgm:spPr/>
      <dgm:t>
        <a:bodyPr/>
        <a:lstStyle/>
        <a:p>
          <a:endParaRPr lang="en-US"/>
        </a:p>
      </dgm:t>
    </dgm:pt>
    <dgm:pt modelId="{0E254708-0C1D-4DA0-BA70-78320FA5A3C2}" type="sibTrans" cxnId="{21F4C0C1-C76A-45CF-BC7C-1B8E7A6646C0}">
      <dgm:prSet/>
      <dgm:spPr/>
      <dgm:t>
        <a:bodyPr/>
        <a:lstStyle/>
        <a:p>
          <a:endParaRPr lang="en-US"/>
        </a:p>
      </dgm:t>
    </dgm:pt>
    <dgm:pt modelId="{1DC85D11-614B-40BC-AE6D-875702420051}" type="pres">
      <dgm:prSet presAssocID="{DF8573D5-C6B2-4F8A-A32F-0F3CE86E8F1B}" presName="diagram" presStyleCnt="0">
        <dgm:presLayoutVars>
          <dgm:chPref val="1"/>
          <dgm:dir/>
          <dgm:animOne val="branch"/>
          <dgm:animLvl val="lvl"/>
          <dgm:resizeHandles/>
        </dgm:presLayoutVars>
      </dgm:prSet>
      <dgm:spPr/>
    </dgm:pt>
    <dgm:pt modelId="{3C7722D2-DFD8-4ED0-805B-C49F83B98D71}" type="pres">
      <dgm:prSet presAssocID="{5FE7B847-91C7-43AD-B212-883ED2C5FCF9}" presName="root" presStyleCnt="0"/>
      <dgm:spPr/>
    </dgm:pt>
    <dgm:pt modelId="{654D1B6E-B36C-4E6C-8A59-13E30E500630}" type="pres">
      <dgm:prSet presAssocID="{5FE7B847-91C7-43AD-B212-883ED2C5FCF9}" presName="rootComposite" presStyleCnt="0"/>
      <dgm:spPr/>
    </dgm:pt>
    <dgm:pt modelId="{2C1788AB-B3CB-47B4-AD01-4BE1EEC06DB1}" type="pres">
      <dgm:prSet presAssocID="{5FE7B847-91C7-43AD-B212-883ED2C5FCF9}" presName="rootText" presStyleLbl="node1" presStyleIdx="0" presStyleCnt="3"/>
      <dgm:spPr/>
    </dgm:pt>
    <dgm:pt modelId="{33A7F60F-08AE-4405-84AD-DEDB636D2851}" type="pres">
      <dgm:prSet presAssocID="{5FE7B847-91C7-43AD-B212-883ED2C5FCF9}" presName="rootConnector" presStyleLbl="node1" presStyleIdx="0" presStyleCnt="3"/>
      <dgm:spPr/>
    </dgm:pt>
    <dgm:pt modelId="{143FDE89-B686-4E38-8A2C-E56FA34A4271}" type="pres">
      <dgm:prSet presAssocID="{5FE7B847-91C7-43AD-B212-883ED2C5FCF9}" presName="childShape" presStyleCnt="0"/>
      <dgm:spPr/>
    </dgm:pt>
    <dgm:pt modelId="{CD482211-B6D5-43FE-ABEE-4664D5B3FBAC}" type="pres">
      <dgm:prSet presAssocID="{A18C4AF1-3FFB-419F-B710-61CE759D6E4E}" presName="Name13" presStyleLbl="parChTrans1D2" presStyleIdx="0" presStyleCnt="9"/>
      <dgm:spPr/>
    </dgm:pt>
    <dgm:pt modelId="{DA26AFC3-342C-4E28-B92E-F65342CB017D}" type="pres">
      <dgm:prSet presAssocID="{1F117E15-A5F1-4B2C-A6D6-3B4ACFB2F51C}" presName="childText" presStyleLbl="bgAcc1" presStyleIdx="0" presStyleCnt="9">
        <dgm:presLayoutVars>
          <dgm:bulletEnabled val="1"/>
        </dgm:presLayoutVars>
      </dgm:prSet>
      <dgm:spPr/>
    </dgm:pt>
    <dgm:pt modelId="{025DA7A9-14F3-4194-8615-727A670418C4}" type="pres">
      <dgm:prSet presAssocID="{F45EB8DE-4517-4F0A-A300-AE8A38D31003}" presName="Name13" presStyleLbl="parChTrans1D2" presStyleIdx="1" presStyleCnt="9"/>
      <dgm:spPr/>
    </dgm:pt>
    <dgm:pt modelId="{B1B26888-48E6-4E75-BED8-0C19BEC329A6}" type="pres">
      <dgm:prSet presAssocID="{3EB6E66B-F475-42DB-BB41-0A33C30919BE}" presName="childText" presStyleLbl="bgAcc1" presStyleIdx="1" presStyleCnt="9">
        <dgm:presLayoutVars>
          <dgm:bulletEnabled val="1"/>
        </dgm:presLayoutVars>
      </dgm:prSet>
      <dgm:spPr/>
    </dgm:pt>
    <dgm:pt modelId="{0F7D15A0-BA0C-4F7A-8E16-CFD7AE14D761}" type="pres">
      <dgm:prSet presAssocID="{EB581A00-0A58-4B99-B713-677D75B28A84}" presName="Name13" presStyleLbl="parChTrans1D2" presStyleIdx="2" presStyleCnt="9"/>
      <dgm:spPr/>
    </dgm:pt>
    <dgm:pt modelId="{F54D6BCE-B989-464A-B2E1-CAAE6AE4D6B0}" type="pres">
      <dgm:prSet presAssocID="{5AEC650C-2689-4012-9024-144AA27C99BB}" presName="childText" presStyleLbl="bgAcc1" presStyleIdx="2" presStyleCnt="9">
        <dgm:presLayoutVars>
          <dgm:bulletEnabled val="1"/>
        </dgm:presLayoutVars>
      </dgm:prSet>
      <dgm:spPr/>
    </dgm:pt>
    <dgm:pt modelId="{B63C590B-3F38-4049-911C-2706930DCD1A}" type="pres">
      <dgm:prSet presAssocID="{3DAD3983-E4D3-4D2A-8908-56F92B29D124}" presName="root" presStyleCnt="0"/>
      <dgm:spPr/>
    </dgm:pt>
    <dgm:pt modelId="{7AD2DF28-73FD-4BE8-9208-6D0E296D922F}" type="pres">
      <dgm:prSet presAssocID="{3DAD3983-E4D3-4D2A-8908-56F92B29D124}" presName="rootComposite" presStyleCnt="0"/>
      <dgm:spPr/>
    </dgm:pt>
    <dgm:pt modelId="{288CE51C-AB1A-4BFA-9130-9B0DD1626D88}" type="pres">
      <dgm:prSet presAssocID="{3DAD3983-E4D3-4D2A-8908-56F92B29D124}" presName="rootText" presStyleLbl="node1" presStyleIdx="1" presStyleCnt="3"/>
      <dgm:spPr/>
    </dgm:pt>
    <dgm:pt modelId="{DFFCFF26-AD99-42B6-A72B-743ACA7DD74B}" type="pres">
      <dgm:prSet presAssocID="{3DAD3983-E4D3-4D2A-8908-56F92B29D124}" presName="rootConnector" presStyleLbl="node1" presStyleIdx="1" presStyleCnt="3"/>
      <dgm:spPr/>
    </dgm:pt>
    <dgm:pt modelId="{1999E721-7F41-4C99-A729-BE03B8038BC2}" type="pres">
      <dgm:prSet presAssocID="{3DAD3983-E4D3-4D2A-8908-56F92B29D124}" presName="childShape" presStyleCnt="0"/>
      <dgm:spPr/>
    </dgm:pt>
    <dgm:pt modelId="{780F9F98-CBFF-42F6-B21E-8E490ED86E7F}" type="pres">
      <dgm:prSet presAssocID="{51CDDCAC-F403-4919-978B-7550D3F79F53}" presName="Name13" presStyleLbl="parChTrans1D2" presStyleIdx="3" presStyleCnt="9"/>
      <dgm:spPr/>
    </dgm:pt>
    <dgm:pt modelId="{202F257D-07C2-4C02-9FBB-DFC8F5F95E15}" type="pres">
      <dgm:prSet presAssocID="{4B494B15-2E01-457A-A792-6E27F557A1F0}" presName="childText" presStyleLbl="bgAcc1" presStyleIdx="3" presStyleCnt="9">
        <dgm:presLayoutVars>
          <dgm:bulletEnabled val="1"/>
        </dgm:presLayoutVars>
      </dgm:prSet>
      <dgm:spPr/>
    </dgm:pt>
    <dgm:pt modelId="{1B388535-E09A-4809-8D94-D62B0C1A500E}" type="pres">
      <dgm:prSet presAssocID="{5710641C-7F3F-494D-B930-08845F7B6D09}" presName="Name13" presStyleLbl="parChTrans1D2" presStyleIdx="4" presStyleCnt="9"/>
      <dgm:spPr/>
    </dgm:pt>
    <dgm:pt modelId="{0A4BB71C-6694-4807-BB9B-9D7B9EB1DE37}" type="pres">
      <dgm:prSet presAssocID="{30608B58-314A-4336-8411-F3ED2599822C}" presName="childText" presStyleLbl="bgAcc1" presStyleIdx="4" presStyleCnt="9">
        <dgm:presLayoutVars>
          <dgm:bulletEnabled val="1"/>
        </dgm:presLayoutVars>
      </dgm:prSet>
      <dgm:spPr/>
    </dgm:pt>
    <dgm:pt modelId="{5550740B-BC52-4252-8446-0A1FCA709C91}" type="pres">
      <dgm:prSet presAssocID="{606E6FC1-28B3-4230-A92C-34E7E2856763}" presName="Name13" presStyleLbl="parChTrans1D2" presStyleIdx="5" presStyleCnt="9"/>
      <dgm:spPr/>
    </dgm:pt>
    <dgm:pt modelId="{17FFCF69-7E81-48AE-BF54-0BBC1DACF6CC}" type="pres">
      <dgm:prSet presAssocID="{A4A140CE-7F57-4AF3-8180-9A73E984E8EC}" presName="childText" presStyleLbl="bgAcc1" presStyleIdx="5" presStyleCnt="9">
        <dgm:presLayoutVars>
          <dgm:bulletEnabled val="1"/>
        </dgm:presLayoutVars>
      </dgm:prSet>
      <dgm:spPr/>
    </dgm:pt>
    <dgm:pt modelId="{9110DC4B-59C1-442C-981E-F47F6C5A656A}" type="pres">
      <dgm:prSet presAssocID="{711A6AEE-CAC4-4DDF-A96A-1BB01916719F}" presName="root" presStyleCnt="0"/>
      <dgm:spPr/>
    </dgm:pt>
    <dgm:pt modelId="{907C1F0E-3FF1-48FB-A3F0-5275CE3B3CB8}" type="pres">
      <dgm:prSet presAssocID="{711A6AEE-CAC4-4DDF-A96A-1BB01916719F}" presName="rootComposite" presStyleCnt="0"/>
      <dgm:spPr/>
    </dgm:pt>
    <dgm:pt modelId="{5EB1177D-6D01-4885-BAE3-85234B18A075}" type="pres">
      <dgm:prSet presAssocID="{711A6AEE-CAC4-4DDF-A96A-1BB01916719F}" presName="rootText" presStyleLbl="node1" presStyleIdx="2" presStyleCnt="3"/>
      <dgm:spPr/>
    </dgm:pt>
    <dgm:pt modelId="{52AEEB6C-3705-4908-9950-3B7E9C99C4A7}" type="pres">
      <dgm:prSet presAssocID="{711A6AEE-CAC4-4DDF-A96A-1BB01916719F}" presName="rootConnector" presStyleLbl="node1" presStyleIdx="2" presStyleCnt="3"/>
      <dgm:spPr/>
    </dgm:pt>
    <dgm:pt modelId="{D34A0324-920C-4896-B015-31624F787262}" type="pres">
      <dgm:prSet presAssocID="{711A6AEE-CAC4-4DDF-A96A-1BB01916719F}" presName="childShape" presStyleCnt="0"/>
      <dgm:spPr/>
    </dgm:pt>
    <dgm:pt modelId="{1039483A-2431-4EC7-9572-D9261C5B0258}" type="pres">
      <dgm:prSet presAssocID="{0DDE3D10-5857-43A7-B0B9-C4E075C3D64F}" presName="Name13" presStyleLbl="parChTrans1D2" presStyleIdx="6" presStyleCnt="9"/>
      <dgm:spPr/>
    </dgm:pt>
    <dgm:pt modelId="{BFCC0870-7052-47D3-8579-4CC3218438AA}" type="pres">
      <dgm:prSet presAssocID="{7950D0E0-0F3F-48FF-9404-270FCBE3A34C}" presName="childText" presStyleLbl="bgAcc1" presStyleIdx="6" presStyleCnt="9">
        <dgm:presLayoutVars>
          <dgm:bulletEnabled val="1"/>
        </dgm:presLayoutVars>
      </dgm:prSet>
      <dgm:spPr/>
    </dgm:pt>
    <dgm:pt modelId="{0DE09620-207E-4258-BB6D-5C74E6B6587D}" type="pres">
      <dgm:prSet presAssocID="{4EF1BE70-20B6-4973-8B8A-491C28A23106}" presName="Name13" presStyleLbl="parChTrans1D2" presStyleIdx="7" presStyleCnt="9"/>
      <dgm:spPr/>
    </dgm:pt>
    <dgm:pt modelId="{E3D75512-173D-446A-9224-18C290772749}" type="pres">
      <dgm:prSet presAssocID="{D722CDB3-32A4-4AEC-95C9-18153B86C40C}" presName="childText" presStyleLbl="bgAcc1" presStyleIdx="7" presStyleCnt="9">
        <dgm:presLayoutVars>
          <dgm:bulletEnabled val="1"/>
        </dgm:presLayoutVars>
      </dgm:prSet>
      <dgm:spPr/>
    </dgm:pt>
    <dgm:pt modelId="{03E078D2-C267-4144-A4DB-F925B49741EA}" type="pres">
      <dgm:prSet presAssocID="{F5422D5A-8F77-43DE-B3C2-5A25851D9488}" presName="Name13" presStyleLbl="parChTrans1D2" presStyleIdx="8" presStyleCnt="9"/>
      <dgm:spPr/>
    </dgm:pt>
    <dgm:pt modelId="{21072D59-03F9-4502-BB00-2A13EAC7CDCA}" type="pres">
      <dgm:prSet presAssocID="{940E4AA7-74AB-45C5-B086-3FB52FBCFE16}" presName="childText" presStyleLbl="bgAcc1" presStyleIdx="8" presStyleCnt="9">
        <dgm:presLayoutVars>
          <dgm:bulletEnabled val="1"/>
        </dgm:presLayoutVars>
      </dgm:prSet>
      <dgm:spPr/>
    </dgm:pt>
  </dgm:ptLst>
  <dgm:cxnLst>
    <dgm:cxn modelId="{DE2C3304-2B66-4B04-8848-7D00B3900F6E}" type="presOf" srcId="{5710641C-7F3F-494D-B930-08845F7B6D09}" destId="{1B388535-E09A-4809-8D94-D62B0C1A500E}" srcOrd="0" destOrd="0" presId="urn:microsoft.com/office/officeart/2005/8/layout/hierarchy3"/>
    <dgm:cxn modelId="{CBA6290C-E25D-4463-A1EE-F75859C45127}" type="presOf" srcId="{1F117E15-A5F1-4B2C-A6D6-3B4ACFB2F51C}" destId="{DA26AFC3-342C-4E28-B92E-F65342CB017D}" srcOrd="0" destOrd="0" presId="urn:microsoft.com/office/officeart/2005/8/layout/hierarchy3"/>
    <dgm:cxn modelId="{1C471816-8585-4A2E-B93C-46107A13E39D}" type="presOf" srcId="{940E4AA7-74AB-45C5-B086-3FB52FBCFE16}" destId="{21072D59-03F9-4502-BB00-2A13EAC7CDCA}" srcOrd="0" destOrd="0" presId="urn:microsoft.com/office/officeart/2005/8/layout/hierarchy3"/>
    <dgm:cxn modelId="{FCD06824-8EB9-414A-B04B-68A47F4196FF}" srcId="{5FE7B847-91C7-43AD-B212-883ED2C5FCF9}" destId="{5AEC650C-2689-4012-9024-144AA27C99BB}" srcOrd="2" destOrd="0" parTransId="{EB581A00-0A58-4B99-B713-677D75B28A84}" sibTransId="{DAF95190-36D4-457D-A5E3-265AC4214EE4}"/>
    <dgm:cxn modelId="{319F0128-A9E3-4F0B-891A-01B9AE449397}" type="presOf" srcId="{3DAD3983-E4D3-4D2A-8908-56F92B29D124}" destId="{DFFCFF26-AD99-42B6-A72B-743ACA7DD74B}" srcOrd="1" destOrd="0" presId="urn:microsoft.com/office/officeart/2005/8/layout/hierarchy3"/>
    <dgm:cxn modelId="{D779AA29-848D-448B-ABAA-79723B56FC19}" srcId="{711A6AEE-CAC4-4DDF-A96A-1BB01916719F}" destId="{D722CDB3-32A4-4AEC-95C9-18153B86C40C}" srcOrd="1" destOrd="0" parTransId="{4EF1BE70-20B6-4973-8B8A-491C28A23106}" sibTransId="{2047FE27-3786-442A-A096-AD14D71CBCBE}"/>
    <dgm:cxn modelId="{AB10B52D-1A0E-4FA1-A40A-321778740A0D}" srcId="{711A6AEE-CAC4-4DDF-A96A-1BB01916719F}" destId="{7950D0E0-0F3F-48FF-9404-270FCBE3A34C}" srcOrd="0" destOrd="0" parTransId="{0DDE3D10-5857-43A7-B0B9-C4E075C3D64F}" sibTransId="{811C618D-D323-49FB-8408-7F6B5862EA2C}"/>
    <dgm:cxn modelId="{D8721538-72AE-4225-A2FC-E66CDE58ED4E}" type="presOf" srcId="{5FE7B847-91C7-43AD-B212-883ED2C5FCF9}" destId="{2C1788AB-B3CB-47B4-AD01-4BE1EEC06DB1}" srcOrd="0" destOrd="0" presId="urn:microsoft.com/office/officeart/2005/8/layout/hierarchy3"/>
    <dgm:cxn modelId="{6835883F-EA2C-4E15-9552-667B9DB5E070}" type="presOf" srcId="{F45EB8DE-4517-4F0A-A300-AE8A38D31003}" destId="{025DA7A9-14F3-4194-8615-727A670418C4}" srcOrd="0" destOrd="0" presId="urn:microsoft.com/office/officeart/2005/8/layout/hierarchy3"/>
    <dgm:cxn modelId="{602EA95D-FECB-402F-AA71-C829F9EA21CF}" type="presOf" srcId="{30608B58-314A-4336-8411-F3ED2599822C}" destId="{0A4BB71C-6694-4807-BB9B-9D7B9EB1DE37}" srcOrd="0" destOrd="0" presId="urn:microsoft.com/office/officeart/2005/8/layout/hierarchy3"/>
    <dgm:cxn modelId="{0718E95D-BCFB-41D7-9827-2A59D28EE7D3}" type="presOf" srcId="{7950D0E0-0F3F-48FF-9404-270FCBE3A34C}" destId="{BFCC0870-7052-47D3-8579-4CC3218438AA}" srcOrd="0" destOrd="0" presId="urn:microsoft.com/office/officeart/2005/8/layout/hierarchy3"/>
    <dgm:cxn modelId="{6C659245-7CE9-4754-BBE3-8AD01BD88209}" type="presOf" srcId="{4EF1BE70-20B6-4973-8B8A-491C28A23106}" destId="{0DE09620-207E-4258-BB6D-5C74E6B6587D}" srcOrd="0" destOrd="0" presId="urn:microsoft.com/office/officeart/2005/8/layout/hierarchy3"/>
    <dgm:cxn modelId="{FAE30E6D-2667-4F44-91F1-AC04C970540D}" type="presOf" srcId="{EB581A00-0A58-4B99-B713-677D75B28A84}" destId="{0F7D15A0-BA0C-4F7A-8E16-CFD7AE14D761}" srcOrd="0" destOrd="0" presId="urn:microsoft.com/office/officeart/2005/8/layout/hierarchy3"/>
    <dgm:cxn modelId="{9278F252-509A-4B27-AEDB-E70D4E0C7CFB}" type="presOf" srcId="{711A6AEE-CAC4-4DDF-A96A-1BB01916719F}" destId="{52AEEB6C-3705-4908-9950-3B7E9C99C4A7}" srcOrd="1" destOrd="0" presId="urn:microsoft.com/office/officeart/2005/8/layout/hierarchy3"/>
    <dgm:cxn modelId="{3C70F259-5A49-4784-835F-1683E6F02221}" srcId="{711A6AEE-CAC4-4DDF-A96A-1BB01916719F}" destId="{940E4AA7-74AB-45C5-B086-3FB52FBCFE16}" srcOrd="2" destOrd="0" parTransId="{F5422D5A-8F77-43DE-B3C2-5A25851D9488}" sibTransId="{F313C869-F6B4-49BD-BBA6-83E5EDB49268}"/>
    <dgm:cxn modelId="{1683EB89-BDB7-4F8B-A316-260740D417EB}" type="presOf" srcId="{5AEC650C-2689-4012-9024-144AA27C99BB}" destId="{F54D6BCE-B989-464A-B2E1-CAAE6AE4D6B0}" srcOrd="0" destOrd="0" presId="urn:microsoft.com/office/officeart/2005/8/layout/hierarchy3"/>
    <dgm:cxn modelId="{DFD3F792-C560-4328-90D1-2FAA4517F3BC}" srcId="{5FE7B847-91C7-43AD-B212-883ED2C5FCF9}" destId="{3EB6E66B-F475-42DB-BB41-0A33C30919BE}" srcOrd="1" destOrd="0" parTransId="{F45EB8DE-4517-4F0A-A300-AE8A38D31003}" sibTransId="{DB7920F0-94CC-4861-9D7E-366C48724CCE}"/>
    <dgm:cxn modelId="{F15A0993-89F4-437A-875B-1D2BE5C2A6C8}" type="presOf" srcId="{A18C4AF1-3FFB-419F-B710-61CE759D6E4E}" destId="{CD482211-B6D5-43FE-ABEE-4664D5B3FBAC}" srcOrd="0" destOrd="0" presId="urn:microsoft.com/office/officeart/2005/8/layout/hierarchy3"/>
    <dgm:cxn modelId="{3E794A94-B2B8-48ED-9E74-8F955D3D1AF4}" srcId="{DF8573D5-C6B2-4F8A-A32F-0F3CE86E8F1B}" destId="{5FE7B847-91C7-43AD-B212-883ED2C5FCF9}" srcOrd="0" destOrd="0" parTransId="{4436B7E3-F318-4918-BDC1-8F2BC6E683D1}" sibTransId="{54556CB8-E3AD-47FA-AC6C-788C5151F7EB}"/>
    <dgm:cxn modelId="{E168A6A4-E7D4-43CC-8EA1-F42019E4FF46}" type="presOf" srcId="{51CDDCAC-F403-4919-978B-7550D3F79F53}" destId="{780F9F98-CBFF-42F6-B21E-8E490ED86E7F}" srcOrd="0" destOrd="0" presId="urn:microsoft.com/office/officeart/2005/8/layout/hierarchy3"/>
    <dgm:cxn modelId="{853019A5-D687-4A19-8051-E72DA1DAEEB9}" srcId="{DF8573D5-C6B2-4F8A-A32F-0F3CE86E8F1B}" destId="{3DAD3983-E4D3-4D2A-8908-56F92B29D124}" srcOrd="1" destOrd="0" parTransId="{80622DBA-2249-4B8B-BA26-93233873ADB4}" sibTransId="{FA301B3E-8496-4B80-9D2C-74DE35A167D1}"/>
    <dgm:cxn modelId="{3EA5C4A9-41F8-4B9F-B8D0-A777DED92CAA}" type="presOf" srcId="{A4A140CE-7F57-4AF3-8180-9A73E984E8EC}" destId="{17FFCF69-7E81-48AE-BF54-0BBC1DACF6CC}" srcOrd="0" destOrd="0" presId="urn:microsoft.com/office/officeart/2005/8/layout/hierarchy3"/>
    <dgm:cxn modelId="{B7233AB5-E61E-434D-AC3F-29B9F84B6D1D}" srcId="{DF8573D5-C6B2-4F8A-A32F-0F3CE86E8F1B}" destId="{711A6AEE-CAC4-4DDF-A96A-1BB01916719F}" srcOrd="2" destOrd="0" parTransId="{6FB70FD6-E707-4205-B0A2-025B51677442}" sibTransId="{342762AB-F185-4909-A2A5-4DFA57220E71}"/>
    <dgm:cxn modelId="{BDD6B2B7-B053-4148-A0A4-4B57941C7BD3}" srcId="{3DAD3983-E4D3-4D2A-8908-56F92B29D124}" destId="{4B494B15-2E01-457A-A792-6E27F557A1F0}" srcOrd="0" destOrd="0" parTransId="{51CDDCAC-F403-4919-978B-7550D3F79F53}" sibTransId="{B7C449DF-0238-4CE5-9209-395F5237E34C}"/>
    <dgm:cxn modelId="{21F4C0C1-C76A-45CF-BC7C-1B8E7A6646C0}" srcId="{3DAD3983-E4D3-4D2A-8908-56F92B29D124}" destId="{A4A140CE-7F57-4AF3-8180-9A73E984E8EC}" srcOrd="2" destOrd="0" parTransId="{606E6FC1-28B3-4230-A92C-34E7E2856763}" sibTransId="{0E254708-0C1D-4DA0-BA70-78320FA5A3C2}"/>
    <dgm:cxn modelId="{6EBF3FCE-1CA1-4995-92D4-7BB311E0F682}" type="presOf" srcId="{3DAD3983-E4D3-4D2A-8908-56F92B29D124}" destId="{288CE51C-AB1A-4BFA-9130-9B0DD1626D88}" srcOrd="0" destOrd="0" presId="urn:microsoft.com/office/officeart/2005/8/layout/hierarchy3"/>
    <dgm:cxn modelId="{026172CF-E381-4EF6-8D8C-8A7DFF1CD4C6}" type="presOf" srcId="{5FE7B847-91C7-43AD-B212-883ED2C5FCF9}" destId="{33A7F60F-08AE-4405-84AD-DEDB636D2851}" srcOrd="1" destOrd="0" presId="urn:microsoft.com/office/officeart/2005/8/layout/hierarchy3"/>
    <dgm:cxn modelId="{E52269D2-1CAD-4A56-A93C-2A9F2831A4ED}" type="presOf" srcId="{D722CDB3-32A4-4AEC-95C9-18153B86C40C}" destId="{E3D75512-173D-446A-9224-18C290772749}" srcOrd="0" destOrd="0" presId="urn:microsoft.com/office/officeart/2005/8/layout/hierarchy3"/>
    <dgm:cxn modelId="{80509AD4-58D3-43C4-9770-5E697DA439BE}" type="presOf" srcId="{606E6FC1-28B3-4230-A92C-34E7E2856763}" destId="{5550740B-BC52-4252-8446-0A1FCA709C91}" srcOrd="0" destOrd="0" presId="urn:microsoft.com/office/officeart/2005/8/layout/hierarchy3"/>
    <dgm:cxn modelId="{1E99F6DD-0A40-4FA0-997C-84C895D8F4D0}" srcId="{5FE7B847-91C7-43AD-B212-883ED2C5FCF9}" destId="{1F117E15-A5F1-4B2C-A6D6-3B4ACFB2F51C}" srcOrd="0" destOrd="0" parTransId="{A18C4AF1-3FFB-419F-B710-61CE759D6E4E}" sibTransId="{6632D7E7-09E9-4997-B192-0EB8E77EE9B3}"/>
    <dgm:cxn modelId="{D8A9AFE8-0075-4B70-93F6-8E95FA329515}" type="presOf" srcId="{3EB6E66B-F475-42DB-BB41-0A33C30919BE}" destId="{B1B26888-48E6-4E75-BED8-0C19BEC329A6}" srcOrd="0" destOrd="0" presId="urn:microsoft.com/office/officeart/2005/8/layout/hierarchy3"/>
    <dgm:cxn modelId="{744178E9-DF40-4CF5-B4A6-26F9C08F8A20}" type="presOf" srcId="{4B494B15-2E01-457A-A792-6E27F557A1F0}" destId="{202F257D-07C2-4C02-9FBB-DFC8F5F95E15}" srcOrd="0" destOrd="0" presId="urn:microsoft.com/office/officeart/2005/8/layout/hierarchy3"/>
    <dgm:cxn modelId="{2F906DEE-F4F3-4615-B545-EC4FCE15CA5D}" type="presOf" srcId="{711A6AEE-CAC4-4DDF-A96A-1BB01916719F}" destId="{5EB1177D-6D01-4885-BAE3-85234B18A075}" srcOrd="0" destOrd="0" presId="urn:microsoft.com/office/officeart/2005/8/layout/hierarchy3"/>
    <dgm:cxn modelId="{708698EF-9CB0-43C3-B44E-C1166B788DD7}" srcId="{3DAD3983-E4D3-4D2A-8908-56F92B29D124}" destId="{30608B58-314A-4336-8411-F3ED2599822C}" srcOrd="1" destOrd="0" parTransId="{5710641C-7F3F-494D-B930-08845F7B6D09}" sibTransId="{5F990060-F781-4FB0-A6A4-37977917C08F}"/>
    <dgm:cxn modelId="{9E6524F5-4CDD-4F2A-A9AA-A15FC0DBA4F2}" type="presOf" srcId="{F5422D5A-8F77-43DE-B3C2-5A25851D9488}" destId="{03E078D2-C267-4144-A4DB-F925B49741EA}" srcOrd="0" destOrd="0" presId="urn:microsoft.com/office/officeart/2005/8/layout/hierarchy3"/>
    <dgm:cxn modelId="{279225F7-7B3A-46E8-9818-A0EE18DA81A8}" type="presOf" srcId="{0DDE3D10-5857-43A7-B0B9-C4E075C3D64F}" destId="{1039483A-2431-4EC7-9572-D9261C5B0258}" srcOrd="0" destOrd="0" presId="urn:microsoft.com/office/officeart/2005/8/layout/hierarchy3"/>
    <dgm:cxn modelId="{08037DFB-E5F6-4732-98AD-398E6DEED72B}" type="presOf" srcId="{DF8573D5-C6B2-4F8A-A32F-0F3CE86E8F1B}" destId="{1DC85D11-614B-40BC-AE6D-875702420051}" srcOrd="0" destOrd="0" presId="urn:microsoft.com/office/officeart/2005/8/layout/hierarchy3"/>
    <dgm:cxn modelId="{9B11E32C-F5C7-4121-9D5D-9FAF8995C434}" type="presParOf" srcId="{1DC85D11-614B-40BC-AE6D-875702420051}" destId="{3C7722D2-DFD8-4ED0-805B-C49F83B98D71}" srcOrd="0" destOrd="0" presId="urn:microsoft.com/office/officeart/2005/8/layout/hierarchy3"/>
    <dgm:cxn modelId="{08A12F33-571A-46F8-B677-1A5B83596232}" type="presParOf" srcId="{3C7722D2-DFD8-4ED0-805B-C49F83B98D71}" destId="{654D1B6E-B36C-4E6C-8A59-13E30E500630}" srcOrd="0" destOrd="0" presId="urn:microsoft.com/office/officeart/2005/8/layout/hierarchy3"/>
    <dgm:cxn modelId="{57664833-BD9D-466A-A7FC-FE7976CC1836}" type="presParOf" srcId="{654D1B6E-B36C-4E6C-8A59-13E30E500630}" destId="{2C1788AB-B3CB-47B4-AD01-4BE1EEC06DB1}" srcOrd="0" destOrd="0" presId="urn:microsoft.com/office/officeart/2005/8/layout/hierarchy3"/>
    <dgm:cxn modelId="{5FEF86DF-7ACA-46CE-8DFC-180190076D46}" type="presParOf" srcId="{654D1B6E-B36C-4E6C-8A59-13E30E500630}" destId="{33A7F60F-08AE-4405-84AD-DEDB636D2851}" srcOrd="1" destOrd="0" presId="urn:microsoft.com/office/officeart/2005/8/layout/hierarchy3"/>
    <dgm:cxn modelId="{CCA7DCC9-1A10-4BF5-A0F7-22DFE9A1F5B0}" type="presParOf" srcId="{3C7722D2-DFD8-4ED0-805B-C49F83B98D71}" destId="{143FDE89-B686-4E38-8A2C-E56FA34A4271}" srcOrd="1" destOrd="0" presId="urn:microsoft.com/office/officeart/2005/8/layout/hierarchy3"/>
    <dgm:cxn modelId="{B7CC6947-ADB5-44B7-8EA4-C0B43D6533FC}" type="presParOf" srcId="{143FDE89-B686-4E38-8A2C-E56FA34A4271}" destId="{CD482211-B6D5-43FE-ABEE-4664D5B3FBAC}" srcOrd="0" destOrd="0" presId="urn:microsoft.com/office/officeart/2005/8/layout/hierarchy3"/>
    <dgm:cxn modelId="{70AD8630-793D-41BF-9A8E-52D5FCCC743D}" type="presParOf" srcId="{143FDE89-B686-4E38-8A2C-E56FA34A4271}" destId="{DA26AFC3-342C-4E28-B92E-F65342CB017D}" srcOrd="1" destOrd="0" presId="urn:microsoft.com/office/officeart/2005/8/layout/hierarchy3"/>
    <dgm:cxn modelId="{03F2C8D1-3D9D-4E40-B837-9429A7206BCF}" type="presParOf" srcId="{143FDE89-B686-4E38-8A2C-E56FA34A4271}" destId="{025DA7A9-14F3-4194-8615-727A670418C4}" srcOrd="2" destOrd="0" presId="urn:microsoft.com/office/officeart/2005/8/layout/hierarchy3"/>
    <dgm:cxn modelId="{4FF4832A-84DD-45B3-8D8C-9F4FF27D79D9}" type="presParOf" srcId="{143FDE89-B686-4E38-8A2C-E56FA34A4271}" destId="{B1B26888-48E6-4E75-BED8-0C19BEC329A6}" srcOrd="3" destOrd="0" presId="urn:microsoft.com/office/officeart/2005/8/layout/hierarchy3"/>
    <dgm:cxn modelId="{4A3B96FD-EAD6-4C5A-B7A4-614E1E0D1689}" type="presParOf" srcId="{143FDE89-B686-4E38-8A2C-E56FA34A4271}" destId="{0F7D15A0-BA0C-4F7A-8E16-CFD7AE14D761}" srcOrd="4" destOrd="0" presId="urn:microsoft.com/office/officeart/2005/8/layout/hierarchy3"/>
    <dgm:cxn modelId="{CEFE8D87-AFE3-44FB-9315-5F3A62642702}" type="presParOf" srcId="{143FDE89-B686-4E38-8A2C-E56FA34A4271}" destId="{F54D6BCE-B989-464A-B2E1-CAAE6AE4D6B0}" srcOrd="5" destOrd="0" presId="urn:microsoft.com/office/officeart/2005/8/layout/hierarchy3"/>
    <dgm:cxn modelId="{679FF09C-7ECC-4D6B-8C21-9E4691365835}" type="presParOf" srcId="{1DC85D11-614B-40BC-AE6D-875702420051}" destId="{B63C590B-3F38-4049-911C-2706930DCD1A}" srcOrd="1" destOrd="0" presId="urn:microsoft.com/office/officeart/2005/8/layout/hierarchy3"/>
    <dgm:cxn modelId="{842F598A-7C00-4007-A026-BC9C20C70737}" type="presParOf" srcId="{B63C590B-3F38-4049-911C-2706930DCD1A}" destId="{7AD2DF28-73FD-4BE8-9208-6D0E296D922F}" srcOrd="0" destOrd="0" presId="urn:microsoft.com/office/officeart/2005/8/layout/hierarchy3"/>
    <dgm:cxn modelId="{5DE5ABD8-9EEC-4DA2-9D46-262966F022E4}" type="presParOf" srcId="{7AD2DF28-73FD-4BE8-9208-6D0E296D922F}" destId="{288CE51C-AB1A-4BFA-9130-9B0DD1626D88}" srcOrd="0" destOrd="0" presId="urn:microsoft.com/office/officeart/2005/8/layout/hierarchy3"/>
    <dgm:cxn modelId="{F79ECACA-7F91-4FF1-A706-3DD5DBDD6840}" type="presParOf" srcId="{7AD2DF28-73FD-4BE8-9208-6D0E296D922F}" destId="{DFFCFF26-AD99-42B6-A72B-743ACA7DD74B}" srcOrd="1" destOrd="0" presId="urn:microsoft.com/office/officeart/2005/8/layout/hierarchy3"/>
    <dgm:cxn modelId="{60E4FDB4-6ADB-4B3A-863D-818C536CA948}" type="presParOf" srcId="{B63C590B-3F38-4049-911C-2706930DCD1A}" destId="{1999E721-7F41-4C99-A729-BE03B8038BC2}" srcOrd="1" destOrd="0" presId="urn:microsoft.com/office/officeart/2005/8/layout/hierarchy3"/>
    <dgm:cxn modelId="{D38BA249-B142-481E-9E41-235A802816AF}" type="presParOf" srcId="{1999E721-7F41-4C99-A729-BE03B8038BC2}" destId="{780F9F98-CBFF-42F6-B21E-8E490ED86E7F}" srcOrd="0" destOrd="0" presId="urn:microsoft.com/office/officeart/2005/8/layout/hierarchy3"/>
    <dgm:cxn modelId="{BB3B1BB0-EB58-4A79-A2EB-9057E4DDB0B4}" type="presParOf" srcId="{1999E721-7F41-4C99-A729-BE03B8038BC2}" destId="{202F257D-07C2-4C02-9FBB-DFC8F5F95E15}" srcOrd="1" destOrd="0" presId="urn:microsoft.com/office/officeart/2005/8/layout/hierarchy3"/>
    <dgm:cxn modelId="{4A26DCD4-C70D-4B7C-B72C-D248A0BB558A}" type="presParOf" srcId="{1999E721-7F41-4C99-A729-BE03B8038BC2}" destId="{1B388535-E09A-4809-8D94-D62B0C1A500E}" srcOrd="2" destOrd="0" presId="urn:microsoft.com/office/officeart/2005/8/layout/hierarchy3"/>
    <dgm:cxn modelId="{D2F0B4FA-C0BB-4F17-8AFF-C437C46BD316}" type="presParOf" srcId="{1999E721-7F41-4C99-A729-BE03B8038BC2}" destId="{0A4BB71C-6694-4807-BB9B-9D7B9EB1DE37}" srcOrd="3" destOrd="0" presId="urn:microsoft.com/office/officeart/2005/8/layout/hierarchy3"/>
    <dgm:cxn modelId="{53D99E95-8F34-4F49-9747-A03FB40A444F}" type="presParOf" srcId="{1999E721-7F41-4C99-A729-BE03B8038BC2}" destId="{5550740B-BC52-4252-8446-0A1FCA709C91}" srcOrd="4" destOrd="0" presId="urn:microsoft.com/office/officeart/2005/8/layout/hierarchy3"/>
    <dgm:cxn modelId="{5D193474-DFB9-46BA-83F7-0AD9EC7975FF}" type="presParOf" srcId="{1999E721-7F41-4C99-A729-BE03B8038BC2}" destId="{17FFCF69-7E81-48AE-BF54-0BBC1DACF6CC}" srcOrd="5" destOrd="0" presId="urn:microsoft.com/office/officeart/2005/8/layout/hierarchy3"/>
    <dgm:cxn modelId="{88FF99D2-F04A-43D3-AFDD-ED5F1B3AA756}" type="presParOf" srcId="{1DC85D11-614B-40BC-AE6D-875702420051}" destId="{9110DC4B-59C1-442C-981E-F47F6C5A656A}" srcOrd="2" destOrd="0" presId="urn:microsoft.com/office/officeart/2005/8/layout/hierarchy3"/>
    <dgm:cxn modelId="{0F2951BC-5799-4169-B3F3-CB9C1B4BAEA7}" type="presParOf" srcId="{9110DC4B-59C1-442C-981E-F47F6C5A656A}" destId="{907C1F0E-3FF1-48FB-A3F0-5275CE3B3CB8}" srcOrd="0" destOrd="0" presId="urn:microsoft.com/office/officeart/2005/8/layout/hierarchy3"/>
    <dgm:cxn modelId="{3D11CA9E-FFBC-469B-8E25-E7F8E82DC709}" type="presParOf" srcId="{907C1F0E-3FF1-48FB-A3F0-5275CE3B3CB8}" destId="{5EB1177D-6D01-4885-BAE3-85234B18A075}" srcOrd="0" destOrd="0" presId="urn:microsoft.com/office/officeart/2005/8/layout/hierarchy3"/>
    <dgm:cxn modelId="{994489D1-FDF8-444C-BB82-BDC0342FCB34}" type="presParOf" srcId="{907C1F0E-3FF1-48FB-A3F0-5275CE3B3CB8}" destId="{52AEEB6C-3705-4908-9950-3B7E9C99C4A7}" srcOrd="1" destOrd="0" presId="urn:microsoft.com/office/officeart/2005/8/layout/hierarchy3"/>
    <dgm:cxn modelId="{368FC8B1-94AF-4C98-B755-FDF80D1DBE20}" type="presParOf" srcId="{9110DC4B-59C1-442C-981E-F47F6C5A656A}" destId="{D34A0324-920C-4896-B015-31624F787262}" srcOrd="1" destOrd="0" presId="urn:microsoft.com/office/officeart/2005/8/layout/hierarchy3"/>
    <dgm:cxn modelId="{3FCCE5E4-CCA7-452E-BAA4-AF59B59821BD}" type="presParOf" srcId="{D34A0324-920C-4896-B015-31624F787262}" destId="{1039483A-2431-4EC7-9572-D9261C5B0258}" srcOrd="0" destOrd="0" presId="urn:microsoft.com/office/officeart/2005/8/layout/hierarchy3"/>
    <dgm:cxn modelId="{70667664-E15A-4D22-9588-81E748AB0A31}" type="presParOf" srcId="{D34A0324-920C-4896-B015-31624F787262}" destId="{BFCC0870-7052-47D3-8579-4CC3218438AA}" srcOrd="1" destOrd="0" presId="urn:microsoft.com/office/officeart/2005/8/layout/hierarchy3"/>
    <dgm:cxn modelId="{E63E7DFA-BB24-4AF6-A3BC-909662CFAEE3}" type="presParOf" srcId="{D34A0324-920C-4896-B015-31624F787262}" destId="{0DE09620-207E-4258-BB6D-5C74E6B6587D}" srcOrd="2" destOrd="0" presId="urn:microsoft.com/office/officeart/2005/8/layout/hierarchy3"/>
    <dgm:cxn modelId="{D55EA22A-E610-4D2D-BA7B-7E7428A3E10A}" type="presParOf" srcId="{D34A0324-920C-4896-B015-31624F787262}" destId="{E3D75512-173D-446A-9224-18C290772749}" srcOrd="3" destOrd="0" presId="urn:microsoft.com/office/officeart/2005/8/layout/hierarchy3"/>
    <dgm:cxn modelId="{DF507133-F49F-4A36-90C0-21562CE79CD9}" type="presParOf" srcId="{D34A0324-920C-4896-B015-31624F787262}" destId="{03E078D2-C267-4144-A4DB-F925B49741EA}" srcOrd="4" destOrd="0" presId="urn:microsoft.com/office/officeart/2005/8/layout/hierarchy3"/>
    <dgm:cxn modelId="{5EB118CB-6932-4876-BCCB-06B22868392E}" type="presParOf" srcId="{D34A0324-920C-4896-B015-31624F787262}" destId="{21072D59-03F9-4502-BB00-2A13EAC7CDCA}" srcOrd="5"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New System</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System Specification</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FlipHor="1" custLinFactX="160082" custLinFactNeighborX="200000" custLinFactNeighborY="1071">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FlipHor="1">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custFlipHor="1" custLinFactX="-161919" custLinFactNeighborX="-200000" custLinFactNeighborY="2584">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78</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83</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07+</a:t>
          </a:r>
        </a:p>
      </dsp:txBody>
      <dsp:txXfrm>
        <a:off x="6823851" y="0"/>
        <a:ext cx="2615965" cy="9183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19</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24+</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a:t>
          </a:r>
        </a:p>
      </dsp:txBody>
      <dsp:txXfrm>
        <a:off x="6823851" y="0"/>
        <a:ext cx="2615965" cy="9183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1788AB-B3CB-47B4-AD01-4BE1EEC06DB1}">
      <dsp:nvSpPr>
        <dsp:cNvPr id="0" name=""/>
        <dsp:cNvSpPr/>
      </dsp:nvSpPr>
      <dsp:spPr>
        <a:xfrm>
          <a:off x="744"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1.0 - static</a:t>
          </a:r>
        </a:p>
      </dsp:txBody>
      <dsp:txXfrm>
        <a:off x="26244" y="88673"/>
        <a:ext cx="1690289" cy="819644"/>
      </dsp:txXfrm>
    </dsp:sp>
    <dsp:sp modelId="{CD482211-B6D5-43FE-ABEE-4664D5B3FBAC}">
      <dsp:nvSpPr>
        <dsp:cNvPr id="0" name=""/>
        <dsp:cNvSpPr/>
      </dsp:nvSpPr>
      <dsp:spPr>
        <a:xfrm>
          <a:off x="174873"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26AFC3-342C-4E28-B92E-F65342CB017D}">
      <dsp:nvSpPr>
        <dsp:cNvPr id="0" name=""/>
        <dsp:cNvSpPr/>
      </dsp:nvSpPr>
      <dsp:spPr>
        <a:xfrm>
          <a:off x="349001"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rowser</a:t>
          </a:r>
        </a:p>
      </dsp:txBody>
      <dsp:txXfrm>
        <a:off x="374501" y="1176979"/>
        <a:ext cx="1342031" cy="819644"/>
      </dsp:txXfrm>
    </dsp:sp>
    <dsp:sp modelId="{025DA7A9-14F3-4194-8615-727A670418C4}">
      <dsp:nvSpPr>
        <dsp:cNvPr id="0" name=""/>
        <dsp:cNvSpPr/>
      </dsp:nvSpPr>
      <dsp:spPr>
        <a:xfrm>
          <a:off x="174873"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B26888-48E6-4E75-BED8-0C19BEC329A6}">
      <dsp:nvSpPr>
        <dsp:cNvPr id="0" name=""/>
        <dsp:cNvSpPr/>
      </dsp:nvSpPr>
      <dsp:spPr>
        <a:xfrm>
          <a:off x="349001"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Websites</a:t>
          </a:r>
        </a:p>
      </dsp:txBody>
      <dsp:txXfrm>
        <a:off x="374501" y="2265285"/>
        <a:ext cx="1342031" cy="819644"/>
      </dsp:txXfrm>
    </dsp:sp>
    <dsp:sp modelId="{0F7D15A0-BA0C-4F7A-8E16-CFD7AE14D761}">
      <dsp:nvSpPr>
        <dsp:cNvPr id="0" name=""/>
        <dsp:cNvSpPr/>
      </dsp:nvSpPr>
      <dsp:spPr>
        <a:xfrm>
          <a:off x="174873"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4D6BCE-B989-464A-B2E1-CAAE6AE4D6B0}">
      <dsp:nvSpPr>
        <dsp:cNvPr id="0" name=""/>
        <dsp:cNvSpPr/>
      </dsp:nvSpPr>
      <dsp:spPr>
        <a:xfrm>
          <a:off x="349001"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Servers</a:t>
          </a:r>
        </a:p>
      </dsp:txBody>
      <dsp:txXfrm>
        <a:off x="374501" y="3353590"/>
        <a:ext cx="1342031" cy="819644"/>
      </dsp:txXfrm>
    </dsp:sp>
    <dsp:sp modelId="{288CE51C-AB1A-4BFA-9130-9B0DD1626D88}">
      <dsp:nvSpPr>
        <dsp:cNvPr id="0" name=""/>
        <dsp:cNvSpPr/>
      </dsp:nvSpPr>
      <dsp:spPr>
        <a:xfrm>
          <a:off x="2177355"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2.0 - centralized</a:t>
          </a:r>
        </a:p>
      </dsp:txBody>
      <dsp:txXfrm>
        <a:off x="2202855" y="88673"/>
        <a:ext cx="1690289" cy="819644"/>
      </dsp:txXfrm>
    </dsp:sp>
    <dsp:sp modelId="{780F9F98-CBFF-42F6-B21E-8E490ED86E7F}">
      <dsp:nvSpPr>
        <dsp:cNvPr id="0" name=""/>
        <dsp:cNvSpPr/>
      </dsp:nvSpPr>
      <dsp:spPr>
        <a:xfrm>
          <a:off x="2351484"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2F257D-07C2-4C02-9FBB-DFC8F5F95E15}">
      <dsp:nvSpPr>
        <dsp:cNvPr id="0" name=""/>
        <dsp:cNvSpPr/>
      </dsp:nvSpPr>
      <dsp:spPr>
        <a:xfrm>
          <a:off x="2525613"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Mobile</a:t>
          </a:r>
        </a:p>
      </dsp:txBody>
      <dsp:txXfrm>
        <a:off x="2551113" y="1176979"/>
        <a:ext cx="1342031" cy="819644"/>
      </dsp:txXfrm>
    </dsp:sp>
    <dsp:sp modelId="{1B388535-E09A-4809-8D94-D62B0C1A500E}">
      <dsp:nvSpPr>
        <dsp:cNvPr id="0" name=""/>
        <dsp:cNvSpPr/>
      </dsp:nvSpPr>
      <dsp:spPr>
        <a:xfrm>
          <a:off x="2351484"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A4BB71C-6694-4807-BB9B-9D7B9EB1DE37}">
      <dsp:nvSpPr>
        <dsp:cNvPr id="0" name=""/>
        <dsp:cNvSpPr/>
      </dsp:nvSpPr>
      <dsp:spPr>
        <a:xfrm>
          <a:off x="2525613"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pps</a:t>
          </a:r>
        </a:p>
      </dsp:txBody>
      <dsp:txXfrm>
        <a:off x="2551113" y="2265285"/>
        <a:ext cx="1342031" cy="819644"/>
      </dsp:txXfrm>
    </dsp:sp>
    <dsp:sp modelId="{5550740B-BC52-4252-8446-0A1FCA709C91}">
      <dsp:nvSpPr>
        <dsp:cNvPr id="0" name=""/>
        <dsp:cNvSpPr/>
      </dsp:nvSpPr>
      <dsp:spPr>
        <a:xfrm>
          <a:off x="2351484"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FFCF69-7E81-48AE-BF54-0BBC1DACF6CC}">
      <dsp:nvSpPr>
        <dsp:cNvPr id="0" name=""/>
        <dsp:cNvSpPr/>
      </dsp:nvSpPr>
      <dsp:spPr>
        <a:xfrm>
          <a:off x="2525613"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Cloud</a:t>
          </a:r>
        </a:p>
      </dsp:txBody>
      <dsp:txXfrm>
        <a:off x="2551113" y="3353590"/>
        <a:ext cx="1342031" cy="819644"/>
      </dsp:txXfrm>
    </dsp:sp>
    <dsp:sp modelId="{5EB1177D-6D01-4885-BAE3-85234B18A075}">
      <dsp:nvSpPr>
        <dsp:cNvPr id="0" name=""/>
        <dsp:cNvSpPr/>
      </dsp:nvSpPr>
      <dsp:spPr>
        <a:xfrm>
          <a:off x="4353966"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3.0 - decentralized</a:t>
          </a:r>
        </a:p>
      </dsp:txBody>
      <dsp:txXfrm>
        <a:off x="4379466" y="88673"/>
        <a:ext cx="1690289" cy="819644"/>
      </dsp:txXfrm>
    </dsp:sp>
    <dsp:sp modelId="{1039483A-2431-4EC7-9572-D9261C5B0258}">
      <dsp:nvSpPr>
        <dsp:cNvPr id="0" name=""/>
        <dsp:cNvSpPr/>
      </dsp:nvSpPr>
      <dsp:spPr>
        <a:xfrm>
          <a:off x="4528095"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CC0870-7052-47D3-8579-4CC3218438AA}">
      <dsp:nvSpPr>
        <dsp:cNvPr id="0" name=""/>
        <dsp:cNvSpPr/>
      </dsp:nvSpPr>
      <dsp:spPr>
        <a:xfrm>
          <a:off x="4702224"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XR</a:t>
          </a:r>
        </a:p>
      </dsp:txBody>
      <dsp:txXfrm>
        <a:off x="4727724" y="1176979"/>
        <a:ext cx="1342031" cy="819644"/>
      </dsp:txXfrm>
    </dsp:sp>
    <dsp:sp modelId="{0DE09620-207E-4258-BB6D-5C74E6B6587D}">
      <dsp:nvSpPr>
        <dsp:cNvPr id="0" name=""/>
        <dsp:cNvSpPr/>
      </dsp:nvSpPr>
      <dsp:spPr>
        <a:xfrm>
          <a:off x="4528095"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D75512-173D-446A-9224-18C290772749}">
      <dsp:nvSpPr>
        <dsp:cNvPr id="0" name=""/>
        <dsp:cNvSpPr/>
      </dsp:nvSpPr>
      <dsp:spPr>
        <a:xfrm>
          <a:off x="4702224"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I</a:t>
          </a:r>
        </a:p>
      </dsp:txBody>
      <dsp:txXfrm>
        <a:off x="4727724" y="2265285"/>
        <a:ext cx="1342031" cy="819644"/>
      </dsp:txXfrm>
    </dsp:sp>
    <dsp:sp modelId="{03E078D2-C267-4144-A4DB-F925B49741EA}">
      <dsp:nvSpPr>
        <dsp:cNvPr id="0" name=""/>
        <dsp:cNvSpPr/>
      </dsp:nvSpPr>
      <dsp:spPr>
        <a:xfrm>
          <a:off x="4528095"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072D59-03F9-4502-BB00-2A13EAC7CDCA}">
      <dsp:nvSpPr>
        <dsp:cNvPr id="0" name=""/>
        <dsp:cNvSpPr/>
      </dsp:nvSpPr>
      <dsp:spPr>
        <a:xfrm>
          <a:off x="4702224"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lockchain</a:t>
          </a:r>
        </a:p>
      </dsp:txBody>
      <dsp:txXfrm>
        <a:off x="4727724" y="3353590"/>
        <a:ext cx="1342031" cy="81964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2381" y="520912"/>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2612" y="520912"/>
        <a:ext cx="1740694" cy="1160462"/>
      </dsp:txXfrm>
    </dsp:sp>
    <dsp:sp modelId="{8283C402-69A8-4406-9C37-0D9D8A91A3F8}">
      <dsp:nvSpPr>
        <dsp:cNvPr id="0" name=""/>
        <dsp:cNvSpPr/>
      </dsp:nvSpPr>
      <dsp:spPr>
        <a:xfrm>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a:off x="5224462" y="520912"/>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4693" y="520912"/>
        <a:ext cx="1740694" cy="116046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388248" y="808283"/>
          <a:ext cx="987901" cy="987901"/>
        </a:xfrm>
        <a:prstGeom prst="gear9">
          <a:avLst/>
        </a:prstGeom>
        <a:solidFill>
          <a:schemeClr val="accent1">
            <a:shade val="8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1586860" y="1039694"/>
        <a:ext cx="590677" cy="507802"/>
      </dsp:txXfrm>
    </dsp:sp>
    <dsp:sp modelId="{800A1A52-CDE6-40AE-942B-79ABD9AC2A9A}">
      <dsp:nvSpPr>
        <dsp:cNvPr id="0" name=""/>
        <dsp:cNvSpPr/>
      </dsp:nvSpPr>
      <dsp:spPr>
        <a:xfrm>
          <a:off x="813469" y="574779"/>
          <a:ext cx="718474" cy="718474"/>
        </a:xfrm>
        <a:prstGeom prst="gear6">
          <a:avLst/>
        </a:prstGeom>
        <a:solidFill>
          <a:schemeClr val="accent1">
            <a:shade val="80000"/>
            <a:hueOff val="-70846"/>
            <a:satOff val="3503"/>
            <a:lumOff val="1157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994347" y="756750"/>
        <a:ext cx="356718" cy="354532"/>
      </dsp:txXfrm>
    </dsp:sp>
    <dsp:sp modelId="{921CA3FA-5F2E-4031-A920-606E9769D84B}">
      <dsp:nvSpPr>
        <dsp:cNvPr id="0" name=""/>
        <dsp:cNvSpPr/>
      </dsp:nvSpPr>
      <dsp:spPr>
        <a:xfrm rot="20700000">
          <a:off x="1215887" y="79105"/>
          <a:ext cx="703957" cy="703957"/>
        </a:xfrm>
        <a:prstGeom prst="gear6">
          <a:avLst/>
        </a:prstGeom>
        <a:solidFill>
          <a:schemeClr val="accent1">
            <a:shade val="80000"/>
            <a:hueOff val="-141691"/>
            <a:satOff val="7005"/>
            <a:lumOff val="2314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rot="-20700000">
        <a:off x="1370286" y="233504"/>
        <a:ext cx="395160" cy="395160"/>
      </dsp:txXfrm>
    </dsp:sp>
    <dsp:sp modelId="{D78334D0-6E97-46FD-BBF4-5DC7CE6C0DC0}">
      <dsp:nvSpPr>
        <dsp:cNvPr id="0" name=""/>
        <dsp:cNvSpPr/>
      </dsp:nvSpPr>
      <dsp:spPr>
        <a:xfrm>
          <a:off x="1288612" y="672140"/>
          <a:ext cx="1264514" cy="1264514"/>
        </a:xfrm>
        <a:prstGeom prst="circularArrow">
          <a:avLst>
            <a:gd name="adj1" fmla="val 4688"/>
            <a:gd name="adj2" fmla="val 299029"/>
            <a:gd name="adj3" fmla="val 2403628"/>
            <a:gd name="adj4" fmla="val 16129483"/>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86228" y="426099"/>
          <a:ext cx="918748" cy="918748"/>
        </a:xfrm>
        <a:prstGeom prst="leftCircularArrow">
          <a:avLst>
            <a:gd name="adj1" fmla="val 6452"/>
            <a:gd name="adj2" fmla="val 429999"/>
            <a:gd name="adj3" fmla="val 10489124"/>
            <a:gd name="adj4" fmla="val 14837806"/>
            <a:gd name="adj5" fmla="val 7527"/>
          </a:avLst>
        </a:prstGeom>
        <a:solidFill>
          <a:schemeClr val="accent1">
            <a:shade val="90000"/>
            <a:hueOff val="-70856"/>
            <a:satOff val="216"/>
            <a:lumOff val="1006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1053055" y="-64796"/>
          <a:ext cx="990596" cy="990596"/>
        </a:xfrm>
        <a:prstGeom prst="circularArrow">
          <a:avLst>
            <a:gd name="adj1" fmla="val 5984"/>
            <a:gd name="adj2" fmla="val 394124"/>
            <a:gd name="adj3" fmla="val 13313824"/>
            <a:gd name="adj4" fmla="val 10508221"/>
            <a:gd name="adj5" fmla="val 6981"/>
          </a:avLst>
        </a:prstGeom>
        <a:solidFill>
          <a:schemeClr val="accent1">
            <a:shade val="90000"/>
            <a:hueOff val="-141711"/>
            <a:satOff val="432"/>
            <a:lumOff val="20138"/>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flipH="1">
          <a:off x="5226841" y="533340"/>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7072" y="533340"/>
        <a:ext cx="1740694" cy="1160462"/>
      </dsp:txXfrm>
    </dsp:sp>
    <dsp:sp modelId="{8283C402-69A8-4406-9C37-0D9D8A91A3F8}">
      <dsp:nvSpPr>
        <dsp:cNvPr id="0" name=""/>
        <dsp:cNvSpPr/>
      </dsp:nvSpPr>
      <dsp:spPr>
        <a:xfrm flipH="1">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flipH="1">
          <a:off x="0" y="550898"/>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0231" y="550898"/>
        <a:ext cx="1740694" cy="11604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B2B60F0-CC0E-476C-896D-084422935EE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366DE06-38DA-46A8-A42B-7B022CFF538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63F659C-CCAC-4D52-BD82-8C7779364DD4}" type="datetimeFigureOut">
              <a:rPr lang="en-US" smtClean="0"/>
              <a:t>1/10/2022</a:t>
            </a:fld>
            <a:endParaRPr lang="en-US"/>
          </a:p>
        </p:txBody>
      </p:sp>
      <p:sp>
        <p:nvSpPr>
          <p:cNvPr id="4" name="Footer Placeholder 3">
            <a:extLst>
              <a:ext uri="{FF2B5EF4-FFF2-40B4-BE49-F238E27FC236}">
                <a16:creationId xmlns:a16="http://schemas.microsoft.com/office/drawing/2014/main" id="{DD9C0878-5117-4B53-8F0F-5AE6DB7F31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709B98B-70A6-4F8A-8CB2-60AA4173070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DC38FC2-F9BF-427A-B6A0-4E28A4499266}" type="slidenum">
              <a:rPr lang="en-US" smtClean="0"/>
              <a:t>‹#›</a:t>
            </a:fld>
            <a:endParaRPr lang="en-US"/>
          </a:p>
        </p:txBody>
      </p:sp>
    </p:spTree>
    <p:extLst>
      <p:ext uri="{BB962C8B-B14F-4D97-AF65-F5344CB8AC3E}">
        <p14:creationId xmlns:p14="http://schemas.microsoft.com/office/powerpoint/2010/main" val="2735872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E49D2-76A3-453E-A43F-F634C3847CE7}" type="datetimeFigureOut">
              <a:rPr lang="en-US" smtClean="0"/>
              <a:t>1/10/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C69D4-DE42-414E-829A-8F378A406FFC}" type="slidenum">
              <a:rPr lang="en-US" smtClean="0"/>
              <a:t>‹#›</a:t>
            </a:fld>
            <a:endParaRPr lang="en-US"/>
          </a:p>
        </p:txBody>
      </p:sp>
    </p:spTree>
    <p:extLst>
      <p:ext uri="{BB962C8B-B14F-4D97-AF65-F5344CB8AC3E}">
        <p14:creationId xmlns:p14="http://schemas.microsoft.com/office/powerpoint/2010/main" val="3515252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a:t>
            </a:fld>
            <a:endParaRPr lang="en-US"/>
          </a:p>
        </p:txBody>
      </p:sp>
    </p:spTree>
    <p:extLst>
      <p:ext uri="{BB962C8B-B14F-4D97-AF65-F5344CB8AC3E}">
        <p14:creationId xmlns:p14="http://schemas.microsoft.com/office/powerpoint/2010/main" val="9363882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 (=lorem=(1))</a:t>
            </a:r>
          </a:p>
        </p:txBody>
      </p:sp>
      <p:sp>
        <p:nvSpPr>
          <p:cNvPr id="4" name="Slide Number Placeholder 3"/>
          <p:cNvSpPr>
            <a:spLocks noGrp="1"/>
          </p:cNvSpPr>
          <p:nvPr>
            <p:ph type="sldNum" sz="quarter" idx="5"/>
          </p:nvPr>
        </p:nvSpPr>
        <p:spPr/>
        <p:txBody>
          <a:bodyPr/>
          <a:lstStyle/>
          <a:p>
            <a:fld id="{910C69D4-DE42-414E-829A-8F378A406FFC}" type="slidenum">
              <a:rPr lang="en-US" smtClean="0"/>
              <a:t>22</a:t>
            </a:fld>
            <a:endParaRPr lang="en-US"/>
          </a:p>
        </p:txBody>
      </p:sp>
    </p:spTree>
    <p:extLst>
      <p:ext uri="{BB962C8B-B14F-4D97-AF65-F5344CB8AC3E}">
        <p14:creationId xmlns:p14="http://schemas.microsoft.com/office/powerpoint/2010/main" val="40532826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23</a:t>
            </a:fld>
            <a:endParaRPr lang="en-US"/>
          </a:p>
        </p:txBody>
      </p:sp>
    </p:spTree>
    <p:extLst>
      <p:ext uri="{BB962C8B-B14F-4D97-AF65-F5344CB8AC3E}">
        <p14:creationId xmlns:p14="http://schemas.microsoft.com/office/powerpoint/2010/main" val="20603289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Genre Category, FPP = First Person Perspective</a:t>
            </a:r>
          </a:p>
        </p:txBody>
      </p:sp>
      <p:sp>
        <p:nvSpPr>
          <p:cNvPr id="4" name="Slide Number Placeholder 3"/>
          <p:cNvSpPr>
            <a:spLocks noGrp="1"/>
          </p:cNvSpPr>
          <p:nvPr>
            <p:ph type="sldNum" sz="quarter" idx="5"/>
          </p:nvPr>
        </p:nvSpPr>
        <p:spPr/>
        <p:txBody>
          <a:bodyPr/>
          <a:lstStyle/>
          <a:p>
            <a:fld id="{910C69D4-DE42-414E-829A-8F378A406FFC}" type="slidenum">
              <a:rPr lang="en-US" smtClean="0"/>
              <a:t>24</a:t>
            </a:fld>
            <a:endParaRPr lang="en-US"/>
          </a:p>
        </p:txBody>
      </p:sp>
    </p:spTree>
    <p:extLst>
      <p:ext uri="{BB962C8B-B14F-4D97-AF65-F5344CB8AC3E}">
        <p14:creationId xmlns:p14="http://schemas.microsoft.com/office/powerpoint/2010/main" val="7171283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25</a:t>
            </a:fld>
            <a:endParaRPr lang="en-US"/>
          </a:p>
        </p:txBody>
      </p:sp>
    </p:spTree>
    <p:extLst>
      <p:ext uri="{BB962C8B-B14F-4D97-AF65-F5344CB8AC3E}">
        <p14:creationId xmlns:p14="http://schemas.microsoft.com/office/powerpoint/2010/main" val="41675918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tnite articles from epic statement</a:t>
            </a:r>
          </a:p>
        </p:txBody>
      </p:sp>
      <p:sp>
        <p:nvSpPr>
          <p:cNvPr id="4" name="Slide Number Placeholder 3"/>
          <p:cNvSpPr>
            <a:spLocks noGrp="1"/>
          </p:cNvSpPr>
          <p:nvPr>
            <p:ph type="sldNum" sz="quarter" idx="5"/>
          </p:nvPr>
        </p:nvSpPr>
        <p:spPr/>
        <p:txBody>
          <a:bodyPr/>
          <a:lstStyle/>
          <a:p>
            <a:fld id="{910C69D4-DE42-414E-829A-8F378A406FFC}" type="slidenum">
              <a:rPr lang="en-US" smtClean="0"/>
              <a:t>26</a:t>
            </a:fld>
            <a:endParaRPr lang="en-US"/>
          </a:p>
        </p:txBody>
      </p:sp>
    </p:spTree>
    <p:extLst>
      <p:ext uri="{BB962C8B-B14F-4D97-AF65-F5344CB8AC3E}">
        <p14:creationId xmlns:p14="http://schemas.microsoft.com/office/powerpoint/2010/main" val="12941503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ame Genre Category, TPP = Third person perspective</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7</a:t>
            </a:fld>
            <a:endParaRPr lang="en-US"/>
          </a:p>
        </p:txBody>
      </p:sp>
    </p:spTree>
    <p:extLst>
      <p:ext uri="{BB962C8B-B14F-4D97-AF65-F5344CB8AC3E}">
        <p14:creationId xmlns:p14="http://schemas.microsoft.com/office/powerpoint/2010/main" val="11642724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28</a:t>
            </a:fld>
            <a:endParaRPr lang="en-US"/>
          </a:p>
        </p:txBody>
      </p:sp>
    </p:spTree>
    <p:extLst>
      <p:ext uri="{BB962C8B-B14F-4D97-AF65-F5344CB8AC3E}">
        <p14:creationId xmlns:p14="http://schemas.microsoft.com/office/powerpoint/2010/main" val="27045949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chanics description</a:t>
            </a:r>
          </a:p>
        </p:txBody>
      </p:sp>
      <p:sp>
        <p:nvSpPr>
          <p:cNvPr id="4" name="Slide Number Placeholder 3"/>
          <p:cNvSpPr>
            <a:spLocks noGrp="1"/>
          </p:cNvSpPr>
          <p:nvPr>
            <p:ph type="sldNum" sz="quarter" idx="5"/>
          </p:nvPr>
        </p:nvSpPr>
        <p:spPr/>
        <p:txBody>
          <a:bodyPr/>
          <a:lstStyle/>
          <a:p>
            <a:fld id="{910C69D4-DE42-414E-829A-8F378A406FFC}" type="slidenum">
              <a:rPr lang="en-US" smtClean="0"/>
              <a:t>29</a:t>
            </a:fld>
            <a:endParaRPr lang="en-US"/>
          </a:p>
        </p:txBody>
      </p:sp>
    </p:spTree>
    <p:extLst>
      <p:ext uri="{BB962C8B-B14F-4D97-AF65-F5344CB8AC3E}">
        <p14:creationId xmlns:p14="http://schemas.microsoft.com/office/powerpoint/2010/main" val="34993726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PP/FPP == third first person perspective</a:t>
            </a:r>
          </a:p>
        </p:txBody>
      </p:sp>
      <p:sp>
        <p:nvSpPr>
          <p:cNvPr id="4" name="Slide Number Placeholder 3"/>
          <p:cNvSpPr>
            <a:spLocks noGrp="1"/>
          </p:cNvSpPr>
          <p:nvPr>
            <p:ph type="sldNum" sz="quarter" idx="5"/>
          </p:nvPr>
        </p:nvSpPr>
        <p:spPr/>
        <p:txBody>
          <a:bodyPr/>
          <a:lstStyle/>
          <a:p>
            <a:fld id="{910C69D4-DE42-414E-829A-8F378A406FFC}" type="slidenum">
              <a:rPr lang="en-US" smtClean="0"/>
              <a:t>33</a:t>
            </a:fld>
            <a:endParaRPr lang="en-US"/>
          </a:p>
        </p:txBody>
      </p:sp>
    </p:spTree>
    <p:extLst>
      <p:ext uri="{BB962C8B-B14F-4D97-AF65-F5344CB8AC3E}">
        <p14:creationId xmlns:p14="http://schemas.microsoft.com/office/powerpoint/2010/main" val="38229870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4</a:t>
            </a:fld>
            <a:endParaRPr lang="en-US"/>
          </a:p>
        </p:txBody>
      </p:sp>
    </p:spTree>
    <p:extLst>
      <p:ext uri="{BB962C8B-B14F-4D97-AF65-F5344CB8AC3E}">
        <p14:creationId xmlns:p14="http://schemas.microsoft.com/office/powerpoint/2010/main" val="35442517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section 1 history and general view with more images, 2 more text with less images, 3 specify genre of gameplay mechanics, 4 video presentation, 5 workflow SDLC lifecycle + image of word here, 6 ??? (insert transitions to specific slides e.g., 6) .. Say that project is based and inspired by Advanced Light Actor – </a:t>
            </a:r>
            <a:r>
              <a:rPr lang="en-US" b="0" i="0" u="none" strike="noStrike" dirty="0">
                <a:solidFill>
                  <a:srgbClr val="DCA100"/>
                </a:solidFill>
                <a:effectLst/>
                <a:latin typeface="icomoon"/>
              </a:rPr>
              <a:t>Roland </a:t>
            </a:r>
            <a:r>
              <a:rPr lang="en-US" b="0" i="0" u="none" strike="noStrike" dirty="0" err="1">
                <a:solidFill>
                  <a:srgbClr val="DCA100"/>
                </a:solidFill>
                <a:effectLst/>
                <a:latin typeface="icomoon"/>
              </a:rPr>
              <a:t>Simigla</a:t>
            </a:r>
            <a:r>
              <a:rPr lang="en-US" b="0" i="0" u="none" strike="noStrike" dirty="0">
                <a:solidFill>
                  <a:srgbClr val="DCA100"/>
                </a:solidFill>
                <a:effectLst/>
                <a:latin typeface="icomoon"/>
              </a:rPr>
              <a:t> and Horror Engine – </a:t>
            </a:r>
            <a:r>
              <a:rPr lang="en-US" b="0" i="0" dirty="0" err="1">
                <a:solidFill>
                  <a:srgbClr val="DCA100"/>
                </a:solidFill>
                <a:effectLst/>
                <a:latin typeface="icomoon"/>
              </a:rPr>
              <a:t>tansuergene</a:t>
            </a:r>
            <a:r>
              <a:rPr lang="en-US" b="0" i="0" dirty="0">
                <a:solidFill>
                  <a:srgbClr val="DCA100"/>
                </a:solidFill>
                <a:effectLst/>
                <a:latin typeface="icomoon"/>
              </a:rPr>
              <a:t> in Epic Games Unreal Engine </a:t>
            </a:r>
            <a:r>
              <a:rPr lang="en-US" b="0" i="0" dirty="0" err="1">
                <a:solidFill>
                  <a:srgbClr val="DCA100"/>
                </a:solidFill>
                <a:effectLst/>
                <a:latin typeface="icomoon"/>
              </a:rPr>
              <a:t>Marketplce</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a:t>
            </a:fld>
            <a:endParaRPr lang="en-US"/>
          </a:p>
        </p:txBody>
      </p:sp>
    </p:spTree>
    <p:extLst>
      <p:ext uri="{BB962C8B-B14F-4D97-AF65-F5344CB8AC3E}">
        <p14:creationId xmlns:p14="http://schemas.microsoft.com/office/powerpoint/2010/main" val="853069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5</a:t>
            </a:fld>
            <a:endParaRPr lang="en-US"/>
          </a:p>
        </p:txBody>
      </p:sp>
    </p:spTree>
    <p:extLst>
      <p:ext uri="{BB962C8B-B14F-4D97-AF65-F5344CB8AC3E}">
        <p14:creationId xmlns:p14="http://schemas.microsoft.com/office/powerpoint/2010/main" val="3472659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6</a:t>
            </a:fld>
            <a:endParaRPr lang="en-US"/>
          </a:p>
        </p:txBody>
      </p:sp>
    </p:spTree>
    <p:extLst>
      <p:ext uri="{BB962C8B-B14F-4D97-AF65-F5344CB8AC3E}">
        <p14:creationId xmlns:p14="http://schemas.microsoft.com/office/powerpoint/2010/main" val="18162277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7</a:t>
            </a:fld>
            <a:endParaRPr lang="en-US"/>
          </a:p>
        </p:txBody>
      </p:sp>
    </p:spTree>
    <p:extLst>
      <p:ext uri="{BB962C8B-B14F-4D97-AF65-F5344CB8AC3E}">
        <p14:creationId xmlns:p14="http://schemas.microsoft.com/office/powerpoint/2010/main" val="11141592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 Write-time speed &gt; </a:t>
            </a:r>
            <a:r>
              <a:rPr lang="en-US"/>
              <a:t>run-time speed</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8</a:t>
            </a:fld>
            <a:endParaRPr lang="en-US"/>
          </a:p>
        </p:txBody>
      </p:sp>
    </p:spTree>
    <p:extLst>
      <p:ext uri="{BB962C8B-B14F-4D97-AF65-F5344CB8AC3E}">
        <p14:creationId xmlns:p14="http://schemas.microsoft.com/office/powerpoint/2010/main" val="14312610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1</a:t>
            </a:fld>
            <a:endParaRPr lang="en-US"/>
          </a:p>
        </p:txBody>
      </p:sp>
    </p:spTree>
    <p:extLst>
      <p:ext uri="{BB962C8B-B14F-4D97-AF65-F5344CB8AC3E}">
        <p14:creationId xmlns:p14="http://schemas.microsoft.com/office/powerpoint/2010/main" val="31859922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entire business interacts with R&amp;D team and it is not is siloed from business executives or any other department</a:t>
            </a:r>
          </a:p>
        </p:txBody>
      </p:sp>
      <p:sp>
        <p:nvSpPr>
          <p:cNvPr id="4" name="Slide Number Placeholder 3"/>
          <p:cNvSpPr>
            <a:spLocks noGrp="1"/>
          </p:cNvSpPr>
          <p:nvPr>
            <p:ph type="sldNum" sz="quarter" idx="5"/>
          </p:nvPr>
        </p:nvSpPr>
        <p:spPr/>
        <p:txBody>
          <a:bodyPr/>
          <a:lstStyle/>
          <a:p>
            <a:fld id="{910C69D4-DE42-414E-829A-8F378A406FFC}" type="slidenum">
              <a:rPr lang="en-US" smtClean="0"/>
              <a:t>42</a:t>
            </a:fld>
            <a:endParaRPr lang="en-US"/>
          </a:p>
        </p:txBody>
      </p:sp>
    </p:spTree>
    <p:extLst>
      <p:ext uri="{BB962C8B-B14F-4D97-AF65-F5344CB8AC3E}">
        <p14:creationId xmlns:p14="http://schemas.microsoft.com/office/powerpoint/2010/main" val="190307719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gile computing in practice see slides </a:t>
            </a:r>
            <a:r>
              <a:rPr lang="en-US" dirty="0" err="1"/>
              <a:t>SAFe</a:t>
            </a:r>
            <a:r>
              <a:rPr lang="en-US" dirty="0"/>
              <a:t> Framework, SDLC &amp; Dev ops</a:t>
            </a:r>
          </a:p>
        </p:txBody>
      </p:sp>
      <p:sp>
        <p:nvSpPr>
          <p:cNvPr id="4" name="Slide Number Placeholder 3"/>
          <p:cNvSpPr>
            <a:spLocks noGrp="1"/>
          </p:cNvSpPr>
          <p:nvPr>
            <p:ph type="sldNum" sz="quarter" idx="5"/>
          </p:nvPr>
        </p:nvSpPr>
        <p:spPr/>
        <p:txBody>
          <a:bodyPr/>
          <a:lstStyle/>
          <a:p>
            <a:fld id="{910C69D4-DE42-414E-829A-8F378A406FFC}" type="slidenum">
              <a:rPr lang="en-US" smtClean="0"/>
              <a:t>44</a:t>
            </a:fld>
            <a:endParaRPr lang="en-US"/>
          </a:p>
        </p:txBody>
      </p:sp>
    </p:spTree>
    <p:extLst>
      <p:ext uri="{BB962C8B-B14F-4D97-AF65-F5344CB8AC3E}">
        <p14:creationId xmlns:p14="http://schemas.microsoft.com/office/powerpoint/2010/main" val="3004867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iquetra + </a:t>
            </a:r>
            <a:r>
              <a:rPr lang="en-US" b="0" i="0" dirty="0">
                <a:solidFill>
                  <a:srgbClr val="E8EAED"/>
                </a:solidFill>
                <a:effectLst/>
                <a:latin typeface="arial" panose="020B0604020202020204" pitchFamily="34" charset="0"/>
              </a:rPr>
              <a:t>Ouroboros</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7</a:t>
            </a:fld>
            <a:endParaRPr lang="en-US"/>
          </a:p>
        </p:txBody>
      </p:sp>
    </p:spTree>
    <p:extLst>
      <p:ext uri="{BB962C8B-B14F-4D97-AF65-F5344CB8AC3E}">
        <p14:creationId xmlns:p14="http://schemas.microsoft.com/office/powerpoint/2010/main" val="24012537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a:t>
            </a:fld>
            <a:endParaRPr lang="en-US"/>
          </a:p>
        </p:txBody>
      </p:sp>
    </p:spTree>
    <p:extLst>
      <p:ext uri="{BB962C8B-B14F-4D97-AF65-F5344CB8AC3E}">
        <p14:creationId xmlns:p14="http://schemas.microsoft.com/office/powerpoint/2010/main" val="3624607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8</a:t>
            </a:fld>
            <a:endParaRPr lang="en-US"/>
          </a:p>
        </p:txBody>
      </p:sp>
    </p:spTree>
    <p:extLst>
      <p:ext uri="{BB962C8B-B14F-4D97-AF65-F5344CB8AC3E}">
        <p14:creationId xmlns:p14="http://schemas.microsoft.com/office/powerpoint/2010/main" val="5322779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arma</a:t>
            </a:r>
          </a:p>
        </p:txBody>
      </p:sp>
      <p:sp>
        <p:nvSpPr>
          <p:cNvPr id="4" name="Slide Number Placeholder 3"/>
          <p:cNvSpPr>
            <a:spLocks noGrp="1"/>
          </p:cNvSpPr>
          <p:nvPr>
            <p:ph type="sldNum" sz="quarter" idx="5"/>
          </p:nvPr>
        </p:nvSpPr>
        <p:spPr/>
        <p:txBody>
          <a:bodyPr/>
          <a:lstStyle/>
          <a:p>
            <a:fld id="{910C69D4-DE42-414E-829A-8F378A406FFC}" type="slidenum">
              <a:rPr lang="en-US" smtClean="0"/>
              <a:t>15</a:t>
            </a:fld>
            <a:endParaRPr lang="en-US"/>
          </a:p>
        </p:txBody>
      </p:sp>
    </p:spTree>
    <p:extLst>
      <p:ext uri="{BB962C8B-B14F-4D97-AF65-F5344CB8AC3E}">
        <p14:creationId xmlns:p14="http://schemas.microsoft.com/office/powerpoint/2010/main" val="23861587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 about UE etc. like doc slides</a:t>
            </a:r>
          </a:p>
        </p:txBody>
      </p:sp>
      <p:sp>
        <p:nvSpPr>
          <p:cNvPr id="4" name="Slide Number Placeholder 3"/>
          <p:cNvSpPr>
            <a:spLocks noGrp="1"/>
          </p:cNvSpPr>
          <p:nvPr>
            <p:ph type="sldNum" sz="quarter" idx="5"/>
          </p:nvPr>
        </p:nvSpPr>
        <p:spPr/>
        <p:txBody>
          <a:bodyPr/>
          <a:lstStyle/>
          <a:p>
            <a:fld id="{910C69D4-DE42-414E-829A-8F378A406FFC}" type="slidenum">
              <a:rPr lang="en-US" smtClean="0"/>
              <a:t>18</a:t>
            </a:fld>
            <a:endParaRPr lang="en-US"/>
          </a:p>
        </p:txBody>
      </p:sp>
    </p:spTree>
    <p:extLst>
      <p:ext uri="{BB962C8B-B14F-4D97-AF65-F5344CB8AC3E}">
        <p14:creationId xmlns:p14="http://schemas.microsoft.com/office/powerpoint/2010/main" val="6894639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9</a:t>
            </a:fld>
            <a:endParaRPr lang="en-US"/>
          </a:p>
        </p:txBody>
      </p:sp>
    </p:spTree>
    <p:extLst>
      <p:ext uri="{BB962C8B-B14F-4D97-AF65-F5344CB8AC3E}">
        <p14:creationId xmlns:p14="http://schemas.microsoft.com/office/powerpoint/2010/main" val="27503349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20</a:t>
            </a:fld>
            <a:endParaRPr lang="en-US"/>
          </a:p>
        </p:txBody>
      </p:sp>
    </p:spTree>
    <p:extLst>
      <p:ext uri="{BB962C8B-B14F-4D97-AF65-F5344CB8AC3E}">
        <p14:creationId xmlns:p14="http://schemas.microsoft.com/office/powerpoint/2010/main" val="32142534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21</a:t>
            </a:fld>
            <a:endParaRPr lang="en-US"/>
          </a:p>
        </p:txBody>
      </p:sp>
    </p:spTree>
    <p:extLst>
      <p:ext uri="{BB962C8B-B14F-4D97-AF65-F5344CB8AC3E}">
        <p14:creationId xmlns:p14="http://schemas.microsoft.com/office/powerpoint/2010/main" val="8419411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1/10/2022</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10/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10/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10/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10/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10/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10/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10/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10/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10/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1/10/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1/10/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1/10/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1/10/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1/10/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10/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10/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1/10/2022</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effectLst>
            <a:outerShdw blurRad="152400" dist="38100" dir="2700000" algn="tl">
              <a:srgbClr val="000000">
                <a:alpha val="36000"/>
              </a:srgbClr>
            </a:outerShdw>
          </a:effectLst>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effectLst>
            <a:outerShdw blurRad="152400" dist="38100" dir="2700000" algn="tl">
              <a:srgbClr val="000000">
                <a:alpha val="36000"/>
              </a:srgbClr>
            </a:outerShdw>
          </a:effectLst>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effectLst>
            <a:outerShdw blurRad="152400" dist="38100" dir="2700000" algn="tl">
              <a:srgbClr val="000000">
                <a:alpha val="36000"/>
              </a:srgbClr>
            </a:outerShdw>
          </a:effectLst>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hyperlink" Target="https://creativecommons.org/licenses/by/3.0/" TargetMode="External"/><Relationship Id="rId13" Type="http://schemas.openxmlformats.org/officeDocument/2006/relationships/diagramQuickStyle" Target="../diagrams/quickStyle2.xml"/><Relationship Id="rId3" Type="http://schemas.openxmlformats.org/officeDocument/2006/relationships/hyperlink" Target="http://www.playstationblast.com.br/2017/02/playstation-vr-vendas.html" TargetMode="External"/><Relationship Id="rId7" Type="http://schemas.openxmlformats.org/officeDocument/2006/relationships/hyperlink" Target="https://creativecommons.org/licenses/by-sa/3.0/" TargetMode="External"/><Relationship Id="rId12" Type="http://schemas.openxmlformats.org/officeDocument/2006/relationships/diagramLayout" Target="../diagrams/layout2.xml"/><Relationship Id="rId2" Type="http://schemas.openxmlformats.org/officeDocument/2006/relationships/image" Target="../media/image9.jpg"/><Relationship Id="rId1" Type="http://schemas.openxmlformats.org/officeDocument/2006/relationships/slideLayout" Target="../slideLayouts/slideLayout15.xml"/><Relationship Id="rId6" Type="http://schemas.openxmlformats.org/officeDocument/2006/relationships/hyperlink" Target="https://www.universetoday.com/77523/multiverse/" TargetMode="External"/><Relationship Id="rId11" Type="http://schemas.openxmlformats.org/officeDocument/2006/relationships/diagramData" Target="../diagrams/data2.xml"/><Relationship Id="rId5" Type="http://schemas.openxmlformats.org/officeDocument/2006/relationships/image" Target="../media/image11.jpg"/><Relationship Id="rId15" Type="http://schemas.microsoft.com/office/2007/relationships/diagramDrawing" Target="../diagrams/drawing2.xml"/><Relationship Id="rId10" Type="http://schemas.openxmlformats.org/officeDocument/2006/relationships/image" Target="../media/image13.svg"/><Relationship Id="rId4" Type="http://schemas.openxmlformats.org/officeDocument/2006/relationships/image" Target="../media/image10.gif"/><Relationship Id="rId9" Type="http://schemas.openxmlformats.org/officeDocument/2006/relationships/image" Target="../media/image12.png"/><Relationship Id="rId14" Type="http://schemas.openxmlformats.org/officeDocument/2006/relationships/diagramColors" Target="../diagrams/colors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7.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20.gif"/><Relationship Id="rId7" Type="http://schemas.openxmlformats.org/officeDocument/2006/relationships/image" Target="../media/image24.sv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23.png"/><Relationship Id="rId5" Type="http://schemas.openxmlformats.org/officeDocument/2006/relationships/image" Target="../media/image22.jpg"/><Relationship Id="rId4" Type="http://schemas.openxmlformats.org/officeDocument/2006/relationships/image" Target="../media/image21.gif"/></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27.jpeg"/></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hyperlink" Target="https://medium.com/@ow/the-metaverse-is-already-here-its-called-fortnite-3a7d92e4acfd" TargetMode="External"/><Relationship Id="rId2" Type="http://schemas.openxmlformats.org/officeDocument/2006/relationships/notesSlide" Target="../notesSlides/notesSlide14.xml"/><Relationship Id="rId1" Type="http://schemas.openxmlformats.org/officeDocument/2006/relationships/slideLayout" Target="../slideLayouts/slideLayout10.xml"/><Relationship Id="rId4" Type="http://schemas.openxmlformats.org/officeDocument/2006/relationships/image" Target="../media/image28.jpe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diagramLayout" Target="../diagrams/layout7.xml"/><Relationship Id="rId3" Type="http://schemas.openxmlformats.org/officeDocument/2006/relationships/diagramLayout" Target="../diagrams/layout5.xml"/><Relationship Id="rId7" Type="http://schemas.openxmlformats.org/officeDocument/2006/relationships/diagramData" Target="../diagrams/data6.xml"/><Relationship Id="rId12" Type="http://schemas.openxmlformats.org/officeDocument/2006/relationships/diagramData" Target="../diagrams/data7.xml"/><Relationship Id="rId2" Type="http://schemas.openxmlformats.org/officeDocument/2006/relationships/diagramData" Target="../diagrams/data5.xml"/><Relationship Id="rId16" Type="http://schemas.microsoft.com/office/2007/relationships/diagramDrawing" Target="../diagrams/drawing7.xml"/><Relationship Id="rId1" Type="http://schemas.openxmlformats.org/officeDocument/2006/relationships/slideLayout" Target="../slideLayouts/slideLayout7.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5" Type="http://schemas.openxmlformats.org/officeDocument/2006/relationships/diagramColors" Target="../diagrams/colors7.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 Id="rId14" Type="http://schemas.openxmlformats.org/officeDocument/2006/relationships/diagramQuickStyle" Target="../diagrams/quickStyle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0.jpeg"/><Relationship Id="rId2" Type="http://schemas.openxmlformats.org/officeDocument/2006/relationships/tags" Target="../tags/tag3.xml"/><Relationship Id="rId1" Type="http://schemas.openxmlformats.org/officeDocument/2006/relationships/video" Target="https://www.youtube.com/embed/K6WGjKm1JZo?feature=oembed" TargetMode="External"/><Relationship Id="rId6" Type="http://schemas.openxmlformats.org/officeDocument/2006/relationships/image" Target="../media/image29.gif"/><Relationship Id="rId5" Type="http://schemas.openxmlformats.org/officeDocument/2006/relationships/image" Target="../media/image20.gif"/><Relationship Id="rId4" Type="http://schemas.openxmlformats.org/officeDocument/2006/relationships/notesSlide" Target="../notesSlides/notesSlide19.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1.jpeg"/><Relationship Id="rId2" Type="http://schemas.openxmlformats.org/officeDocument/2006/relationships/tags" Target="../tags/tag4.xml"/><Relationship Id="rId1" Type="http://schemas.openxmlformats.org/officeDocument/2006/relationships/video" Target="https://www.youtube.com/embed/UaiMWREsuQU?feature=oembed" TargetMode="External"/><Relationship Id="rId6" Type="http://schemas.openxmlformats.org/officeDocument/2006/relationships/image" Target="../media/image29.gif"/><Relationship Id="rId5" Type="http://schemas.openxmlformats.org/officeDocument/2006/relationships/image" Target="../media/image20.gif"/><Relationship Id="rId4" Type="http://schemas.openxmlformats.org/officeDocument/2006/relationships/notesSlide" Target="../notesSlides/notesSlide20.xml"/></Relationships>
</file>

<file path=ppt/slides/_rels/slide36.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notesSlide" Target="../notesSlides/notesSlide21.xml"/><Relationship Id="rId1" Type="http://schemas.openxmlformats.org/officeDocument/2006/relationships/slideLayout" Target="../slideLayouts/slideLayout6.xml"/><Relationship Id="rId5" Type="http://schemas.openxmlformats.org/officeDocument/2006/relationships/image" Target="../media/image32.png"/><Relationship Id="rId4" Type="http://schemas.openxmlformats.org/officeDocument/2006/relationships/image" Target="../media/image29.gif"/></Relationships>
</file>

<file path=ppt/slides/_rels/slide37.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notesSlide" Target="../notesSlides/notesSlide22.xml"/><Relationship Id="rId1" Type="http://schemas.openxmlformats.org/officeDocument/2006/relationships/slideLayout" Target="../slideLayouts/slideLayout6.xml"/><Relationship Id="rId5" Type="http://schemas.openxmlformats.org/officeDocument/2006/relationships/image" Target="../media/image33.png"/><Relationship Id="rId4" Type="http://schemas.openxmlformats.org/officeDocument/2006/relationships/image" Target="../media/image29.gif"/></Relationships>
</file>

<file path=ppt/slides/_rels/slide38.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notesSlide" Target="../notesSlides/notesSlide23.xml"/><Relationship Id="rId1" Type="http://schemas.openxmlformats.org/officeDocument/2006/relationships/slideLayout" Target="../slideLayouts/slideLayout6.xml"/><Relationship Id="rId5" Type="http://schemas.openxmlformats.org/officeDocument/2006/relationships/image" Target="../media/image34.png"/><Relationship Id="rId4" Type="http://schemas.openxmlformats.org/officeDocument/2006/relationships/image" Target="../media/image29.gif"/></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s://svitla.com/blog/sdlc-methodologies" TargetMode="Externa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image" Target="../media/image38.png"/></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xml"/><Relationship Id="rId1" Type="http://schemas.openxmlformats.org/officeDocument/2006/relationships/video" Target="https://www.youtube.com/embed/WU0gvPcc3jQ?feature=oembed" TargetMode="External"/><Relationship Id="rId5" Type="http://schemas.openxmlformats.org/officeDocument/2006/relationships/image" Target="../media/image39.jpeg"/><Relationship Id="rId4" Type="http://schemas.openxmlformats.org/officeDocument/2006/relationships/image" Target="../media/image20.gif"/></Relationships>
</file>

<file path=ppt/slides/_rels/slide4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openxmlformats.org/officeDocument/2006/relationships/image" Target="../media/image42.png"/><Relationship Id="rId4" Type="http://schemas.microsoft.com/office/2007/relationships/hdphoto" Target="../media/hdphoto2.wdp"/></Relationships>
</file>

<file path=ppt/slides/_rels/slide5.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image" Target="../media/image3.gif"/><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5.jpeg"/></Relationships>
</file>

<file path=ppt/slides/_rels/slide9.xml.rels><?xml version="1.0" encoding="UTF-8" standalone="yes"?>
<Relationships xmlns="http://schemas.openxmlformats.org/package/2006/relationships"><Relationship Id="rId8" Type="http://schemas.openxmlformats.org/officeDocument/2006/relationships/hyperlink" Target="https://creativecommons.org/licenses/by-nc-sa/3.0/" TargetMode="External"/><Relationship Id="rId13" Type="http://schemas.microsoft.com/office/2007/relationships/diagramDrawing" Target="../diagrams/drawing1.xml"/><Relationship Id="rId3" Type="http://schemas.openxmlformats.org/officeDocument/2006/relationships/hyperlink" Target="https://www.flickr.com/photos/40168038@N08/36005328171" TargetMode="External"/><Relationship Id="rId7" Type="http://schemas.openxmlformats.org/officeDocument/2006/relationships/hyperlink" Target="https://creativecommons.org/licenses/by-sa/3.0/" TargetMode="External"/><Relationship Id="rId12" Type="http://schemas.openxmlformats.org/officeDocument/2006/relationships/diagramColors" Target="../diagrams/colors1.xml"/><Relationship Id="rId2" Type="http://schemas.openxmlformats.org/officeDocument/2006/relationships/image" Target="../media/image6.jpg"/><Relationship Id="rId1" Type="http://schemas.openxmlformats.org/officeDocument/2006/relationships/slideLayout" Target="../slideLayouts/slideLayout15.xml"/><Relationship Id="rId6" Type="http://schemas.openxmlformats.org/officeDocument/2006/relationships/hyperlink" Target="https://netivist.org/debate/pokemon-go-pros-and-cons" TargetMode="External"/><Relationship Id="rId11" Type="http://schemas.openxmlformats.org/officeDocument/2006/relationships/diagramQuickStyle" Target="../diagrams/quickStyle1.xml"/><Relationship Id="rId5" Type="http://schemas.openxmlformats.org/officeDocument/2006/relationships/image" Target="../media/image8.jpg"/><Relationship Id="rId10" Type="http://schemas.openxmlformats.org/officeDocument/2006/relationships/diagramLayout" Target="../diagrams/layout1.xml"/><Relationship Id="rId4" Type="http://schemas.openxmlformats.org/officeDocument/2006/relationships/image" Target="../media/image7.jpg"/><Relationship Id="rId9"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61" name="Rectangle 260">
            <a:extLst>
              <a:ext uri="{FF2B5EF4-FFF2-40B4-BE49-F238E27FC236}">
                <a16:creationId xmlns:a16="http://schemas.microsoft.com/office/drawing/2014/main" id="{C01732A5-1625-483B-A230-06B829BEA444}"/>
              </a:ext>
            </a:extLst>
          </p:cNvPr>
          <p:cNvSpPr/>
          <p:nvPr/>
        </p:nvSpPr>
        <p:spPr>
          <a:xfrm rot="20129969">
            <a:off x="3515031" y="1961406"/>
            <a:ext cx="2370585" cy="923330"/>
          </a:xfrm>
          <a:prstGeom prst="rect">
            <a:avLst/>
          </a:prstGeom>
          <a:noFill/>
          <a:effectLst>
            <a:glow rad="63500">
              <a:schemeClr val="accent1">
                <a:satMod val="175000"/>
                <a:alpha val="40000"/>
              </a:schemeClr>
            </a:glow>
            <a:softEdge rad="63500"/>
          </a:effectLst>
        </p:spPr>
        <p:txBody>
          <a:bodyPr wrap="square" lIns="91440" tIns="45720" rIns="91440" bIns="45720">
            <a:spAutoFit/>
          </a:bodyPr>
          <a:lstStyle/>
          <a:p>
            <a:pPr algn="ctr"/>
            <a:r>
              <a:rPr lang="en-US" sz="5400" b="0" cap="none" spc="0" dirty="0">
                <a:ln w="0"/>
                <a:solidFill>
                  <a:schemeClr val="accent1"/>
                </a:solidFill>
                <a:effectLst>
                  <a:outerShdw blurRad="60007" dist="310007" dir="7680000" sx="176000" sy="176000" kx="1300200" algn="ctr" rotWithShape="0">
                    <a:prstClr val="black">
                      <a:alpha val="32000"/>
                    </a:prstClr>
                  </a:outerShdw>
                  <a:reflection blurRad="6350" stA="50000" endA="300" endPos="50000" dist="60007" dir="5400000" sy="-100000" algn="bl" rotWithShape="0"/>
                </a:effectLst>
              </a:rPr>
              <a:t>Survival</a:t>
            </a:r>
          </a:p>
        </p:txBody>
      </p:sp>
      <p:sp>
        <p:nvSpPr>
          <p:cNvPr id="2" name="Title 1">
            <a:extLst>
              <a:ext uri="{FF2B5EF4-FFF2-40B4-BE49-F238E27FC236}">
                <a16:creationId xmlns:a16="http://schemas.microsoft.com/office/drawing/2014/main" id="{1137059E-A24F-4CC9-8C0C-5AAFAEF8166D}"/>
              </a:ext>
            </a:extLst>
          </p:cNvPr>
          <p:cNvSpPr>
            <a:spLocks noGrp="1"/>
          </p:cNvSpPr>
          <p:nvPr>
            <p:ph type="ctrTitle"/>
          </p:nvPr>
        </p:nvSpPr>
        <p:spPr>
          <a:xfrm>
            <a:off x="1876424" y="1122363"/>
            <a:ext cx="9963479" cy="2387600"/>
          </a:xfrm>
        </p:spPr>
        <p:txBody>
          <a:bodyPr/>
          <a:lstStyle/>
          <a:p>
            <a:r>
              <a:rPr lang="en-US" b="1" dirty="0">
                <a:effectLst>
                  <a:outerShdw blurRad="38100" dist="38100" dir="2700000" algn="tl">
                    <a:srgbClr val="000000">
                      <a:alpha val="43137"/>
                    </a:srgbClr>
                  </a:outerShdw>
                </a:effectLst>
              </a:rPr>
              <a:t>Advanced Gameplay Mechanics</a:t>
            </a:r>
          </a:p>
        </p:txBody>
      </p:sp>
      <p:sp>
        <p:nvSpPr>
          <p:cNvPr id="3" name="Subtitle 2">
            <a:extLst>
              <a:ext uri="{FF2B5EF4-FFF2-40B4-BE49-F238E27FC236}">
                <a16:creationId xmlns:a16="http://schemas.microsoft.com/office/drawing/2014/main" id="{1A082651-88DF-4B5A-B5F7-B15D1F3FF40C}"/>
              </a:ext>
            </a:extLst>
          </p:cNvPr>
          <p:cNvSpPr>
            <a:spLocks noGrp="1"/>
          </p:cNvSpPr>
          <p:nvPr>
            <p:ph type="subTitle" idx="1"/>
          </p:nvPr>
        </p:nvSpPr>
        <p:spPr/>
        <p:txBody>
          <a:bodyPr/>
          <a:lstStyle/>
          <a:p>
            <a:r>
              <a:rPr lang="en-US" dirty="0"/>
              <a:t>For multiplayer in unreal engine</a:t>
            </a:r>
          </a:p>
        </p:txBody>
      </p:sp>
      <p:cxnSp>
        <p:nvCxnSpPr>
          <p:cNvPr id="4" name="Google Shape;649;p48">
            <a:extLst>
              <a:ext uri="{FF2B5EF4-FFF2-40B4-BE49-F238E27FC236}">
                <a16:creationId xmlns:a16="http://schemas.microsoft.com/office/drawing/2014/main" id="{9FC18034-0C70-42C8-AB34-646C7282A3B5}"/>
              </a:ext>
            </a:extLst>
          </p:cNvPr>
          <p:cNvCxnSpPr/>
          <p:nvPr/>
        </p:nvCxnSpPr>
        <p:spPr>
          <a:xfrm>
            <a:off x="-405826" y="4199650"/>
            <a:ext cx="4564500"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436;p48">
            <a:extLst>
              <a:ext uri="{FF2B5EF4-FFF2-40B4-BE49-F238E27FC236}">
                <a16:creationId xmlns:a16="http://schemas.microsoft.com/office/drawing/2014/main" id="{C4AEE91C-83D1-44CE-886E-FF861E04F114}"/>
              </a:ext>
            </a:extLst>
          </p:cNvPr>
          <p:cNvSpPr/>
          <p:nvPr/>
        </p:nvSpPr>
        <p:spPr>
          <a:xfrm rot="10800000" flipH="1">
            <a:off x="4158674" y="41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652;p48">
            <a:extLst>
              <a:ext uri="{FF2B5EF4-FFF2-40B4-BE49-F238E27FC236}">
                <a16:creationId xmlns:a16="http://schemas.microsoft.com/office/drawing/2014/main" id="{49A3A698-6859-46BA-821E-F305ADEA92BA}"/>
              </a:ext>
            </a:extLst>
          </p:cNvPr>
          <p:cNvSpPr/>
          <p:nvPr/>
        </p:nvSpPr>
        <p:spPr>
          <a:xfrm>
            <a:off x="1474771" y="254155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51;p48">
            <a:extLst>
              <a:ext uri="{FF2B5EF4-FFF2-40B4-BE49-F238E27FC236}">
                <a16:creationId xmlns:a16="http://schemas.microsoft.com/office/drawing/2014/main" id="{AA571E70-BE30-4DAB-B330-7F676A843563}"/>
              </a:ext>
            </a:extLst>
          </p:cNvPr>
          <p:cNvSpPr/>
          <p:nvPr/>
        </p:nvSpPr>
        <p:spPr>
          <a:xfrm>
            <a:off x="9791235" y="26605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53;p48">
            <a:extLst>
              <a:ext uri="{FF2B5EF4-FFF2-40B4-BE49-F238E27FC236}">
                <a16:creationId xmlns:a16="http://schemas.microsoft.com/office/drawing/2014/main" id="{2E9B6D8F-ACFD-4F05-9A95-0FCA2AC32746}"/>
              </a:ext>
            </a:extLst>
          </p:cNvPr>
          <p:cNvSpPr/>
          <p:nvPr/>
        </p:nvSpPr>
        <p:spPr>
          <a:xfrm>
            <a:off x="8513639" y="1505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54;p48">
            <a:extLst>
              <a:ext uri="{FF2B5EF4-FFF2-40B4-BE49-F238E27FC236}">
                <a16:creationId xmlns:a16="http://schemas.microsoft.com/office/drawing/2014/main" id="{C42D8EF1-31FA-4450-82D1-E523EE36173A}"/>
              </a:ext>
            </a:extLst>
          </p:cNvPr>
          <p:cNvSpPr/>
          <p:nvPr/>
        </p:nvSpPr>
        <p:spPr>
          <a:xfrm rot="10800000" flipH="1">
            <a:off x="3309539" y="4786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55;p48">
            <a:extLst>
              <a:ext uri="{FF2B5EF4-FFF2-40B4-BE49-F238E27FC236}">
                <a16:creationId xmlns:a16="http://schemas.microsoft.com/office/drawing/2014/main" id="{2E3C7B95-F711-4EBC-A755-75C73525E7F0}"/>
              </a:ext>
            </a:extLst>
          </p:cNvPr>
          <p:cNvSpPr/>
          <p:nvPr/>
        </p:nvSpPr>
        <p:spPr>
          <a:xfrm rot="10800000" flipH="1">
            <a:off x="4930389" y="5501309"/>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4" name="Group 293">
            <a:extLst>
              <a:ext uri="{FF2B5EF4-FFF2-40B4-BE49-F238E27FC236}">
                <a16:creationId xmlns:a16="http://schemas.microsoft.com/office/drawing/2014/main" id="{0ABFBE28-212E-43D5-8380-54FF67ABFE55}"/>
              </a:ext>
            </a:extLst>
          </p:cNvPr>
          <p:cNvGrpSpPr/>
          <p:nvPr/>
        </p:nvGrpSpPr>
        <p:grpSpPr>
          <a:xfrm>
            <a:off x="5105762" y="4198067"/>
            <a:ext cx="547271" cy="455226"/>
            <a:chOff x="5105762" y="4198067"/>
            <a:chExt cx="547271" cy="455226"/>
          </a:xfrm>
        </p:grpSpPr>
        <p:grpSp>
          <p:nvGrpSpPr>
            <p:cNvPr id="293" name="Group 292">
              <a:extLst>
                <a:ext uri="{FF2B5EF4-FFF2-40B4-BE49-F238E27FC236}">
                  <a16:creationId xmlns:a16="http://schemas.microsoft.com/office/drawing/2014/main" id="{C8DF9C90-F526-4380-98F3-48A184B5EE27}"/>
                </a:ext>
              </a:extLst>
            </p:cNvPr>
            <p:cNvGrpSpPr/>
            <p:nvPr/>
          </p:nvGrpSpPr>
          <p:grpSpPr>
            <a:xfrm>
              <a:off x="5241585" y="4198067"/>
              <a:ext cx="411448" cy="357384"/>
              <a:chOff x="5241585" y="4198067"/>
              <a:chExt cx="411448" cy="357384"/>
            </a:xfrm>
          </p:grpSpPr>
          <p:sp>
            <p:nvSpPr>
              <p:cNvPr id="17" name="Google Shape;658;p48">
                <a:extLst>
                  <a:ext uri="{FF2B5EF4-FFF2-40B4-BE49-F238E27FC236}">
                    <a16:creationId xmlns:a16="http://schemas.microsoft.com/office/drawing/2014/main" id="{0F7507A4-EC6C-4C6D-89E5-E15D462AA051}"/>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59;p48">
                <a:extLst>
                  <a:ext uri="{FF2B5EF4-FFF2-40B4-BE49-F238E27FC236}">
                    <a16:creationId xmlns:a16="http://schemas.microsoft.com/office/drawing/2014/main" id="{2CAD3589-AADB-49C9-931B-3FEC1075B40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0;p48">
                <a:extLst>
                  <a:ext uri="{FF2B5EF4-FFF2-40B4-BE49-F238E27FC236}">
                    <a16:creationId xmlns:a16="http://schemas.microsoft.com/office/drawing/2014/main" id="{36813766-AC83-41AF-A283-BF3D3E147CA6}"/>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 name="Google Shape;661;p48">
              <a:extLst>
                <a:ext uri="{FF2B5EF4-FFF2-40B4-BE49-F238E27FC236}">
                  <a16:creationId xmlns:a16="http://schemas.microsoft.com/office/drawing/2014/main" id="{45E13989-B495-4D89-BBF1-C96435567932}"/>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2" name="Group 291">
            <a:extLst>
              <a:ext uri="{FF2B5EF4-FFF2-40B4-BE49-F238E27FC236}">
                <a16:creationId xmlns:a16="http://schemas.microsoft.com/office/drawing/2014/main" id="{518E8674-5CE0-4716-B92F-14D1E6120D34}"/>
              </a:ext>
            </a:extLst>
          </p:cNvPr>
          <p:cNvGrpSpPr/>
          <p:nvPr/>
        </p:nvGrpSpPr>
        <p:grpSpPr>
          <a:xfrm>
            <a:off x="2122051" y="4430998"/>
            <a:ext cx="965465" cy="814701"/>
            <a:chOff x="2122052" y="4430998"/>
            <a:chExt cx="516998" cy="436265"/>
          </a:xfrm>
        </p:grpSpPr>
        <p:sp>
          <p:nvSpPr>
            <p:cNvPr id="21" name="Google Shape;663;p48">
              <a:extLst>
                <a:ext uri="{FF2B5EF4-FFF2-40B4-BE49-F238E27FC236}">
                  <a16:creationId xmlns:a16="http://schemas.microsoft.com/office/drawing/2014/main" id="{5791E162-FCA4-45CA-8393-2656B2BB9363}"/>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C182E87F-6B78-4E12-9D2C-E916FCF2F5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26C75F65-B23D-4BEC-917D-9F6C0D591B48}"/>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55BDAF96-B9DB-4334-B5A5-DA3571E5C07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9EAB4E93-B009-4831-8EFA-25B0E21DCD0C}"/>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23D9B295-F676-4EBB-AB81-E816B7B6007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DF479E89-8C83-4113-BB96-72471673106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1A303077-0EBF-4E26-8A9A-F69BDA4C347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DC8AC8A-90F7-47D3-BE81-9102E12D54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63B5809C-3E02-4D37-8012-658EAA839A6A}"/>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C72CF74B-C877-492C-A024-05A60331118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57885E5A-3F0D-40C6-98ED-F68B77B951CE}"/>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C173CE79-2297-41A4-AE05-8C514DA18BC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0F0BC77D-7076-4B3F-8270-3A973107216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7F32D07F-F467-41FB-9552-FBFC11FD48F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2B034DA3-9D2A-4B99-8B9F-202B5E5368B1}"/>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65AC8CB5-72CA-4D67-B358-6971DDC45A0F}"/>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752E281E-1FF1-4B01-A2AC-C885314A7A9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4D58140-4542-41E3-AE1C-833C9CDE31D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B48C1E5-7B1F-4CE7-A891-C597718D706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B81CE080-8559-42DA-BAB5-E624DB6DBBE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D6E9E3CA-5D5F-494F-ACEB-DAC50426C915}"/>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F31F9B07-A021-442D-85ED-A6C1D46243E7}"/>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F91BF85F-492B-40F9-886F-F00F636D08F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3884657A-14AA-4883-917B-97430E96060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11;p2">
            <a:extLst>
              <a:ext uri="{FF2B5EF4-FFF2-40B4-BE49-F238E27FC236}">
                <a16:creationId xmlns:a16="http://schemas.microsoft.com/office/drawing/2014/main" id="{E092FDA9-58C7-4B02-9B31-26C08E296075}"/>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p2">
            <a:extLst>
              <a:ext uri="{FF2B5EF4-FFF2-40B4-BE49-F238E27FC236}">
                <a16:creationId xmlns:a16="http://schemas.microsoft.com/office/drawing/2014/main" id="{4D0603FC-B9C9-4AC0-88B3-C140F94D09E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 name="Google Shape;437;p48">
            <a:extLst>
              <a:ext uri="{FF2B5EF4-FFF2-40B4-BE49-F238E27FC236}">
                <a16:creationId xmlns:a16="http://schemas.microsoft.com/office/drawing/2014/main" id="{DF52E084-CB2D-4AEF-A34A-E23C344828F1}"/>
              </a:ext>
            </a:extLst>
          </p:cNvPr>
          <p:cNvGrpSpPr/>
          <p:nvPr/>
        </p:nvGrpSpPr>
        <p:grpSpPr>
          <a:xfrm>
            <a:off x="7698203" y="3728003"/>
            <a:ext cx="3299906" cy="2640201"/>
            <a:chOff x="946248" y="2346044"/>
            <a:chExt cx="3067963" cy="2454651"/>
          </a:xfrm>
        </p:grpSpPr>
        <p:sp>
          <p:nvSpPr>
            <p:cNvPr id="49" name="Google Shape;438;p48">
              <a:extLst>
                <a:ext uri="{FF2B5EF4-FFF2-40B4-BE49-F238E27FC236}">
                  <a16:creationId xmlns:a16="http://schemas.microsoft.com/office/drawing/2014/main" id="{BD9AC113-0924-435D-8B91-10335DD630A3}"/>
                </a:ext>
              </a:extLst>
            </p:cNvPr>
            <p:cNvSpPr/>
            <p:nvPr/>
          </p:nvSpPr>
          <p:spPr>
            <a:xfrm flipH="1">
              <a:off x="1070041" y="2632092"/>
              <a:ext cx="994455" cy="799915"/>
            </a:xfrm>
            <a:custGeom>
              <a:avLst/>
              <a:gdLst/>
              <a:ahLst/>
              <a:cxnLst/>
              <a:rect l="l" t="t" r="r" b="b"/>
              <a:pathLst>
                <a:path w="69288" h="55733" extrusionOk="0">
                  <a:moveTo>
                    <a:pt x="69287" y="1"/>
                  </a:moveTo>
                  <a:lnTo>
                    <a:pt x="247" y="12041"/>
                  </a:lnTo>
                  <a:lnTo>
                    <a:pt x="1" y="55733"/>
                  </a:lnTo>
                  <a:lnTo>
                    <a:pt x="69287" y="55733"/>
                  </a:lnTo>
                  <a:lnTo>
                    <a:pt x="6928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439;p48">
              <a:extLst>
                <a:ext uri="{FF2B5EF4-FFF2-40B4-BE49-F238E27FC236}">
                  <a16:creationId xmlns:a16="http://schemas.microsoft.com/office/drawing/2014/main" id="{BD2DBD26-662F-4C1D-B75A-F2ED59E05993}"/>
                </a:ext>
              </a:extLst>
            </p:cNvPr>
            <p:cNvSpPr/>
            <p:nvPr/>
          </p:nvSpPr>
          <p:spPr>
            <a:xfrm flipH="1">
              <a:off x="1070041" y="2632092"/>
              <a:ext cx="992934" cy="544753"/>
            </a:xfrm>
            <a:custGeom>
              <a:avLst/>
              <a:gdLst/>
              <a:ahLst/>
              <a:cxnLst/>
              <a:rect l="l" t="t" r="r" b="b"/>
              <a:pathLst>
                <a:path w="69182" h="37955" extrusionOk="0">
                  <a:moveTo>
                    <a:pt x="69181" y="1"/>
                  </a:moveTo>
                  <a:lnTo>
                    <a:pt x="141" y="12041"/>
                  </a:lnTo>
                  <a:lnTo>
                    <a:pt x="0" y="34398"/>
                  </a:lnTo>
                  <a:cubicBezTo>
                    <a:pt x="2252" y="37054"/>
                    <a:pt x="5554" y="37954"/>
                    <a:pt x="8959" y="37954"/>
                  </a:cubicBezTo>
                  <a:cubicBezTo>
                    <a:pt x="10879" y="37954"/>
                    <a:pt x="12831" y="37668"/>
                    <a:pt x="14646" y="37249"/>
                  </a:cubicBezTo>
                  <a:cubicBezTo>
                    <a:pt x="34573" y="32919"/>
                    <a:pt x="52106" y="24469"/>
                    <a:pt x="69181" y="15210"/>
                  </a:cubicBezTo>
                  <a:lnTo>
                    <a:pt x="691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440;p48">
              <a:extLst>
                <a:ext uri="{FF2B5EF4-FFF2-40B4-BE49-F238E27FC236}">
                  <a16:creationId xmlns:a16="http://schemas.microsoft.com/office/drawing/2014/main" id="{D3FFD06A-11EA-4F5D-9D5B-B989E5CDB479}"/>
                </a:ext>
              </a:extLst>
            </p:cNvPr>
            <p:cNvSpPr/>
            <p:nvPr/>
          </p:nvSpPr>
          <p:spPr>
            <a:xfrm flipH="1">
              <a:off x="1070398" y="2631404"/>
              <a:ext cx="991427" cy="216294"/>
            </a:xfrm>
            <a:custGeom>
              <a:avLst/>
              <a:gdLst/>
              <a:ahLst/>
              <a:cxnLst/>
              <a:rect l="l" t="t" r="r" b="b"/>
              <a:pathLst>
                <a:path w="69077" h="15070" extrusionOk="0">
                  <a:moveTo>
                    <a:pt x="69076" y="1"/>
                  </a:moveTo>
                  <a:lnTo>
                    <a:pt x="1" y="12042"/>
                  </a:lnTo>
                  <a:lnTo>
                    <a:pt x="1" y="15069"/>
                  </a:lnTo>
                  <a:lnTo>
                    <a:pt x="69076" y="4895"/>
                  </a:lnTo>
                  <a:lnTo>
                    <a:pt x="6907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441;p48">
              <a:extLst>
                <a:ext uri="{FF2B5EF4-FFF2-40B4-BE49-F238E27FC236}">
                  <a16:creationId xmlns:a16="http://schemas.microsoft.com/office/drawing/2014/main" id="{0D44ADCE-DFD4-4AC9-AA03-8380BEACD732}"/>
                </a:ext>
              </a:extLst>
            </p:cNvPr>
            <p:cNvSpPr/>
            <p:nvPr/>
          </p:nvSpPr>
          <p:spPr>
            <a:xfrm flipH="1">
              <a:off x="1070399" y="3351255"/>
              <a:ext cx="994957" cy="81379"/>
            </a:xfrm>
            <a:custGeom>
              <a:avLst/>
              <a:gdLst/>
              <a:ahLst/>
              <a:cxnLst/>
              <a:rect l="l" t="t" r="r" b="b"/>
              <a:pathLst>
                <a:path w="69323" h="5670" extrusionOk="0">
                  <a:moveTo>
                    <a:pt x="69322" y="1"/>
                  </a:moveTo>
                  <a:lnTo>
                    <a:pt x="36" y="2430"/>
                  </a:lnTo>
                  <a:lnTo>
                    <a:pt x="0" y="5669"/>
                  </a:lnTo>
                  <a:lnTo>
                    <a:pt x="69322" y="5669"/>
                  </a:lnTo>
                  <a:lnTo>
                    <a:pt x="6932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442;p48">
              <a:extLst>
                <a:ext uri="{FF2B5EF4-FFF2-40B4-BE49-F238E27FC236}">
                  <a16:creationId xmlns:a16="http://schemas.microsoft.com/office/drawing/2014/main" id="{E6104001-F84E-45D5-8707-8C7E37C088CD}"/>
                </a:ext>
              </a:extLst>
            </p:cNvPr>
            <p:cNvSpPr/>
            <p:nvPr/>
          </p:nvSpPr>
          <p:spPr>
            <a:xfrm flipH="1">
              <a:off x="1902268" y="3018710"/>
              <a:ext cx="154130" cy="301979"/>
            </a:xfrm>
            <a:custGeom>
              <a:avLst/>
              <a:gdLst/>
              <a:ahLst/>
              <a:cxnLst/>
              <a:rect l="l" t="t" r="r" b="b"/>
              <a:pathLst>
                <a:path w="10739" h="21040" extrusionOk="0">
                  <a:moveTo>
                    <a:pt x="7710" y="1"/>
                  </a:moveTo>
                  <a:cubicBezTo>
                    <a:pt x="6689" y="247"/>
                    <a:pt x="5915" y="1092"/>
                    <a:pt x="5281" y="1902"/>
                  </a:cubicBezTo>
                  <a:cubicBezTo>
                    <a:pt x="3415" y="4190"/>
                    <a:pt x="2007" y="6796"/>
                    <a:pt x="1056" y="9577"/>
                  </a:cubicBezTo>
                  <a:cubicBezTo>
                    <a:pt x="141" y="12358"/>
                    <a:pt x="0" y="15351"/>
                    <a:pt x="634" y="18238"/>
                  </a:cubicBezTo>
                  <a:cubicBezTo>
                    <a:pt x="951" y="19400"/>
                    <a:pt x="1514" y="20702"/>
                    <a:pt x="2746" y="20984"/>
                  </a:cubicBezTo>
                  <a:cubicBezTo>
                    <a:pt x="2907" y="21023"/>
                    <a:pt x="3067" y="21040"/>
                    <a:pt x="3227" y="21040"/>
                  </a:cubicBezTo>
                  <a:cubicBezTo>
                    <a:pt x="3945" y="21040"/>
                    <a:pt x="4654" y="20689"/>
                    <a:pt x="5316" y="20315"/>
                  </a:cubicBezTo>
                  <a:cubicBezTo>
                    <a:pt x="7288" y="19118"/>
                    <a:pt x="9119" y="17675"/>
                    <a:pt x="10738" y="16020"/>
                  </a:cubicBezTo>
                  <a:cubicBezTo>
                    <a:pt x="9858" y="15386"/>
                    <a:pt x="9154" y="14541"/>
                    <a:pt x="8591" y="13591"/>
                  </a:cubicBezTo>
                  <a:cubicBezTo>
                    <a:pt x="7006" y="15562"/>
                    <a:pt x="5422" y="17499"/>
                    <a:pt x="3838" y="19470"/>
                  </a:cubicBezTo>
                  <a:cubicBezTo>
                    <a:pt x="3666" y="19671"/>
                    <a:pt x="3400" y="19895"/>
                    <a:pt x="3155" y="19895"/>
                  </a:cubicBezTo>
                  <a:cubicBezTo>
                    <a:pt x="3099" y="19895"/>
                    <a:pt x="3045" y="19884"/>
                    <a:pt x="2993" y="19857"/>
                  </a:cubicBezTo>
                  <a:cubicBezTo>
                    <a:pt x="2817" y="19752"/>
                    <a:pt x="2711" y="19576"/>
                    <a:pt x="2676" y="19400"/>
                  </a:cubicBezTo>
                  <a:cubicBezTo>
                    <a:pt x="1796" y="16654"/>
                    <a:pt x="2535" y="13696"/>
                    <a:pt x="3626" y="11021"/>
                  </a:cubicBezTo>
                  <a:cubicBezTo>
                    <a:pt x="4823" y="8098"/>
                    <a:pt x="6443" y="5387"/>
                    <a:pt x="8414" y="2958"/>
                  </a:cubicBezTo>
                  <a:cubicBezTo>
                    <a:pt x="8591" y="2747"/>
                    <a:pt x="8731" y="2501"/>
                    <a:pt x="8802" y="2219"/>
                  </a:cubicBezTo>
                  <a:cubicBezTo>
                    <a:pt x="8907" y="1374"/>
                    <a:pt x="7570" y="846"/>
                    <a:pt x="771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443;p48">
              <a:extLst>
                <a:ext uri="{FF2B5EF4-FFF2-40B4-BE49-F238E27FC236}">
                  <a16:creationId xmlns:a16="http://schemas.microsoft.com/office/drawing/2014/main" id="{6827FF7C-DB10-4995-91AE-4AA88D4D822D}"/>
                </a:ext>
              </a:extLst>
            </p:cNvPr>
            <p:cNvSpPr/>
            <p:nvPr/>
          </p:nvSpPr>
          <p:spPr>
            <a:xfrm flipH="1">
              <a:off x="1842633" y="2748824"/>
              <a:ext cx="106639" cy="301190"/>
            </a:xfrm>
            <a:custGeom>
              <a:avLst/>
              <a:gdLst/>
              <a:ahLst/>
              <a:cxnLst/>
              <a:rect l="l" t="t" r="r" b="b"/>
              <a:pathLst>
                <a:path w="7430" h="20985" extrusionOk="0">
                  <a:moveTo>
                    <a:pt x="5280" y="1"/>
                  </a:moveTo>
                  <a:cubicBezTo>
                    <a:pt x="5269" y="1"/>
                    <a:pt x="5257" y="1"/>
                    <a:pt x="5247" y="2"/>
                  </a:cubicBezTo>
                  <a:cubicBezTo>
                    <a:pt x="4683" y="72"/>
                    <a:pt x="4190" y="318"/>
                    <a:pt x="3768" y="706"/>
                  </a:cubicBezTo>
                  <a:cubicBezTo>
                    <a:pt x="1339" y="2572"/>
                    <a:pt x="459" y="4367"/>
                    <a:pt x="142" y="7817"/>
                  </a:cubicBezTo>
                  <a:cubicBezTo>
                    <a:pt x="1" y="9296"/>
                    <a:pt x="142" y="10810"/>
                    <a:pt x="635" y="12253"/>
                  </a:cubicBezTo>
                  <a:cubicBezTo>
                    <a:pt x="846" y="13063"/>
                    <a:pt x="1057" y="13908"/>
                    <a:pt x="1198" y="14718"/>
                  </a:cubicBezTo>
                  <a:cubicBezTo>
                    <a:pt x="1480" y="15880"/>
                    <a:pt x="1339" y="17077"/>
                    <a:pt x="811" y="18098"/>
                  </a:cubicBezTo>
                  <a:cubicBezTo>
                    <a:pt x="388" y="19013"/>
                    <a:pt x="107" y="19964"/>
                    <a:pt x="1" y="20949"/>
                  </a:cubicBezTo>
                  <a:lnTo>
                    <a:pt x="423" y="20985"/>
                  </a:lnTo>
                  <a:cubicBezTo>
                    <a:pt x="529" y="20069"/>
                    <a:pt x="775" y="19154"/>
                    <a:pt x="1163" y="18309"/>
                  </a:cubicBezTo>
                  <a:cubicBezTo>
                    <a:pt x="1726" y="17182"/>
                    <a:pt x="1902" y="15880"/>
                    <a:pt x="1585" y="14647"/>
                  </a:cubicBezTo>
                  <a:cubicBezTo>
                    <a:pt x="1444" y="13803"/>
                    <a:pt x="1233" y="12958"/>
                    <a:pt x="987" y="12113"/>
                  </a:cubicBezTo>
                  <a:cubicBezTo>
                    <a:pt x="564" y="10740"/>
                    <a:pt x="388" y="9296"/>
                    <a:pt x="564" y="7853"/>
                  </a:cubicBezTo>
                  <a:cubicBezTo>
                    <a:pt x="846" y="4543"/>
                    <a:pt x="1726" y="2853"/>
                    <a:pt x="4014" y="1023"/>
                  </a:cubicBezTo>
                  <a:cubicBezTo>
                    <a:pt x="4367" y="741"/>
                    <a:pt x="4789" y="530"/>
                    <a:pt x="5247" y="424"/>
                  </a:cubicBezTo>
                  <a:cubicBezTo>
                    <a:pt x="5669" y="424"/>
                    <a:pt x="6937" y="1269"/>
                    <a:pt x="7007" y="1621"/>
                  </a:cubicBezTo>
                  <a:lnTo>
                    <a:pt x="7429" y="1551"/>
                  </a:lnTo>
                  <a:cubicBezTo>
                    <a:pt x="7326" y="928"/>
                    <a:pt x="5898" y="1"/>
                    <a:pt x="52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444;p48">
              <a:extLst>
                <a:ext uri="{FF2B5EF4-FFF2-40B4-BE49-F238E27FC236}">
                  <a16:creationId xmlns:a16="http://schemas.microsoft.com/office/drawing/2014/main" id="{BAB18F62-9702-4501-AE8B-9A6B02FAFE01}"/>
                </a:ext>
              </a:extLst>
            </p:cNvPr>
            <p:cNvSpPr/>
            <p:nvPr/>
          </p:nvSpPr>
          <p:spPr>
            <a:xfrm flipH="1">
              <a:off x="1881051" y="2953152"/>
              <a:ext cx="147558" cy="162041"/>
            </a:xfrm>
            <a:custGeom>
              <a:avLst/>
              <a:gdLst/>
              <a:ahLst/>
              <a:cxnLst/>
              <a:rect l="l" t="t" r="r" b="b"/>
              <a:pathLst>
                <a:path w="10281" h="11290" extrusionOk="0">
                  <a:moveTo>
                    <a:pt x="4341" y="1"/>
                  </a:moveTo>
                  <a:cubicBezTo>
                    <a:pt x="4097" y="1"/>
                    <a:pt x="3857" y="40"/>
                    <a:pt x="3627" y="132"/>
                  </a:cubicBezTo>
                  <a:cubicBezTo>
                    <a:pt x="3028" y="449"/>
                    <a:pt x="2535" y="906"/>
                    <a:pt x="2218" y="1540"/>
                  </a:cubicBezTo>
                  <a:cubicBezTo>
                    <a:pt x="1162" y="3230"/>
                    <a:pt x="458" y="5166"/>
                    <a:pt x="177" y="7173"/>
                  </a:cubicBezTo>
                  <a:cubicBezTo>
                    <a:pt x="36" y="8089"/>
                    <a:pt x="0" y="9074"/>
                    <a:pt x="458" y="9884"/>
                  </a:cubicBezTo>
                  <a:cubicBezTo>
                    <a:pt x="1005" y="10834"/>
                    <a:pt x="2140" y="11290"/>
                    <a:pt x="3248" y="11290"/>
                  </a:cubicBezTo>
                  <a:cubicBezTo>
                    <a:pt x="3495" y="11290"/>
                    <a:pt x="3741" y="11267"/>
                    <a:pt x="3979" y="11222"/>
                  </a:cubicBezTo>
                  <a:cubicBezTo>
                    <a:pt x="5317" y="10940"/>
                    <a:pt x="6443" y="10131"/>
                    <a:pt x="7464" y="9286"/>
                  </a:cubicBezTo>
                  <a:cubicBezTo>
                    <a:pt x="8309" y="8581"/>
                    <a:pt x="9013" y="7772"/>
                    <a:pt x="9577" y="6856"/>
                  </a:cubicBezTo>
                  <a:cubicBezTo>
                    <a:pt x="10140" y="5906"/>
                    <a:pt x="10281" y="4779"/>
                    <a:pt x="9999" y="3723"/>
                  </a:cubicBezTo>
                  <a:cubicBezTo>
                    <a:pt x="9471" y="2174"/>
                    <a:pt x="7852" y="1329"/>
                    <a:pt x="6408" y="625"/>
                  </a:cubicBezTo>
                  <a:cubicBezTo>
                    <a:pt x="5758" y="313"/>
                    <a:pt x="5031" y="1"/>
                    <a:pt x="434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445;p48">
              <a:extLst>
                <a:ext uri="{FF2B5EF4-FFF2-40B4-BE49-F238E27FC236}">
                  <a16:creationId xmlns:a16="http://schemas.microsoft.com/office/drawing/2014/main" id="{0662BDCB-E0F5-40C9-87D1-9F606ECF8E81}"/>
                </a:ext>
              </a:extLst>
            </p:cNvPr>
            <p:cNvSpPr/>
            <p:nvPr/>
          </p:nvSpPr>
          <p:spPr>
            <a:xfrm flipH="1">
              <a:off x="1819900" y="3131725"/>
              <a:ext cx="134426" cy="143784"/>
            </a:xfrm>
            <a:custGeom>
              <a:avLst/>
              <a:gdLst/>
              <a:ahLst/>
              <a:cxnLst/>
              <a:rect l="l" t="t" r="r" b="b"/>
              <a:pathLst>
                <a:path w="9366" h="10018" extrusionOk="0">
                  <a:moveTo>
                    <a:pt x="4063" y="1"/>
                  </a:moveTo>
                  <a:cubicBezTo>
                    <a:pt x="3859" y="1"/>
                    <a:pt x="3653" y="28"/>
                    <a:pt x="3451" y="85"/>
                  </a:cubicBezTo>
                  <a:cubicBezTo>
                    <a:pt x="2958" y="296"/>
                    <a:pt x="2536" y="648"/>
                    <a:pt x="2254" y="1141"/>
                  </a:cubicBezTo>
                  <a:cubicBezTo>
                    <a:pt x="1585" y="2091"/>
                    <a:pt x="1057" y="3112"/>
                    <a:pt x="670" y="4169"/>
                  </a:cubicBezTo>
                  <a:cubicBezTo>
                    <a:pt x="212" y="5190"/>
                    <a:pt x="1" y="6316"/>
                    <a:pt x="106" y="7443"/>
                  </a:cubicBezTo>
                  <a:cubicBezTo>
                    <a:pt x="247" y="8569"/>
                    <a:pt x="987" y="9661"/>
                    <a:pt x="2078" y="9942"/>
                  </a:cubicBezTo>
                  <a:cubicBezTo>
                    <a:pt x="2284" y="9994"/>
                    <a:pt x="2488" y="10017"/>
                    <a:pt x="2691" y="10017"/>
                  </a:cubicBezTo>
                  <a:cubicBezTo>
                    <a:pt x="3597" y="10017"/>
                    <a:pt x="4463" y="9551"/>
                    <a:pt x="5211" y="9062"/>
                  </a:cubicBezTo>
                  <a:cubicBezTo>
                    <a:pt x="6232" y="8393"/>
                    <a:pt x="7148" y="7654"/>
                    <a:pt x="8028" y="6844"/>
                  </a:cubicBezTo>
                  <a:cubicBezTo>
                    <a:pt x="8556" y="6457"/>
                    <a:pt x="8943" y="5894"/>
                    <a:pt x="9155" y="5260"/>
                  </a:cubicBezTo>
                  <a:cubicBezTo>
                    <a:pt x="9366" y="4380"/>
                    <a:pt x="8908" y="3464"/>
                    <a:pt x="8345" y="2760"/>
                  </a:cubicBezTo>
                  <a:cubicBezTo>
                    <a:pt x="7535" y="1739"/>
                    <a:pt x="6514" y="930"/>
                    <a:pt x="5317" y="366"/>
                  </a:cubicBezTo>
                  <a:cubicBezTo>
                    <a:pt x="4933" y="126"/>
                    <a:pt x="4501" y="1"/>
                    <a:pt x="40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446;p48">
              <a:extLst>
                <a:ext uri="{FF2B5EF4-FFF2-40B4-BE49-F238E27FC236}">
                  <a16:creationId xmlns:a16="http://schemas.microsoft.com/office/drawing/2014/main" id="{592ADF22-0C4A-4E32-84A3-4E30B90A0FC5}"/>
                </a:ext>
              </a:extLst>
            </p:cNvPr>
            <p:cNvSpPr/>
            <p:nvPr/>
          </p:nvSpPr>
          <p:spPr>
            <a:xfrm flipH="1">
              <a:off x="1921970" y="2964248"/>
              <a:ext cx="98559" cy="127882"/>
            </a:xfrm>
            <a:custGeom>
              <a:avLst/>
              <a:gdLst/>
              <a:ahLst/>
              <a:cxnLst/>
              <a:rect l="l" t="t" r="r" b="b"/>
              <a:pathLst>
                <a:path w="6867" h="8910" extrusionOk="0">
                  <a:moveTo>
                    <a:pt x="3370" y="1"/>
                  </a:moveTo>
                  <a:cubicBezTo>
                    <a:pt x="3129" y="1"/>
                    <a:pt x="2894" y="50"/>
                    <a:pt x="2676" y="169"/>
                  </a:cubicBezTo>
                  <a:cubicBezTo>
                    <a:pt x="2219" y="485"/>
                    <a:pt x="1867" y="943"/>
                    <a:pt x="1726" y="1471"/>
                  </a:cubicBezTo>
                  <a:cubicBezTo>
                    <a:pt x="1127" y="2844"/>
                    <a:pt x="634" y="4253"/>
                    <a:pt x="247" y="5661"/>
                  </a:cubicBezTo>
                  <a:cubicBezTo>
                    <a:pt x="71" y="6259"/>
                    <a:pt x="1" y="6858"/>
                    <a:pt x="71" y="7492"/>
                  </a:cubicBezTo>
                  <a:cubicBezTo>
                    <a:pt x="96" y="8344"/>
                    <a:pt x="811" y="8910"/>
                    <a:pt x="1552" y="8910"/>
                  </a:cubicBezTo>
                  <a:cubicBezTo>
                    <a:pt x="1882" y="8910"/>
                    <a:pt x="2218" y="8797"/>
                    <a:pt x="2500" y="8548"/>
                  </a:cubicBezTo>
                  <a:cubicBezTo>
                    <a:pt x="2888" y="8231"/>
                    <a:pt x="3240" y="7879"/>
                    <a:pt x="3521" y="7492"/>
                  </a:cubicBezTo>
                  <a:lnTo>
                    <a:pt x="5986" y="4288"/>
                  </a:lnTo>
                  <a:cubicBezTo>
                    <a:pt x="6408" y="3724"/>
                    <a:pt x="6866" y="3056"/>
                    <a:pt x="6760" y="2351"/>
                  </a:cubicBezTo>
                  <a:cubicBezTo>
                    <a:pt x="6655" y="1542"/>
                    <a:pt x="5880" y="1049"/>
                    <a:pt x="5176" y="626"/>
                  </a:cubicBezTo>
                  <a:cubicBezTo>
                    <a:pt x="4645" y="323"/>
                    <a:pt x="3986" y="1"/>
                    <a:pt x="337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447;p48">
              <a:extLst>
                <a:ext uri="{FF2B5EF4-FFF2-40B4-BE49-F238E27FC236}">
                  <a16:creationId xmlns:a16="http://schemas.microsoft.com/office/drawing/2014/main" id="{2BDA1981-6399-4DC5-BCD2-FA9E2ACBB0EA}"/>
                </a:ext>
              </a:extLst>
            </p:cNvPr>
            <p:cNvSpPr/>
            <p:nvPr/>
          </p:nvSpPr>
          <p:spPr>
            <a:xfrm flipH="1">
              <a:off x="1705169" y="2729576"/>
              <a:ext cx="68734" cy="167338"/>
            </a:xfrm>
            <a:custGeom>
              <a:avLst/>
              <a:gdLst/>
              <a:ahLst/>
              <a:cxnLst/>
              <a:rect l="l" t="t" r="r" b="b"/>
              <a:pathLst>
                <a:path w="4789" h="11659" extrusionOk="0">
                  <a:moveTo>
                    <a:pt x="3529" y="1"/>
                  </a:moveTo>
                  <a:cubicBezTo>
                    <a:pt x="3492" y="1"/>
                    <a:pt x="3454" y="2"/>
                    <a:pt x="3416" y="5"/>
                  </a:cubicBezTo>
                  <a:cubicBezTo>
                    <a:pt x="2641" y="40"/>
                    <a:pt x="1937" y="392"/>
                    <a:pt x="1479" y="990"/>
                  </a:cubicBezTo>
                  <a:cubicBezTo>
                    <a:pt x="669" y="2011"/>
                    <a:pt x="564" y="3384"/>
                    <a:pt x="493" y="4511"/>
                  </a:cubicBezTo>
                  <a:cubicBezTo>
                    <a:pt x="282" y="7257"/>
                    <a:pt x="282" y="7680"/>
                    <a:pt x="247" y="8102"/>
                  </a:cubicBezTo>
                  <a:cubicBezTo>
                    <a:pt x="212" y="8525"/>
                    <a:pt x="212" y="8982"/>
                    <a:pt x="1" y="11658"/>
                  </a:cubicBezTo>
                  <a:lnTo>
                    <a:pt x="247" y="11658"/>
                  </a:lnTo>
                  <a:cubicBezTo>
                    <a:pt x="423" y="8982"/>
                    <a:pt x="458" y="8560"/>
                    <a:pt x="458" y="8102"/>
                  </a:cubicBezTo>
                  <a:cubicBezTo>
                    <a:pt x="493" y="7680"/>
                    <a:pt x="493" y="7257"/>
                    <a:pt x="705" y="4511"/>
                  </a:cubicBezTo>
                  <a:cubicBezTo>
                    <a:pt x="775" y="3420"/>
                    <a:pt x="881" y="2082"/>
                    <a:pt x="1620" y="1131"/>
                  </a:cubicBezTo>
                  <a:cubicBezTo>
                    <a:pt x="2078" y="568"/>
                    <a:pt x="2711" y="251"/>
                    <a:pt x="3416" y="216"/>
                  </a:cubicBezTo>
                  <a:cubicBezTo>
                    <a:pt x="3454" y="213"/>
                    <a:pt x="3492" y="211"/>
                    <a:pt x="3531" y="211"/>
                  </a:cubicBezTo>
                  <a:cubicBezTo>
                    <a:pt x="3949" y="211"/>
                    <a:pt x="4358" y="386"/>
                    <a:pt x="4648" y="709"/>
                  </a:cubicBezTo>
                  <a:lnTo>
                    <a:pt x="4789" y="568"/>
                  </a:lnTo>
                  <a:cubicBezTo>
                    <a:pt x="4462" y="209"/>
                    <a:pt x="4014" y="1"/>
                    <a:pt x="352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448;p48">
              <a:extLst>
                <a:ext uri="{FF2B5EF4-FFF2-40B4-BE49-F238E27FC236}">
                  <a16:creationId xmlns:a16="http://schemas.microsoft.com/office/drawing/2014/main" id="{B898D394-C8C0-461D-B509-A28C141FCF0E}"/>
                </a:ext>
              </a:extLst>
            </p:cNvPr>
            <p:cNvSpPr/>
            <p:nvPr/>
          </p:nvSpPr>
          <p:spPr>
            <a:xfrm flipH="1">
              <a:off x="1730440" y="2852439"/>
              <a:ext cx="119772" cy="251257"/>
            </a:xfrm>
            <a:custGeom>
              <a:avLst/>
              <a:gdLst/>
              <a:ahLst/>
              <a:cxnLst/>
              <a:rect l="l" t="t" r="r" b="b"/>
              <a:pathLst>
                <a:path w="8345" h="17506" extrusionOk="0">
                  <a:moveTo>
                    <a:pt x="7711" y="1"/>
                  </a:moveTo>
                  <a:cubicBezTo>
                    <a:pt x="6478" y="951"/>
                    <a:pt x="4155" y="4367"/>
                    <a:pt x="3521" y="5810"/>
                  </a:cubicBezTo>
                  <a:cubicBezTo>
                    <a:pt x="2007" y="9436"/>
                    <a:pt x="458" y="13098"/>
                    <a:pt x="0" y="17006"/>
                  </a:cubicBezTo>
                  <a:cubicBezTo>
                    <a:pt x="423" y="17006"/>
                    <a:pt x="810" y="17111"/>
                    <a:pt x="1162" y="17323"/>
                  </a:cubicBezTo>
                  <a:cubicBezTo>
                    <a:pt x="1362" y="17442"/>
                    <a:pt x="1596" y="17506"/>
                    <a:pt x="1832" y="17506"/>
                  </a:cubicBezTo>
                  <a:cubicBezTo>
                    <a:pt x="2011" y="17506"/>
                    <a:pt x="2192" y="17469"/>
                    <a:pt x="2359" y="17393"/>
                  </a:cubicBezTo>
                  <a:cubicBezTo>
                    <a:pt x="2535" y="17252"/>
                    <a:pt x="2676" y="17041"/>
                    <a:pt x="2782" y="16830"/>
                  </a:cubicBezTo>
                  <a:lnTo>
                    <a:pt x="3662" y="15140"/>
                  </a:lnTo>
                  <a:cubicBezTo>
                    <a:pt x="3838" y="14823"/>
                    <a:pt x="3944" y="14506"/>
                    <a:pt x="4014" y="14154"/>
                  </a:cubicBezTo>
                  <a:cubicBezTo>
                    <a:pt x="3979" y="13767"/>
                    <a:pt x="3908" y="13344"/>
                    <a:pt x="3767" y="12992"/>
                  </a:cubicBezTo>
                  <a:cubicBezTo>
                    <a:pt x="3627" y="12570"/>
                    <a:pt x="3697" y="12147"/>
                    <a:pt x="3979" y="11830"/>
                  </a:cubicBezTo>
                  <a:cubicBezTo>
                    <a:pt x="4577" y="11795"/>
                    <a:pt x="5141" y="11513"/>
                    <a:pt x="5528" y="11021"/>
                  </a:cubicBezTo>
                  <a:cubicBezTo>
                    <a:pt x="5880" y="10528"/>
                    <a:pt x="6197" y="10000"/>
                    <a:pt x="6408" y="9436"/>
                  </a:cubicBezTo>
                  <a:cubicBezTo>
                    <a:pt x="6690" y="8838"/>
                    <a:pt x="6866" y="8204"/>
                    <a:pt x="6901" y="7535"/>
                  </a:cubicBezTo>
                  <a:cubicBezTo>
                    <a:pt x="6901" y="6796"/>
                    <a:pt x="6584" y="6092"/>
                    <a:pt x="6443" y="5387"/>
                  </a:cubicBezTo>
                  <a:cubicBezTo>
                    <a:pt x="6232" y="4367"/>
                    <a:pt x="7781" y="1409"/>
                    <a:pt x="8344" y="529"/>
                  </a:cubicBezTo>
                  <a:cubicBezTo>
                    <a:pt x="8027" y="388"/>
                    <a:pt x="8027" y="177"/>
                    <a:pt x="77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449;p48">
              <a:extLst>
                <a:ext uri="{FF2B5EF4-FFF2-40B4-BE49-F238E27FC236}">
                  <a16:creationId xmlns:a16="http://schemas.microsoft.com/office/drawing/2014/main" id="{5F7F9C56-FE37-4651-B758-0915DC22FD05}"/>
                </a:ext>
              </a:extLst>
            </p:cNvPr>
            <p:cNvSpPr/>
            <p:nvPr/>
          </p:nvSpPr>
          <p:spPr>
            <a:xfrm flipH="1">
              <a:off x="1807253" y="3031774"/>
              <a:ext cx="31848" cy="64271"/>
            </a:xfrm>
            <a:custGeom>
              <a:avLst/>
              <a:gdLst/>
              <a:ahLst/>
              <a:cxnLst/>
              <a:rect l="l" t="t" r="r" b="b"/>
              <a:pathLst>
                <a:path w="2219" h="4478" extrusionOk="0">
                  <a:moveTo>
                    <a:pt x="1642" y="1"/>
                  </a:moveTo>
                  <a:cubicBezTo>
                    <a:pt x="1429" y="1"/>
                    <a:pt x="1222" y="106"/>
                    <a:pt x="1092" y="288"/>
                  </a:cubicBezTo>
                  <a:cubicBezTo>
                    <a:pt x="916" y="499"/>
                    <a:pt x="775" y="781"/>
                    <a:pt x="740" y="1062"/>
                  </a:cubicBezTo>
                  <a:cubicBezTo>
                    <a:pt x="529" y="1731"/>
                    <a:pt x="353" y="2400"/>
                    <a:pt x="142" y="3104"/>
                  </a:cubicBezTo>
                  <a:cubicBezTo>
                    <a:pt x="36" y="3351"/>
                    <a:pt x="1" y="3633"/>
                    <a:pt x="36" y="3914"/>
                  </a:cubicBezTo>
                  <a:cubicBezTo>
                    <a:pt x="71" y="4231"/>
                    <a:pt x="318" y="4442"/>
                    <a:pt x="635" y="4477"/>
                  </a:cubicBezTo>
                  <a:cubicBezTo>
                    <a:pt x="775" y="4442"/>
                    <a:pt x="951" y="4337"/>
                    <a:pt x="1022" y="4196"/>
                  </a:cubicBezTo>
                  <a:cubicBezTo>
                    <a:pt x="1128" y="4055"/>
                    <a:pt x="1198" y="3914"/>
                    <a:pt x="1233" y="3738"/>
                  </a:cubicBezTo>
                  <a:lnTo>
                    <a:pt x="2043" y="1415"/>
                  </a:lnTo>
                  <a:cubicBezTo>
                    <a:pt x="2149" y="1168"/>
                    <a:pt x="2219" y="922"/>
                    <a:pt x="2219" y="640"/>
                  </a:cubicBezTo>
                  <a:cubicBezTo>
                    <a:pt x="2219" y="394"/>
                    <a:pt x="2078" y="147"/>
                    <a:pt x="1867" y="41"/>
                  </a:cubicBezTo>
                  <a:cubicBezTo>
                    <a:pt x="1793" y="14"/>
                    <a:pt x="1717" y="1"/>
                    <a:pt x="164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50;p48">
              <a:extLst>
                <a:ext uri="{FF2B5EF4-FFF2-40B4-BE49-F238E27FC236}">
                  <a16:creationId xmlns:a16="http://schemas.microsoft.com/office/drawing/2014/main" id="{274A5AAE-BC17-404D-AADE-3E35FFDE1587}"/>
                </a:ext>
              </a:extLst>
            </p:cNvPr>
            <p:cNvSpPr/>
            <p:nvPr/>
          </p:nvSpPr>
          <p:spPr>
            <a:xfrm flipH="1">
              <a:off x="1766316" y="2933300"/>
              <a:ext cx="43474" cy="73586"/>
            </a:xfrm>
            <a:custGeom>
              <a:avLst/>
              <a:gdLst/>
              <a:ahLst/>
              <a:cxnLst/>
              <a:rect l="l" t="t" r="r" b="b"/>
              <a:pathLst>
                <a:path w="3029" h="5127" extrusionOk="0">
                  <a:moveTo>
                    <a:pt x="1832" y="1"/>
                  </a:moveTo>
                  <a:cubicBezTo>
                    <a:pt x="1092" y="1304"/>
                    <a:pt x="529" y="2677"/>
                    <a:pt x="71" y="4120"/>
                  </a:cubicBezTo>
                  <a:cubicBezTo>
                    <a:pt x="1" y="4331"/>
                    <a:pt x="1" y="4543"/>
                    <a:pt x="71" y="4754"/>
                  </a:cubicBezTo>
                  <a:cubicBezTo>
                    <a:pt x="212" y="4895"/>
                    <a:pt x="388" y="5000"/>
                    <a:pt x="564" y="5035"/>
                  </a:cubicBezTo>
                  <a:cubicBezTo>
                    <a:pt x="698" y="5102"/>
                    <a:pt x="832" y="5127"/>
                    <a:pt x="957" y="5127"/>
                  </a:cubicBezTo>
                  <a:cubicBezTo>
                    <a:pt x="1029" y="5127"/>
                    <a:pt x="1098" y="5119"/>
                    <a:pt x="1163" y="5106"/>
                  </a:cubicBezTo>
                  <a:cubicBezTo>
                    <a:pt x="1374" y="5000"/>
                    <a:pt x="1515" y="4824"/>
                    <a:pt x="1620" y="4648"/>
                  </a:cubicBezTo>
                  <a:cubicBezTo>
                    <a:pt x="2148" y="3698"/>
                    <a:pt x="2536" y="2677"/>
                    <a:pt x="2853" y="1656"/>
                  </a:cubicBezTo>
                  <a:cubicBezTo>
                    <a:pt x="2993" y="1374"/>
                    <a:pt x="3029" y="1057"/>
                    <a:pt x="2958" y="740"/>
                  </a:cubicBezTo>
                  <a:cubicBezTo>
                    <a:pt x="2888" y="529"/>
                    <a:pt x="2712" y="353"/>
                    <a:pt x="2501" y="247"/>
                  </a:cubicBezTo>
                  <a:cubicBezTo>
                    <a:pt x="2289" y="142"/>
                    <a:pt x="2043" y="36"/>
                    <a:pt x="18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51;p48">
              <a:extLst>
                <a:ext uri="{FF2B5EF4-FFF2-40B4-BE49-F238E27FC236}">
                  <a16:creationId xmlns:a16="http://schemas.microsoft.com/office/drawing/2014/main" id="{23C9F0E6-EC43-4BC1-8806-D47E22FDF39D}"/>
                </a:ext>
              </a:extLst>
            </p:cNvPr>
            <p:cNvSpPr/>
            <p:nvPr/>
          </p:nvSpPr>
          <p:spPr>
            <a:xfrm flipH="1">
              <a:off x="2602207" y="3226955"/>
              <a:ext cx="140998" cy="412824"/>
            </a:xfrm>
            <a:custGeom>
              <a:avLst/>
              <a:gdLst/>
              <a:ahLst/>
              <a:cxnLst/>
              <a:rect l="l" t="t" r="r" b="b"/>
              <a:pathLst>
                <a:path w="9824" h="28763" extrusionOk="0">
                  <a:moveTo>
                    <a:pt x="8046" y="0"/>
                  </a:moveTo>
                  <a:cubicBezTo>
                    <a:pt x="7411" y="0"/>
                    <a:pt x="6739" y="199"/>
                    <a:pt x="6197" y="527"/>
                  </a:cubicBezTo>
                  <a:cubicBezTo>
                    <a:pt x="4366" y="1619"/>
                    <a:pt x="3380" y="3660"/>
                    <a:pt x="2711" y="5667"/>
                  </a:cubicBezTo>
                  <a:cubicBezTo>
                    <a:pt x="282" y="13025"/>
                    <a:pt x="1197" y="21053"/>
                    <a:pt x="0" y="28763"/>
                  </a:cubicBezTo>
                  <a:lnTo>
                    <a:pt x="6830" y="28446"/>
                  </a:lnTo>
                  <a:cubicBezTo>
                    <a:pt x="5986" y="21440"/>
                    <a:pt x="5810" y="14363"/>
                    <a:pt x="6373" y="7322"/>
                  </a:cubicBezTo>
                  <a:cubicBezTo>
                    <a:pt x="6373" y="6019"/>
                    <a:pt x="6619" y="4717"/>
                    <a:pt x="7077" y="3484"/>
                  </a:cubicBezTo>
                  <a:cubicBezTo>
                    <a:pt x="7535" y="2252"/>
                    <a:pt x="8556" y="1302"/>
                    <a:pt x="9823" y="879"/>
                  </a:cubicBezTo>
                  <a:cubicBezTo>
                    <a:pt x="9447" y="259"/>
                    <a:pt x="8771" y="0"/>
                    <a:pt x="804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52;p48">
              <a:extLst>
                <a:ext uri="{FF2B5EF4-FFF2-40B4-BE49-F238E27FC236}">
                  <a16:creationId xmlns:a16="http://schemas.microsoft.com/office/drawing/2014/main" id="{BC6864C2-7FE5-4CAB-B3B5-6420A53D09BC}"/>
                </a:ext>
              </a:extLst>
            </p:cNvPr>
            <p:cNvSpPr/>
            <p:nvPr/>
          </p:nvSpPr>
          <p:spPr>
            <a:xfrm flipH="1">
              <a:off x="2298551" y="3613042"/>
              <a:ext cx="648832" cy="37920"/>
            </a:xfrm>
            <a:custGeom>
              <a:avLst/>
              <a:gdLst/>
              <a:ahLst/>
              <a:cxnLst/>
              <a:rect l="l" t="t" r="r" b="b"/>
              <a:pathLst>
                <a:path w="45207" h="2642" extrusionOk="0">
                  <a:moveTo>
                    <a:pt x="2184" y="1"/>
                  </a:moveTo>
                  <a:cubicBezTo>
                    <a:pt x="952" y="1"/>
                    <a:pt x="1" y="987"/>
                    <a:pt x="1" y="2184"/>
                  </a:cubicBezTo>
                  <a:cubicBezTo>
                    <a:pt x="1" y="2325"/>
                    <a:pt x="1" y="2501"/>
                    <a:pt x="36" y="2641"/>
                  </a:cubicBezTo>
                  <a:lnTo>
                    <a:pt x="45171" y="2641"/>
                  </a:lnTo>
                  <a:cubicBezTo>
                    <a:pt x="45171" y="2501"/>
                    <a:pt x="45206" y="2325"/>
                    <a:pt x="45206" y="2184"/>
                  </a:cubicBezTo>
                  <a:cubicBezTo>
                    <a:pt x="45206" y="987"/>
                    <a:pt x="44220" y="1"/>
                    <a:pt x="4298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453;p48">
              <a:extLst>
                <a:ext uri="{FF2B5EF4-FFF2-40B4-BE49-F238E27FC236}">
                  <a16:creationId xmlns:a16="http://schemas.microsoft.com/office/drawing/2014/main" id="{D9A2F348-350B-4AC7-80D9-BFEB17023D29}"/>
                </a:ext>
              </a:extLst>
            </p:cNvPr>
            <p:cNvSpPr/>
            <p:nvPr/>
          </p:nvSpPr>
          <p:spPr>
            <a:xfrm flipH="1">
              <a:off x="2935243" y="3410898"/>
              <a:ext cx="18701" cy="416886"/>
            </a:xfrm>
            <a:custGeom>
              <a:avLst/>
              <a:gdLst/>
              <a:ahLst/>
              <a:cxnLst/>
              <a:rect l="l" t="t" r="r" b="b"/>
              <a:pathLst>
                <a:path w="1303" h="29046" extrusionOk="0">
                  <a:moveTo>
                    <a:pt x="0" y="0"/>
                  </a:moveTo>
                  <a:lnTo>
                    <a:pt x="0"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54;p48">
              <a:extLst>
                <a:ext uri="{FF2B5EF4-FFF2-40B4-BE49-F238E27FC236}">
                  <a16:creationId xmlns:a16="http://schemas.microsoft.com/office/drawing/2014/main" id="{A11F68F2-5907-4777-94DD-B1A33966C7B3}"/>
                </a:ext>
              </a:extLst>
            </p:cNvPr>
            <p:cNvSpPr/>
            <p:nvPr/>
          </p:nvSpPr>
          <p:spPr>
            <a:xfrm flipH="1">
              <a:off x="2894806" y="3410898"/>
              <a:ext cx="19218" cy="416886"/>
            </a:xfrm>
            <a:custGeom>
              <a:avLst/>
              <a:gdLst/>
              <a:ahLst/>
              <a:cxnLst/>
              <a:rect l="l" t="t" r="r" b="b"/>
              <a:pathLst>
                <a:path w="1339" h="29046" extrusionOk="0">
                  <a:moveTo>
                    <a:pt x="1" y="0"/>
                  </a:moveTo>
                  <a:lnTo>
                    <a:pt x="1" y="29046"/>
                  </a:lnTo>
                  <a:lnTo>
                    <a:pt x="1338" y="29046"/>
                  </a:lnTo>
                  <a:lnTo>
                    <a:pt x="13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455;p48">
              <a:extLst>
                <a:ext uri="{FF2B5EF4-FFF2-40B4-BE49-F238E27FC236}">
                  <a16:creationId xmlns:a16="http://schemas.microsoft.com/office/drawing/2014/main" id="{0B34C5D1-A1D1-4862-B6FA-66A50A19A4EF}"/>
                </a:ext>
              </a:extLst>
            </p:cNvPr>
            <p:cNvSpPr/>
            <p:nvPr/>
          </p:nvSpPr>
          <p:spPr>
            <a:xfrm flipH="1">
              <a:off x="2787664" y="3410898"/>
              <a:ext cx="18716" cy="416886"/>
            </a:xfrm>
            <a:custGeom>
              <a:avLst/>
              <a:gdLst/>
              <a:ahLst/>
              <a:cxnLst/>
              <a:rect l="l" t="t" r="r" b="b"/>
              <a:pathLst>
                <a:path w="1304" h="29046" extrusionOk="0">
                  <a:moveTo>
                    <a:pt x="1" y="0"/>
                  </a:moveTo>
                  <a:lnTo>
                    <a:pt x="1"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456;p48">
              <a:extLst>
                <a:ext uri="{FF2B5EF4-FFF2-40B4-BE49-F238E27FC236}">
                  <a16:creationId xmlns:a16="http://schemas.microsoft.com/office/drawing/2014/main" id="{8C2365D5-52A9-4E15-B219-D374288CAE4D}"/>
                </a:ext>
              </a:extLst>
            </p:cNvPr>
            <p:cNvSpPr/>
            <p:nvPr/>
          </p:nvSpPr>
          <p:spPr>
            <a:xfrm flipH="1">
              <a:off x="2687653" y="3818230"/>
              <a:ext cx="405773" cy="836800"/>
            </a:xfrm>
            <a:custGeom>
              <a:avLst/>
              <a:gdLst/>
              <a:ahLst/>
              <a:cxnLst/>
              <a:rect l="l" t="t" r="r" b="b"/>
              <a:pathLst>
                <a:path w="28272" h="58303" extrusionOk="0">
                  <a:moveTo>
                    <a:pt x="704" y="1"/>
                  </a:moveTo>
                  <a:lnTo>
                    <a:pt x="0" y="58303"/>
                  </a:lnTo>
                  <a:lnTo>
                    <a:pt x="28271" y="58303"/>
                  </a:lnTo>
                  <a:lnTo>
                    <a:pt x="28271" y="12816"/>
                  </a:lnTo>
                  <a:cubicBezTo>
                    <a:pt x="28236" y="5704"/>
                    <a:pt x="23589" y="1"/>
                    <a:pt x="1785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57;p48">
              <a:extLst>
                <a:ext uri="{FF2B5EF4-FFF2-40B4-BE49-F238E27FC236}">
                  <a16:creationId xmlns:a16="http://schemas.microsoft.com/office/drawing/2014/main" id="{44CEFA06-AA6D-41CD-ACE1-190AA044AFEC}"/>
                </a:ext>
              </a:extLst>
            </p:cNvPr>
            <p:cNvSpPr/>
            <p:nvPr/>
          </p:nvSpPr>
          <p:spPr>
            <a:xfrm flipH="1">
              <a:off x="2716457" y="3874831"/>
              <a:ext cx="367869" cy="19218"/>
            </a:xfrm>
            <a:custGeom>
              <a:avLst/>
              <a:gdLst/>
              <a:ahLst/>
              <a:cxnLst/>
              <a:rect l="l" t="t" r="r" b="b"/>
              <a:pathLst>
                <a:path w="25631" h="1339" extrusionOk="0">
                  <a:moveTo>
                    <a:pt x="0" y="1"/>
                  </a:moveTo>
                  <a:lnTo>
                    <a:pt x="0" y="1339"/>
                  </a:lnTo>
                  <a:lnTo>
                    <a:pt x="25630" y="1339"/>
                  </a:lnTo>
                  <a:cubicBezTo>
                    <a:pt x="25384" y="881"/>
                    <a:pt x="25067" y="423"/>
                    <a:pt x="247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58;p48">
              <a:extLst>
                <a:ext uri="{FF2B5EF4-FFF2-40B4-BE49-F238E27FC236}">
                  <a16:creationId xmlns:a16="http://schemas.microsoft.com/office/drawing/2014/main" id="{2EBBC406-BBBD-41DC-A51C-B6B2BDB5B035}"/>
                </a:ext>
              </a:extLst>
            </p:cNvPr>
            <p:cNvSpPr/>
            <p:nvPr/>
          </p:nvSpPr>
          <p:spPr>
            <a:xfrm flipH="1">
              <a:off x="3020147" y="3818230"/>
              <a:ext cx="102089" cy="836800"/>
            </a:xfrm>
            <a:custGeom>
              <a:avLst/>
              <a:gdLst/>
              <a:ahLst/>
              <a:cxnLst/>
              <a:rect l="l" t="t" r="r" b="b"/>
              <a:pathLst>
                <a:path w="7113" h="58303" extrusionOk="0">
                  <a:moveTo>
                    <a:pt x="1" y="1"/>
                  </a:moveTo>
                  <a:lnTo>
                    <a:pt x="1" y="58303"/>
                  </a:lnTo>
                  <a:lnTo>
                    <a:pt x="7112" y="58303"/>
                  </a:lnTo>
                  <a:lnTo>
                    <a:pt x="7112" y="5493"/>
                  </a:lnTo>
                  <a:cubicBezTo>
                    <a:pt x="7112" y="2465"/>
                    <a:pt x="5141" y="1"/>
                    <a:pt x="267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59;p48">
              <a:extLst>
                <a:ext uri="{FF2B5EF4-FFF2-40B4-BE49-F238E27FC236}">
                  <a16:creationId xmlns:a16="http://schemas.microsoft.com/office/drawing/2014/main" id="{19F2E9E7-AE02-4DA0-9427-84200FF5C391}"/>
                </a:ext>
              </a:extLst>
            </p:cNvPr>
            <p:cNvSpPr/>
            <p:nvPr/>
          </p:nvSpPr>
          <p:spPr>
            <a:xfrm flipH="1">
              <a:off x="2748274" y="4119954"/>
              <a:ext cx="214268" cy="212749"/>
            </a:xfrm>
            <a:custGeom>
              <a:avLst/>
              <a:gdLst/>
              <a:ahLst/>
              <a:cxnLst/>
              <a:rect l="l" t="t" r="r" b="b"/>
              <a:pathLst>
                <a:path w="14929" h="14823" extrusionOk="0">
                  <a:moveTo>
                    <a:pt x="2571" y="0"/>
                  </a:moveTo>
                  <a:cubicBezTo>
                    <a:pt x="1163" y="0"/>
                    <a:pt x="1" y="1127"/>
                    <a:pt x="1" y="2535"/>
                  </a:cubicBezTo>
                  <a:lnTo>
                    <a:pt x="1" y="12252"/>
                  </a:lnTo>
                  <a:cubicBezTo>
                    <a:pt x="1" y="13696"/>
                    <a:pt x="1163" y="14822"/>
                    <a:pt x="2571" y="14822"/>
                  </a:cubicBezTo>
                  <a:lnTo>
                    <a:pt x="12323" y="14822"/>
                  </a:lnTo>
                  <a:cubicBezTo>
                    <a:pt x="13731" y="14822"/>
                    <a:pt x="14893" y="13696"/>
                    <a:pt x="14893" y="12252"/>
                  </a:cubicBezTo>
                  <a:lnTo>
                    <a:pt x="14928" y="2535"/>
                  </a:lnTo>
                  <a:cubicBezTo>
                    <a:pt x="14928" y="1127"/>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460;p48">
              <a:extLst>
                <a:ext uri="{FF2B5EF4-FFF2-40B4-BE49-F238E27FC236}">
                  <a16:creationId xmlns:a16="http://schemas.microsoft.com/office/drawing/2014/main" id="{7008FAF8-44AD-4E91-A5C6-CC42E031BF13}"/>
                </a:ext>
              </a:extLst>
            </p:cNvPr>
            <p:cNvSpPr/>
            <p:nvPr/>
          </p:nvSpPr>
          <p:spPr>
            <a:xfrm flipH="1">
              <a:off x="2748274" y="4360009"/>
              <a:ext cx="214268" cy="213251"/>
            </a:xfrm>
            <a:custGeom>
              <a:avLst/>
              <a:gdLst/>
              <a:ahLst/>
              <a:cxnLst/>
              <a:rect l="l" t="t" r="r" b="b"/>
              <a:pathLst>
                <a:path w="14929" h="14858" extrusionOk="0">
                  <a:moveTo>
                    <a:pt x="2571" y="0"/>
                  </a:moveTo>
                  <a:cubicBezTo>
                    <a:pt x="1163" y="0"/>
                    <a:pt x="1" y="1162"/>
                    <a:pt x="1" y="2570"/>
                  </a:cubicBezTo>
                  <a:lnTo>
                    <a:pt x="1" y="12287"/>
                  </a:lnTo>
                  <a:cubicBezTo>
                    <a:pt x="1" y="13696"/>
                    <a:pt x="1163" y="14858"/>
                    <a:pt x="2571" y="14858"/>
                  </a:cubicBezTo>
                  <a:lnTo>
                    <a:pt x="12323" y="14858"/>
                  </a:lnTo>
                  <a:cubicBezTo>
                    <a:pt x="13731" y="14858"/>
                    <a:pt x="14893" y="13696"/>
                    <a:pt x="14893" y="12287"/>
                  </a:cubicBezTo>
                  <a:lnTo>
                    <a:pt x="14928" y="2570"/>
                  </a:lnTo>
                  <a:cubicBezTo>
                    <a:pt x="14928" y="1162"/>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461;p48">
              <a:extLst>
                <a:ext uri="{FF2B5EF4-FFF2-40B4-BE49-F238E27FC236}">
                  <a16:creationId xmlns:a16="http://schemas.microsoft.com/office/drawing/2014/main" id="{84252A80-8726-4A11-BA87-CEA23B083B39}"/>
                </a:ext>
              </a:extLst>
            </p:cNvPr>
            <p:cNvSpPr/>
            <p:nvPr/>
          </p:nvSpPr>
          <p:spPr>
            <a:xfrm flipH="1">
              <a:off x="2715438" y="3947610"/>
              <a:ext cx="267818" cy="24270"/>
            </a:xfrm>
            <a:custGeom>
              <a:avLst/>
              <a:gdLst/>
              <a:ahLst/>
              <a:cxnLst/>
              <a:rect l="l" t="t" r="r" b="b"/>
              <a:pathLst>
                <a:path w="18660" h="1691" extrusionOk="0">
                  <a:moveTo>
                    <a:pt x="845" y="1"/>
                  </a:moveTo>
                  <a:cubicBezTo>
                    <a:pt x="352" y="1"/>
                    <a:pt x="0" y="388"/>
                    <a:pt x="0" y="846"/>
                  </a:cubicBezTo>
                  <a:cubicBezTo>
                    <a:pt x="0" y="1303"/>
                    <a:pt x="352" y="1691"/>
                    <a:pt x="845" y="1691"/>
                  </a:cubicBezTo>
                  <a:lnTo>
                    <a:pt x="17780" y="1691"/>
                  </a:lnTo>
                  <a:cubicBezTo>
                    <a:pt x="18273" y="1691"/>
                    <a:pt x="18660" y="1303"/>
                    <a:pt x="18660" y="846"/>
                  </a:cubicBezTo>
                  <a:cubicBezTo>
                    <a:pt x="18660" y="388"/>
                    <a:pt x="18273" y="1"/>
                    <a:pt x="177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462;p48">
              <a:extLst>
                <a:ext uri="{FF2B5EF4-FFF2-40B4-BE49-F238E27FC236}">
                  <a16:creationId xmlns:a16="http://schemas.microsoft.com/office/drawing/2014/main" id="{21F314C9-B7C3-45ED-9399-E220A992E182}"/>
                </a:ext>
              </a:extLst>
            </p:cNvPr>
            <p:cNvSpPr/>
            <p:nvPr/>
          </p:nvSpPr>
          <p:spPr>
            <a:xfrm flipH="1">
              <a:off x="2715438" y="4012809"/>
              <a:ext cx="267818" cy="24270"/>
            </a:xfrm>
            <a:custGeom>
              <a:avLst/>
              <a:gdLst/>
              <a:ahLst/>
              <a:cxnLst/>
              <a:rect l="l" t="t" r="r" b="b"/>
              <a:pathLst>
                <a:path w="18660" h="1691" extrusionOk="0">
                  <a:moveTo>
                    <a:pt x="845" y="0"/>
                  </a:moveTo>
                  <a:cubicBezTo>
                    <a:pt x="352" y="0"/>
                    <a:pt x="0" y="388"/>
                    <a:pt x="0" y="845"/>
                  </a:cubicBezTo>
                  <a:cubicBezTo>
                    <a:pt x="0" y="1338"/>
                    <a:pt x="352" y="1690"/>
                    <a:pt x="845" y="1690"/>
                  </a:cubicBezTo>
                  <a:lnTo>
                    <a:pt x="17780" y="1690"/>
                  </a:lnTo>
                  <a:cubicBezTo>
                    <a:pt x="18273" y="1690"/>
                    <a:pt x="18660" y="1338"/>
                    <a:pt x="18660" y="845"/>
                  </a:cubicBezTo>
                  <a:cubicBezTo>
                    <a:pt x="18660" y="388"/>
                    <a:pt x="18273" y="0"/>
                    <a:pt x="177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463;p48">
              <a:extLst>
                <a:ext uri="{FF2B5EF4-FFF2-40B4-BE49-F238E27FC236}">
                  <a16:creationId xmlns:a16="http://schemas.microsoft.com/office/drawing/2014/main" id="{79218773-8BA8-4C2E-9AEA-9A4AAE8D5DBA}"/>
                </a:ext>
              </a:extLst>
            </p:cNvPr>
            <p:cNvSpPr/>
            <p:nvPr/>
          </p:nvSpPr>
          <p:spPr>
            <a:xfrm flipH="1">
              <a:off x="2775555" y="4143696"/>
              <a:ext cx="169288" cy="166260"/>
            </a:xfrm>
            <a:custGeom>
              <a:avLst/>
              <a:gdLst/>
              <a:ahLst/>
              <a:cxnLst/>
              <a:rect l="l" t="t" r="r" b="b"/>
              <a:pathLst>
                <a:path w="11795" h="11584" extrusionOk="0">
                  <a:moveTo>
                    <a:pt x="5880" y="423"/>
                  </a:moveTo>
                  <a:cubicBezTo>
                    <a:pt x="8696" y="423"/>
                    <a:pt x="10984" y="2677"/>
                    <a:pt x="11266" y="5810"/>
                  </a:cubicBezTo>
                  <a:cubicBezTo>
                    <a:pt x="11372" y="7077"/>
                    <a:pt x="10949" y="8345"/>
                    <a:pt x="10069" y="9295"/>
                  </a:cubicBezTo>
                  <a:cubicBezTo>
                    <a:pt x="8978" y="10457"/>
                    <a:pt x="7464" y="11126"/>
                    <a:pt x="5880" y="11126"/>
                  </a:cubicBezTo>
                  <a:lnTo>
                    <a:pt x="5739" y="11126"/>
                  </a:lnTo>
                  <a:cubicBezTo>
                    <a:pt x="2817" y="11126"/>
                    <a:pt x="458" y="8732"/>
                    <a:pt x="458" y="5775"/>
                  </a:cubicBezTo>
                  <a:cubicBezTo>
                    <a:pt x="493" y="2817"/>
                    <a:pt x="2887" y="423"/>
                    <a:pt x="5880" y="423"/>
                  </a:cubicBezTo>
                  <a:close/>
                  <a:moveTo>
                    <a:pt x="5780" y="1"/>
                  </a:moveTo>
                  <a:cubicBezTo>
                    <a:pt x="2606" y="1"/>
                    <a:pt x="35" y="2592"/>
                    <a:pt x="35" y="5775"/>
                  </a:cubicBezTo>
                  <a:cubicBezTo>
                    <a:pt x="0" y="8979"/>
                    <a:pt x="2570" y="11549"/>
                    <a:pt x="5739" y="11584"/>
                  </a:cubicBezTo>
                  <a:lnTo>
                    <a:pt x="5844" y="11584"/>
                  </a:lnTo>
                  <a:cubicBezTo>
                    <a:pt x="7569" y="11549"/>
                    <a:pt x="9224" y="10845"/>
                    <a:pt x="10386" y="9577"/>
                  </a:cubicBezTo>
                  <a:cubicBezTo>
                    <a:pt x="11337" y="8556"/>
                    <a:pt x="11794" y="7148"/>
                    <a:pt x="11689" y="5775"/>
                  </a:cubicBezTo>
                  <a:cubicBezTo>
                    <a:pt x="11372" y="2430"/>
                    <a:pt x="8942" y="1"/>
                    <a:pt x="5844" y="1"/>
                  </a:cubicBezTo>
                  <a:cubicBezTo>
                    <a:pt x="5823" y="1"/>
                    <a:pt x="5802" y="1"/>
                    <a:pt x="578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464;p48">
              <a:extLst>
                <a:ext uri="{FF2B5EF4-FFF2-40B4-BE49-F238E27FC236}">
                  <a16:creationId xmlns:a16="http://schemas.microsoft.com/office/drawing/2014/main" id="{B08BB94F-232C-4AAA-8E68-0C7C1C10058D}"/>
                </a:ext>
              </a:extLst>
            </p:cNvPr>
            <p:cNvSpPr/>
            <p:nvPr/>
          </p:nvSpPr>
          <p:spPr>
            <a:xfrm flipH="1">
              <a:off x="2777081" y="4386495"/>
              <a:ext cx="194548" cy="166562"/>
            </a:xfrm>
            <a:custGeom>
              <a:avLst/>
              <a:gdLst/>
              <a:ahLst/>
              <a:cxnLst/>
              <a:rect l="l" t="t" r="r" b="b"/>
              <a:pathLst>
                <a:path w="13555" h="11605" extrusionOk="0">
                  <a:moveTo>
                    <a:pt x="7746" y="444"/>
                  </a:moveTo>
                  <a:cubicBezTo>
                    <a:pt x="10703" y="444"/>
                    <a:pt x="13097" y="2838"/>
                    <a:pt x="13132" y="5830"/>
                  </a:cubicBezTo>
                  <a:cubicBezTo>
                    <a:pt x="13108" y="9045"/>
                    <a:pt x="10476" y="11180"/>
                    <a:pt x="7728" y="11180"/>
                  </a:cubicBezTo>
                  <a:cubicBezTo>
                    <a:pt x="6413" y="11180"/>
                    <a:pt x="5072" y="10691"/>
                    <a:pt x="3978" y="9597"/>
                  </a:cubicBezTo>
                  <a:cubicBezTo>
                    <a:pt x="599" y="6253"/>
                    <a:pt x="2957" y="479"/>
                    <a:pt x="7746" y="444"/>
                  </a:cubicBezTo>
                  <a:close/>
                  <a:moveTo>
                    <a:pt x="7716" y="0"/>
                  </a:moveTo>
                  <a:cubicBezTo>
                    <a:pt x="6294" y="0"/>
                    <a:pt x="4844" y="529"/>
                    <a:pt x="3662" y="1711"/>
                  </a:cubicBezTo>
                  <a:cubicBezTo>
                    <a:pt x="0" y="5337"/>
                    <a:pt x="2570" y="11569"/>
                    <a:pt x="7746" y="11604"/>
                  </a:cubicBezTo>
                  <a:cubicBezTo>
                    <a:pt x="10949" y="11604"/>
                    <a:pt x="13555" y="9034"/>
                    <a:pt x="13555" y="5830"/>
                  </a:cubicBezTo>
                  <a:cubicBezTo>
                    <a:pt x="13555" y="2326"/>
                    <a:pt x="10698" y="0"/>
                    <a:pt x="771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465;p48">
              <a:extLst>
                <a:ext uri="{FF2B5EF4-FFF2-40B4-BE49-F238E27FC236}">
                  <a16:creationId xmlns:a16="http://schemas.microsoft.com/office/drawing/2014/main" id="{AE2A5824-9377-442A-8EB1-6FCA4E02EF46}"/>
                </a:ext>
              </a:extLst>
            </p:cNvPr>
            <p:cNvSpPr/>
            <p:nvPr/>
          </p:nvSpPr>
          <p:spPr>
            <a:xfrm flipH="1">
              <a:off x="1394418" y="3669586"/>
              <a:ext cx="435857" cy="929347"/>
            </a:xfrm>
            <a:custGeom>
              <a:avLst/>
              <a:gdLst/>
              <a:ahLst/>
              <a:cxnLst/>
              <a:rect l="l" t="t" r="r" b="b"/>
              <a:pathLst>
                <a:path w="30368" h="64751" extrusionOk="0">
                  <a:moveTo>
                    <a:pt x="799" y="1"/>
                  </a:moveTo>
                  <a:cubicBezTo>
                    <a:pt x="404" y="1"/>
                    <a:pt x="0" y="316"/>
                    <a:pt x="125" y="815"/>
                  </a:cubicBezTo>
                  <a:lnTo>
                    <a:pt x="14842" y="61053"/>
                  </a:lnTo>
                  <a:cubicBezTo>
                    <a:pt x="15194" y="62426"/>
                    <a:pt x="16320" y="63447"/>
                    <a:pt x="17764" y="63623"/>
                  </a:cubicBezTo>
                  <a:lnTo>
                    <a:pt x="26460" y="64750"/>
                  </a:lnTo>
                  <a:lnTo>
                    <a:pt x="26917" y="64750"/>
                  </a:lnTo>
                  <a:cubicBezTo>
                    <a:pt x="27762" y="64750"/>
                    <a:pt x="28572" y="64433"/>
                    <a:pt x="29206" y="63870"/>
                  </a:cubicBezTo>
                  <a:cubicBezTo>
                    <a:pt x="29945" y="63236"/>
                    <a:pt x="30368" y="62286"/>
                    <a:pt x="30368" y="61300"/>
                  </a:cubicBezTo>
                  <a:lnTo>
                    <a:pt x="29488" y="1977"/>
                  </a:lnTo>
                  <a:cubicBezTo>
                    <a:pt x="29488" y="1625"/>
                    <a:pt x="29206" y="1308"/>
                    <a:pt x="28854" y="1308"/>
                  </a:cubicBezTo>
                  <a:cubicBezTo>
                    <a:pt x="28467" y="1343"/>
                    <a:pt x="28185" y="1625"/>
                    <a:pt x="28185" y="1977"/>
                  </a:cubicBezTo>
                  <a:lnTo>
                    <a:pt x="29030" y="61335"/>
                  </a:lnTo>
                  <a:cubicBezTo>
                    <a:pt x="29030" y="61934"/>
                    <a:pt x="28783" y="62497"/>
                    <a:pt x="28361" y="62884"/>
                  </a:cubicBezTo>
                  <a:cubicBezTo>
                    <a:pt x="27953" y="63234"/>
                    <a:pt x="27472" y="63439"/>
                    <a:pt x="26958" y="63439"/>
                  </a:cubicBezTo>
                  <a:cubicBezTo>
                    <a:pt x="26852" y="63439"/>
                    <a:pt x="26745" y="63430"/>
                    <a:pt x="26636" y="63412"/>
                  </a:cubicBezTo>
                  <a:lnTo>
                    <a:pt x="17905" y="62321"/>
                  </a:lnTo>
                  <a:cubicBezTo>
                    <a:pt x="17060" y="62215"/>
                    <a:pt x="16320" y="61581"/>
                    <a:pt x="16109" y="60737"/>
                  </a:cubicBezTo>
                  <a:lnTo>
                    <a:pt x="1428" y="498"/>
                  </a:lnTo>
                  <a:cubicBezTo>
                    <a:pt x="1341" y="152"/>
                    <a:pt x="1072" y="1"/>
                    <a:pt x="79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466;p48">
              <a:extLst>
                <a:ext uri="{FF2B5EF4-FFF2-40B4-BE49-F238E27FC236}">
                  <a16:creationId xmlns:a16="http://schemas.microsoft.com/office/drawing/2014/main" id="{494BA949-8E9C-4592-963E-A69923533D70}"/>
                </a:ext>
              </a:extLst>
            </p:cNvPr>
            <p:cNvSpPr/>
            <p:nvPr/>
          </p:nvSpPr>
          <p:spPr>
            <a:xfrm flipH="1">
              <a:off x="1376939" y="3644881"/>
              <a:ext cx="1902966" cy="39944"/>
            </a:xfrm>
            <a:custGeom>
              <a:avLst/>
              <a:gdLst/>
              <a:ahLst/>
              <a:cxnLst/>
              <a:rect l="l" t="t" r="r" b="b"/>
              <a:pathLst>
                <a:path w="132588" h="2783" extrusionOk="0">
                  <a:moveTo>
                    <a:pt x="0" y="1"/>
                  </a:moveTo>
                  <a:lnTo>
                    <a:pt x="0" y="2782"/>
                  </a:lnTo>
                  <a:lnTo>
                    <a:pt x="132588" y="2782"/>
                  </a:lnTo>
                  <a:lnTo>
                    <a:pt x="13258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467;p48">
              <a:extLst>
                <a:ext uri="{FF2B5EF4-FFF2-40B4-BE49-F238E27FC236}">
                  <a16:creationId xmlns:a16="http://schemas.microsoft.com/office/drawing/2014/main" id="{E54C31AA-617C-43ED-8F34-A55E83A61B7A}"/>
                </a:ext>
              </a:extLst>
            </p:cNvPr>
            <p:cNvSpPr/>
            <p:nvPr/>
          </p:nvSpPr>
          <p:spPr>
            <a:xfrm flipH="1">
              <a:off x="1732070" y="3607487"/>
              <a:ext cx="884788" cy="37920"/>
            </a:xfrm>
            <a:custGeom>
              <a:avLst/>
              <a:gdLst/>
              <a:ahLst/>
              <a:cxnLst/>
              <a:rect l="l" t="t" r="r" b="b"/>
              <a:pathLst>
                <a:path w="61647" h="2642" extrusionOk="0">
                  <a:moveTo>
                    <a:pt x="0" y="1"/>
                  </a:moveTo>
                  <a:lnTo>
                    <a:pt x="0" y="2641"/>
                  </a:lnTo>
                  <a:lnTo>
                    <a:pt x="61647" y="2641"/>
                  </a:lnTo>
                  <a:lnTo>
                    <a:pt x="6164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468;p48">
              <a:extLst>
                <a:ext uri="{FF2B5EF4-FFF2-40B4-BE49-F238E27FC236}">
                  <a16:creationId xmlns:a16="http://schemas.microsoft.com/office/drawing/2014/main" id="{433BFC1C-8427-453E-85F4-FD1F8FA9F2B3}"/>
                </a:ext>
              </a:extLst>
            </p:cNvPr>
            <p:cNvSpPr/>
            <p:nvPr/>
          </p:nvSpPr>
          <p:spPr>
            <a:xfrm flipH="1">
              <a:off x="1732070" y="3607487"/>
              <a:ext cx="884788" cy="11138"/>
            </a:xfrm>
            <a:custGeom>
              <a:avLst/>
              <a:gdLst/>
              <a:ahLst/>
              <a:cxnLst/>
              <a:rect l="l" t="t" r="r" b="b"/>
              <a:pathLst>
                <a:path w="61647" h="776" extrusionOk="0">
                  <a:moveTo>
                    <a:pt x="0" y="1"/>
                  </a:moveTo>
                  <a:lnTo>
                    <a:pt x="0" y="775"/>
                  </a:lnTo>
                  <a:lnTo>
                    <a:pt x="61647" y="775"/>
                  </a:lnTo>
                  <a:lnTo>
                    <a:pt x="6164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469;p48">
              <a:extLst>
                <a:ext uri="{FF2B5EF4-FFF2-40B4-BE49-F238E27FC236}">
                  <a16:creationId xmlns:a16="http://schemas.microsoft.com/office/drawing/2014/main" id="{3FC9C5E2-0865-4390-917E-AE30013D33EB}"/>
                </a:ext>
              </a:extLst>
            </p:cNvPr>
            <p:cNvSpPr/>
            <p:nvPr/>
          </p:nvSpPr>
          <p:spPr>
            <a:xfrm flipH="1">
              <a:off x="2658528" y="3663328"/>
              <a:ext cx="607741" cy="1087197"/>
            </a:xfrm>
            <a:custGeom>
              <a:avLst/>
              <a:gdLst/>
              <a:ahLst/>
              <a:cxnLst/>
              <a:rect l="l" t="t" r="r" b="b"/>
              <a:pathLst>
                <a:path w="42344" h="75749" extrusionOk="0">
                  <a:moveTo>
                    <a:pt x="41508" y="1"/>
                  </a:moveTo>
                  <a:cubicBezTo>
                    <a:pt x="41267" y="1"/>
                    <a:pt x="41027" y="131"/>
                    <a:pt x="40911" y="441"/>
                  </a:cubicBezTo>
                  <a:lnTo>
                    <a:pt x="12886" y="72544"/>
                  </a:lnTo>
                  <a:cubicBezTo>
                    <a:pt x="12423" y="73728"/>
                    <a:pt x="11302" y="74422"/>
                    <a:pt x="10128" y="74422"/>
                  </a:cubicBezTo>
                  <a:cubicBezTo>
                    <a:pt x="9695" y="74422"/>
                    <a:pt x="9255" y="74328"/>
                    <a:pt x="8838" y="74129"/>
                  </a:cubicBezTo>
                  <a:lnTo>
                    <a:pt x="2500" y="71030"/>
                  </a:lnTo>
                  <a:cubicBezTo>
                    <a:pt x="1796" y="70714"/>
                    <a:pt x="1374" y="69974"/>
                    <a:pt x="1444" y="69200"/>
                  </a:cubicBezTo>
                  <a:lnTo>
                    <a:pt x="7922" y="1392"/>
                  </a:lnTo>
                  <a:cubicBezTo>
                    <a:pt x="7959" y="925"/>
                    <a:pt x="7611" y="676"/>
                    <a:pt x="7265" y="676"/>
                  </a:cubicBezTo>
                  <a:cubicBezTo>
                    <a:pt x="6958" y="676"/>
                    <a:pt x="6653" y="872"/>
                    <a:pt x="6619" y="1286"/>
                  </a:cubicBezTo>
                  <a:lnTo>
                    <a:pt x="141" y="69059"/>
                  </a:lnTo>
                  <a:cubicBezTo>
                    <a:pt x="1" y="70361"/>
                    <a:pt x="705" y="71629"/>
                    <a:pt x="1902" y="72227"/>
                  </a:cubicBezTo>
                  <a:lnTo>
                    <a:pt x="8204" y="75290"/>
                  </a:lnTo>
                  <a:cubicBezTo>
                    <a:pt x="8802" y="75572"/>
                    <a:pt x="9436" y="75748"/>
                    <a:pt x="10105" y="75748"/>
                  </a:cubicBezTo>
                  <a:cubicBezTo>
                    <a:pt x="10633" y="75748"/>
                    <a:pt x="11161" y="75642"/>
                    <a:pt x="11654" y="75431"/>
                  </a:cubicBezTo>
                  <a:cubicBezTo>
                    <a:pt x="12745" y="75009"/>
                    <a:pt x="13626" y="74129"/>
                    <a:pt x="14048" y="73037"/>
                  </a:cubicBezTo>
                  <a:lnTo>
                    <a:pt x="42143" y="899"/>
                  </a:lnTo>
                  <a:cubicBezTo>
                    <a:pt x="42343" y="386"/>
                    <a:pt x="41924" y="1"/>
                    <a:pt x="4150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470;p48">
              <a:extLst>
                <a:ext uri="{FF2B5EF4-FFF2-40B4-BE49-F238E27FC236}">
                  <a16:creationId xmlns:a16="http://schemas.microsoft.com/office/drawing/2014/main" id="{90D91142-8DD4-42C9-A258-57C93F573557}"/>
                </a:ext>
              </a:extLst>
            </p:cNvPr>
            <p:cNvSpPr/>
            <p:nvPr/>
          </p:nvSpPr>
          <p:spPr>
            <a:xfrm flipH="1">
              <a:off x="1376939" y="3668136"/>
              <a:ext cx="1902966" cy="39929"/>
            </a:xfrm>
            <a:custGeom>
              <a:avLst/>
              <a:gdLst/>
              <a:ahLst/>
              <a:cxnLst/>
              <a:rect l="l" t="t" r="r" b="b"/>
              <a:pathLst>
                <a:path w="132588" h="2782" extrusionOk="0">
                  <a:moveTo>
                    <a:pt x="0" y="0"/>
                  </a:moveTo>
                  <a:lnTo>
                    <a:pt x="0" y="2782"/>
                  </a:lnTo>
                  <a:lnTo>
                    <a:pt x="132588" y="2782"/>
                  </a:lnTo>
                  <a:lnTo>
                    <a:pt x="13258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471;p48">
              <a:extLst>
                <a:ext uri="{FF2B5EF4-FFF2-40B4-BE49-F238E27FC236}">
                  <a16:creationId xmlns:a16="http://schemas.microsoft.com/office/drawing/2014/main" id="{1BDCB84A-A466-44F8-93FE-5043D725C32F}"/>
                </a:ext>
              </a:extLst>
            </p:cNvPr>
            <p:cNvSpPr/>
            <p:nvPr/>
          </p:nvSpPr>
          <p:spPr>
            <a:xfrm flipH="1">
              <a:off x="2132867" y="2633614"/>
              <a:ext cx="1125822" cy="799915"/>
            </a:xfrm>
            <a:custGeom>
              <a:avLst/>
              <a:gdLst/>
              <a:ahLst/>
              <a:cxnLst/>
              <a:rect l="l" t="t" r="r" b="b"/>
              <a:pathLst>
                <a:path w="78441" h="55733" extrusionOk="0">
                  <a:moveTo>
                    <a:pt x="1" y="0"/>
                  </a:moveTo>
                  <a:lnTo>
                    <a:pt x="1" y="55733"/>
                  </a:lnTo>
                  <a:lnTo>
                    <a:pt x="78441" y="55733"/>
                  </a:lnTo>
                  <a:lnTo>
                    <a:pt x="78124" y="12041"/>
                  </a:lnTo>
                  <a:lnTo>
                    <a:pt x="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472;p48">
              <a:extLst>
                <a:ext uri="{FF2B5EF4-FFF2-40B4-BE49-F238E27FC236}">
                  <a16:creationId xmlns:a16="http://schemas.microsoft.com/office/drawing/2014/main" id="{DB054960-48B8-4616-9AB2-F705F6B8B1D5}"/>
                </a:ext>
              </a:extLst>
            </p:cNvPr>
            <p:cNvSpPr/>
            <p:nvPr/>
          </p:nvSpPr>
          <p:spPr>
            <a:xfrm flipH="1">
              <a:off x="2132867" y="2855482"/>
              <a:ext cx="1125822" cy="578080"/>
            </a:xfrm>
            <a:custGeom>
              <a:avLst/>
              <a:gdLst/>
              <a:ahLst/>
              <a:cxnLst/>
              <a:rect l="l" t="t" r="r" b="b"/>
              <a:pathLst>
                <a:path w="78441" h="40277" extrusionOk="0">
                  <a:moveTo>
                    <a:pt x="1" y="0"/>
                  </a:moveTo>
                  <a:lnTo>
                    <a:pt x="1" y="40277"/>
                  </a:lnTo>
                  <a:lnTo>
                    <a:pt x="78441" y="40277"/>
                  </a:lnTo>
                  <a:lnTo>
                    <a:pt x="78300" y="19258"/>
                  </a:lnTo>
                  <a:cubicBezTo>
                    <a:pt x="73544" y="19995"/>
                    <a:pt x="68754" y="20347"/>
                    <a:pt x="63967" y="20347"/>
                  </a:cubicBezTo>
                  <a:cubicBezTo>
                    <a:pt x="41296" y="20347"/>
                    <a:pt x="18692" y="12442"/>
                    <a:pt x="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473;p48">
              <a:extLst>
                <a:ext uri="{FF2B5EF4-FFF2-40B4-BE49-F238E27FC236}">
                  <a16:creationId xmlns:a16="http://schemas.microsoft.com/office/drawing/2014/main" id="{B57C1A7C-00C6-45F1-B9EC-984B50974F85}"/>
                </a:ext>
              </a:extLst>
            </p:cNvPr>
            <p:cNvSpPr/>
            <p:nvPr/>
          </p:nvSpPr>
          <p:spPr>
            <a:xfrm flipH="1">
              <a:off x="2136797" y="2632594"/>
              <a:ext cx="1121775" cy="205688"/>
            </a:xfrm>
            <a:custGeom>
              <a:avLst/>
              <a:gdLst/>
              <a:ahLst/>
              <a:cxnLst/>
              <a:rect l="l" t="t" r="r" b="b"/>
              <a:pathLst>
                <a:path w="78159" h="14331" extrusionOk="0">
                  <a:moveTo>
                    <a:pt x="0" y="1"/>
                  </a:moveTo>
                  <a:lnTo>
                    <a:pt x="0" y="4437"/>
                  </a:lnTo>
                  <a:lnTo>
                    <a:pt x="78159" y="14330"/>
                  </a:lnTo>
                  <a:lnTo>
                    <a:pt x="78159" y="12042"/>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474;p48">
              <a:extLst>
                <a:ext uri="{FF2B5EF4-FFF2-40B4-BE49-F238E27FC236}">
                  <a16:creationId xmlns:a16="http://schemas.microsoft.com/office/drawing/2014/main" id="{2232254A-6A08-43A9-964B-88F8159B84AA}"/>
                </a:ext>
              </a:extLst>
            </p:cNvPr>
            <p:cNvSpPr/>
            <p:nvPr/>
          </p:nvSpPr>
          <p:spPr>
            <a:xfrm flipH="1">
              <a:off x="2132748" y="3353780"/>
              <a:ext cx="1125822" cy="78853"/>
            </a:xfrm>
            <a:custGeom>
              <a:avLst/>
              <a:gdLst/>
              <a:ahLst/>
              <a:cxnLst/>
              <a:rect l="l" t="t" r="r" b="b"/>
              <a:pathLst>
                <a:path w="78441" h="5494" extrusionOk="0">
                  <a:moveTo>
                    <a:pt x="0" y="1"/>
                  </a:moveTo>
                  <a:lnTo>
                    <a:pt x="0" y="5493"/>
                  </a:lnTo>
                  <a:lnTo>
                    <a:pt x="78440" y="5493"/>
                  </a:lnTo>
                  <a:lnTo>
                    <a:pt x="78440" y="2078"/>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475;p48">
              <a:extLst>
                <a:ext uri="{FF2B5EF4-FFF2-40B4-BE49-F238E27FC236}">
                  <a16:creationId xmlns:a16="http://schemas.microsoft.com/office/drawing/2014/main" id="{6E719AD0-877F-4BFF-B78B-EF7F9E1D8376}"/>
                </a:ext>
              </a:extLst>
            </p:cNvPr>
            <p:cNvSpPr/>
            <p:nvPr/>
          </p:nvSpPr>
          <p:spPr>
            <a:xfrm flipH="1">
              <a:off x="2235927" y="3248157"/>
              <a:ext cx="882262" cy="57625"/>
            </a:xfrm>
            <a:custGeom>
              <a:avLst/>
              <a:gdLst/>
              <a:ahLst/>
              <a:cxnLst/>
              <a:rect l="l" t="t" r="r" b="b"/>
              <a:pathLst>
                <a:path w="61471" h="4015" extrusionOk="0">
                  <a:moveTo>
                    <a:pt x="423" y="1"/>
                  </a:moveTo>
                  <a:cubicBezTo>
                    <a:pt x="176" y="1"/>
                    <a:pt x="0" y="212"/>
                    <a:pt x="0" y="458"/>
                  </a:cubicBezTo>
                  <a:cubicBezTo>
                    <a:pt x="0" y="705"/>
                    <a:pt x="176" y="916"/>
                    <a:pt x="423" y="951"/>
                  </a:cubicBezTo>
                  <a:lnTo>
                    <a:pt x="61013" y="4014"/>
                  </a:lnTo>
                  <a:cubicBezTo>
                    <a:pt x="61260" y="4014"/>
                    <a:pt x="61471" y="3838"/>
                    <a:pt x="61471" y="3592"/>
                  </a:cubicBezTo>
                  <a:cubicBezTo>
                    <a:pt x="61471" y="3345"/>
                    <a:pt x="61260" y="3134"/>
                    <a:pt x="61013" y="3099"/>
                  </a:cubicBezTo>
                  <a:lnTo>
                    <a:pt x="42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476;p48">
              <a:extLst>
                <a:ext uri="{FF2B5EF4-FFF2-40B4-BE49-F238E27FC236}">
                  <a16:creationId xmlns:a16="http://schemas.microsoft.com/office/drawing/2014/main" id="{BE8EACD2-BA80-4F6F-B423-2895EB2CC50D}"/>
                </a:ext>
              </a:extLst>
            </p:cNvPr>
            <p:cNvSpPr/>
            <p:nvPr/>
          </p:nvSpPr>
          <p:spPr>
            <a:xfrm flipH="1">
              <a:off x="2340016" y="2796526"/>
              <a:ext cx="808504" cy="448548"/>
            </a:xfrm>
            <a:custGeom>
              <a:avLst/>
              <a:gdLst/>
              <a:ahLst/>
              <a:cxnLst/>
              <a:rect l="l" t="t" r="r" b="b"/>
              <a:pathLst>
                <a:path w="56332" h="31252" extrusionOk="0">
                  <a:moveTo>
                    <a:pt x="27275" y="0"/>
                  </a:moveTo>
                  <a:cubicBezTo>
                    <a:pt x="26639" y="0"/>
                    <a:pt x="25973" y="223"/>
                    <a:pt x="25349" y="446"/>
                  </a:cubicBezTo>
                  <a:cubicBezTo>
                    <a:pt x="16724" y="3579"/>
                    <a:pt x="7746" y="7064"/>
                    <a:pt x="1515" y="14704"/>
                  </a:cubicBezTo>
                  <a:cubicBezTo>
                    <a:pt x="775" y="15655"/>
                    <a:pt x="1" y="16746"/>
                    <a:pt x="1" y="18014"/>
                  </a:cubicBezTo>
                  <a:cubicBezTo>
                    <a:pt x="1" y="19422"/>
                    <a:pt x="916" y="20619"/>
                    <a:pt x="1761" y="21640"/>
                  </a:cubicBezTo>
                  <a:lnTo>
                    <a:pt x="7465" y="28470"/>
                  </a:lnTo>
                  <a:lnTo>
                    <a:pt x="56331" y="31251"/>
                  </a:lnTo>
                  <a:cubicBezTo>
                    <a:pt x="55451" y="27449"/>
                    <a:pt x="52388" y="20865"/>
                    <a:pt x="49572" y="18894"/>
                  </a:cubicBezTo>
                  <a:cubicBezTo>
                    <a:pt x="48586" y="18190"/>
                    <a:pt x="47459" y="17732"/>
                    <a:pt x="46720" y="16746"/>
                  </a:cubicBezTo>
                  <a:cubicBezTo>
                    <a:pt x="45910" y="15584"/>
                    <a:pt x="45769" y="13965"/>
                    <a:pt x="45981" y="12486"/>
                  </a:cubicBezTo>
                  <a:cubicBezTo>
                    <a:pt x="46192" y="11043"/>
                    <a:pt x="46685" y="9635"/>
                    <a:pt x="46966" y="8191"/>
                  </a:cubicBezTo>
                  <a:cubicBezTo>
                    <a:pt x="47213" y="6924"/>
                    <a:pt x="47178" y="5304"/>
                    <a:pt x="46227" y="4670"/>
                  </a:cubicBezTo>
                  <a:cubicBezTo>
                    <a:pt x="45833" y="4445"/>
                    <a:pt x="45371" y="4332"/>
                    <a:pt x="44931" y="4332"/>
                  </a:cubicBezTo>
                  <a:cubicBezTo>
                    <a:pt x="44822" y="4332"/>
                    <a:pt x="44713" y="4339"/>
                    <a:pt x="44607" y="4354"/>
                  </a:cubicBezTo>
                  <a:cubicBezTo>
                    <a:pt x="41897" y="4530"/>
                    <a:pt x="39256" y="5128"/>
                    <a:pt x="36756" y="6114"/>
                  </a:cubicBezTo>
                  <a:cubicBezTo>
                    <a:pt x="35680" y="6536"/>
                    <a:pt x="34465" y="7009"/>
                    <a:pt x="33360" y="7009"/>
                  </a:cubicBezTo>
                  <a:cubicBezTo>
                    <a:pt x="32622" y="7009"/>
                    <a:pt x="31934" y="6798"/>
                    <a:pt x="31370" y="6220"/>
                  </a:cubicBezTo>
                  <a:cubicBezTo>
                    <a:pt x="29821" y="4670"/>
                    <a:pt x="30173" y="1291"/>
                    <a:pt x="28342" y="270"/>
                  </a:cubicBezTo>
                  <a:cubicBezTo>
                    <a:pt x="28006" y="75"/>
                    <a:pt x="27645" y="0"/>
                    <a:pt x="2727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477;p48">
              <a:extLst>
                <a:ext uri="{FF2B5EF4-FFF2-40B4-BE49-F238E27FC236}">
                  <a16:creationId xmlns:a16="http://schemas.microsoft.com/office/drawing/2014/main" id="{384835D4-A3C2-4545-B93D-DA9714F526E2}"/>
                </a:ext>
              </a:extLst>
            </p:cNvPr>
            <p:cNvSpPr/>
            <p:nvPr/>
          </p:nvSpPr>
          <p:spPr>
            <a:xfrm flipH="1">
              <a:off x="2421355" y="2895202"/>
              <a:ext cx="557866" cy="344835"/>
            </a:xfrm>
            <a:custGeom>
              <a:avLst/>
              <a:gdLst/>
              <a:ahLst/>
              <a:cxnLst/>
              <a:rect l="l" t="t" r="r" b="b"/>
              <a:pathLst>
                <a:path w="38869" h="24026" extrusionOk="0">
                  <a:moveTo>
                    <a:pt x="20374" y="1"/>
                  </a:moveTo>
                  <a:cubicBezTo>
                    <a:pt x="18122" y="1"/>
                    <a:pt x="15866" y="181"/>
                    <a:pt x="13626" y="543"/>
                  </a:cubicBezTo>
                  <a:lnTo>
                    <a:pt x="10704" y="3887"/>
                  </a:lnTo>
                  <a:lnTo>
                    <a:pt x="18132" y="4521"/>
                  </a:lnTo>
                  <a:cubicBezTo>
                    <a:pt x="18484" y="4521"/>
                    <a:pt x="18836" y="4627"/>
                    <a:pt x="19118" y="4838"/>
                  </a:cubicBezTo>
                  <a:cubicBezTo>
                    <a:pt x="19365" y="5190"/>
                    <a:pt x="19294" y="5648"/>
                    <a:pt x="18907" y="5894"/>
                  </a:cubicBezTo>
                  <a:cubicBezTo>
                    <a:pt x="18555" y="6140"/>
                    <a:pt x="18097" y="6281"/>
                    <a:pt x="17675" y="6352"/>
                  </a:cubicBezTo>
                  <a:cubicBezTo>
                    <a:pt x="12499" y="7443"/>
                    <a:pt x="7465" y="9203"/>
                    <a:pt x="2712" y="11492"/>
                  </a:cubicBezTo>
                  <a:cubicBezTo>
                    <a:pt x="2008" y="11773"/>
                    <a:pt x="1374" y="12196"/>
                    <a:pt x="811" y="12689"/>
                  </a:cubicBezTo>
                  <a:cubicBezTo>
                    <a:pt x="283" y="13147"/>
                    <a:pt x="1" y="13851"/>
                    <a:pt x="142" y="14555"/>
                  </a:cubicBezTo>
                  <a:cubicBezTo>
                    <a:pt x="353" y="15294"/>
                    <a:pt x="1092" y="15822"/>
                    <a:pt x="1902" y="16069"/>
                  </a:cubicBezTo>
                  <a:cubicBezTo>
                    <a:pt x="2606" y="16215"/>
                    <a:pt x="3310" y="16289"/>
                    <a:pt x="4035" y="16289"/>
                  </a:cubicBezTo>
                  <a:cubicBezTo>
                    <a:pt x="4180" y="16289"/>
                    <a:pt x="4326" y="16286"/>
                    <a:pt x="4472" y="16280"/>
                  </a:cubicBezTo>
                  <a:cubicBezTo>
                    <a:pt x="9233" y="16228"/>
                    <a:pt x="14011" y="16064"/>
                    <a:pt x="18781" y="16064"/>
                  </a:cubicBezTo>
                  <a:cubicBezTo>
                    <a:pt x="23676" y="16064"/>
                    <a:pt x="28562" y="16236"/>
                    <a:pt x="33412" y="16878"/>
                  </a:cubicBezTo>
                  <a:cubicBezTo>
                    <a:pt x="34151" y="16949"/>
                    <a:pt x="34926" y="17125"/>
                    <a:pt x="35630" y="17442"/>
                  </a:cubicBezTo>
                  <a:cubicBezTo>
                    <a:pt x="36299" y="17688"/>
                    <a:pt x="36792" y="18287"/>
                    <a:pt x="36933" y="18991"/>
                  </a:cubicBezTo>
                  <a:cubicBezTo>
                    <a:pt x="37003" y="19977"/>
                    <a:pt x="35982" y="20786"/>
                    <a:pt x="35031" y="21385"/>
                  </a:cubicBezTo>
                  <a:cubicBezTo>
                    <a:pt x="34187" y="21878"/>
                    <a:pt x="32884" y="23145"/>
                    <a:pt x="32004" y="23603"/>
                  </a:cubicBezTo>
                  <a:lnTo>
                    <a:pt x="33658" y="24025"/>
                  </a:lnTo>
                  <a:cubicBezTo>
                    <a:pt x="33975" y="23920"/>
                    <a:pt x="34539" y="23356"/>
                    <a:pt x="35384" y="22934"/>
                  </a:cubicBezTo>
                  <a:cubicBezTo>
                    <a:pt x="36193" y="22441"/>
                    <a:pt x="36968" y="21913"/>
                    <a:pt x="37707" y="21314"/>
                  </a:cubicBezTo>
                  <a:cubicBezTo>
                    <a:pt x="38376" y="20857"/>
                    <a:pt x="38834" y="20082"/>
                    <a:pt x="38869" y="19272"/>
                  </a:cubicBezTo>
                  <a:cubicBezTo>
                    <a:pt x="38799" y="17899"/>
                    <a:pt x="37390" y="16562"/>
                    <a:pt x="35912" y="16033"/>
                  </a:cubicBezTo>
                  <a:cubicBezTo>
                    <a:pt x="31634" y="14450"/>
                    <a:pt x="26959" y="14104"/>
                    <a:pt x="22218" y="14104"/>
                  </a:cubicBezTo>
                  <a:cubicBezTo>
                    <a:pt x="18844" y="14104"/>
                    <a:pt x="15435" y="14279"/>
                    <a:pt x="12112" y="14308"/>
                  </a:cubicBezTo>
                  <a:cubicBezTo>
                    <a:pt x="11126" y="14308"/>
                    <a:pt x="9824" y="14062"/>
                    <a:pt x="9788" y="13252"/>
                  </a:cubicBezTo>
                  <a:cubicBezTo>
                    <a:pt x="9753" y="12654"/>
                    <a:pt x="10387" y="12231"/>
                    <a:pt x="10985" y="11949"/>
                  </a:cubicBezTo>
                  <a:cubicBezTo>
                    <a:pt x="18766" y="8112"/>
                    <a:pt x="27990" y="7232"/>
                    <a:pt x="36827" y="6000"/>
                  </a:cubicBezTo>
                  <a:cubicBezTo>
                    <a:pt x="37637" y="5894"/>
                    <a:pt x="38658" y="5577"/>
                    <a:pt x="38728" y="4873"/>
                  </a:cubicBezTo>
                  <a:cubicBezTo>
                    <a:pt x="38763" y="4310"/>
                    <a:pt x="38059" y="3887"/>
                    <a:pt x="37461" y="3606"/>
                  </a:cubicBezTo>
                  <a:cubicBezTo>
                    <a:pt x="32045" y="1216"/>
                    <a:pt x="26226" y="1"/>
                    <a:pt x="2037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478;p48">
              <a:extLst>
                <a:ext uri="{FF2B5EF4-FFF2-40B4-BE49-F238E27FC236}">
                  <a16:creationId xmlns:a16="http://schemas.microsoft.com/office/drawing/2014/main" id="{760E35D7-28D7-4853-B446-D65253E6C36F}"/>
                </a:ext>
              </a:extLst>
            </p:cNvPr>
            <p:cNvSpPr/>
            <p:nvPr/>
          </p:nvSpPr>
          <p:spPr>
            <a:xfrm flipH="1">
              <a:off x="2190337" y="2898933"/>
              <a:ext cx="174340" cy="26796"/>
            </a:xfrm>
            <a:custGeom>
              <a:avLst/>
              <a:gdLst/>
              <a:ahLst/>
              <a:cxnLst/>
              <a:rect l="l" t="t" r="r" b="b"/>
              <a:pathLst>
                <a:path w="12147" h="1867" extrusionOk="0">
                  <a:moveTo>
                    <a:pt x="35" y="1"/>
                  </a:moveTo>
                  <a:lnTo>
                    <a:pt x="0" y="459"/>
                  </a:lnTo>
                  <a:lnTo>
                    <a:pt x="12111" y="1867"/>
                  </a:lnTo>
                  <a:lnTo>
                    <a:pt x="12146" y="1444"/>
                  </a:lnTo>
                  <a:lnTo>
                    <a:pt x="3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479;p48">
              <a:extLst>
                <a:ext uri="{FF2B5EF4-FFF2-40B4-BE49-F238E27FC236}">
                  <a16:creationId xmlns:a16="http://schemas.microsoft.com/office/drawing/2014/main" id="{BB4C306F-8B11-4964-9616-F250BA16E893}"/>
                </a:ext>
              </a:extLst>
            </p:cNvPr>
            <p:cNvSpPr/>
            <p:nvPr/>
          </p:nvSpPr>
          <p:spPr>
            <a:xfrm flipH="1">
              <a:off x="2190337" y="2953525"/>
              <a:ext cx="174340" cy="24270"/>
            </a:xfrm>
            <a:custGeom>
              <a:avLst/>
              <a:gdLst/>
              <a:ahLst/>
              <a:cxnLst/>
              <a:rect l="l" t="t" r="r" b="b"/>
              <a:pathLst>
                <a:path w="12147" h="1691" extrusionOk="0">
                  <a:moveTo>
                    <a:pt x="35" y="0"/>
                  </a:moveTo>
                  <a:lnTo>
                    <a:pt x="0" y="458"/>
                  </a:lnTo>
                  <a:cubicBezTo>
                    <a:pt x="2007" y="669"/>
                    <a:pt x="4049" y="880"/>
                    <a:pt x="6056" y="1056"/>
                  </a:cubicBezTo>
                  <a:cubicBezTo>
                    <a:pt x="8027" y="1268"/>
                    <a:pt x="10069" y="1479"/>
                    <a:pt x="12111" y="1690"/>
                  </a:cubicBezTo>
                  <a:lnTo>
                    <a:pt x="12146" y="1268"/>
                  </a:lnTo>
                  <a:cubicBezTo>
                    <a:pt x="10140" y="1021"/>
                    <a:pt x="8062" y="810"/>
                    <a:pt x="6091" y="634"/>
                  </a:cubicBezTo>
                  <a:cubicBezTo>
                    <a:pt x="4119" y="458"/>
                    <a:pt x="2042" y="247"/>
                    <a:pt x="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480;p48">
              <a:extLst>
                <a:ext uri="{FF2B5EF4-FFF2-40B4-BE49-F238E27FC236}">
                  <a16:creationId xmlns:a16="http://schemas.microsoft.com/office/drawing/2014/main" id="{E76F80A7-D6AD-4CD2-B7F6-F211683010C5}"/>
                </a:ext>
              </a:extLst>
            </p:cNvPr>
            <p:cNvSpPr/>
            <p:nvPr/>
          </p:nvSpPr>
          <p:spPr>
            <a:xfrm flipH="1">
              <a:off x="2190337" y="3004054"/>
              <a:ext cx="174340" cy="25791"/>
            </a:xfrm>
            <a:custGeom>
              <a:avLst/>
              <a:gdLst/>
              <a:ahLst/>
              <a:cxnLst/>
              <a:rect l="l" t="t" r="r" b="b"/>
              <a:pathLst>
                <a:path w="12147" h="1797" extrusionOk="0">
                  <a:moveTo>
                    <a:pt x="35" y="1"/>
                  </a:moveTo>
                  <a:lnTo>
                    <a:pt x="0" y="423"/>
                  </a:lnTo>
                  <a:cubicBezTo>
                    <a:pt x="2007" y="670"/>
                    <a:pt x="4014" y="916"/>
                    <a:pt x="6056" y="1127"/>
                  </a:cubicBezTo>
                  <a:cubicBezTo>
                    <a:pt x="8062" y="1339"/>
                    <a:pt x="10069" y="1585"/>
                    <a:pt x="12111" y="1796"/>
                  </a:cubicBezTo>
                  <a:lnTo>
                    <a:pt x="12146" y="1374"/>
                  </a:lnTo>
                  <a:cubicBezTo>
                    <a:pt x="10140" y="1127"/>
                    <a:pt x="8098" y="916"/>
                    <a:pt x="6091" y="670"/>
                  </a:cubicBezTo>
                  <a:cubicBezTo>
                    <a:pt x="4084" y="459"/>
                    <a:pt x="2042" y="247"/>
                    <a:pt x="3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481;p48">
              <a:extLst>
                <a:ext uri="{FF2B5EF4-FFF2-40B4-BE49-F238E27FC236}">
                  <a16:creationId xmlns:a16="http://schemas.microsoft.com/office/drawing/2014/main" id="{3A9FC0E4-5EE6-416D-AF69-CB942F0215DD}"/>
                </a:ext>
              </a:extLst>
            </p:cNvPr>
            <p:cNvSpPr/>
            <p:nvPr/>
          </p:nvSpPr>
          <p:spPr>
            <a:xfrm flipH="1">
              <a:off x="2190337" y="3058646"/>
              <a:ext cx="173837" cy="23753"/>
            </a:xfrm>
            <a:custGeom>
              <a:avLst/>
              <a:gdLst/>
              <a:ahLst/>
              <a:cxnLst/>
              <a:rect l="l" t="t" r="r" b="b"/>
              <a:pathLst>
                <a:path w="12112" h="1655" extrusionOk="0">
                  <a:moveTo>
                    <a:pt x="36" y="0"/>
                  </a:moveTo>
                  <a:lnTo>
                    <a:pt x="0" y="423"/>
                  </a:lnTo>
                  <a:cubicBezTo>
                    <a:pt x="2007" y="669"/>
                    <a:pt x="4049" y="880"/>
                    <a:pt x="6021" y="1021"/>
                  </a:cubicBezTo>
                  <a:cubicBezTo>
                    <a:pt x="7992" y="1197"/>
                    <a:pt x="10034" y="1408"/>
                    <a:pt x="12076" y="1655"/>
                  </a:cubicBezTo>
                  <a:lnTo>
                    <a:pt x="12111" y="1197"/>
                  </a:lnTo>
                  <a:cubicBezTo>
                    <a:pt x="10105" y="951"/>
                    <a:pt x="8063" y="775"/>
                    <a:pt x="6091" y="599"/>
                  </a:cubicBezTo>
                  <a:cubicBezTo>
                    <a:pt x="4119" y="423"/>
                    <a:pt x="2078" y="211"/>
                    <a:pt x="3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482;p48">
              <a:extLst>
                <a:ext uri="{FF2B5EF4-FFF2-40B4-BE49-F238E27FC236}">
                  <a16:creationId xmlns:a16="http://schemas.microsoft.com/office/drawing/2014/main" id="{05A925BD-7411-4800-9DF9-7E844C45F9DA}"/>
                </a:ext>
              </a:extLst>
            </p:cNvPr>
            <p:cNvSpPr/>
            <p:nvPr/>
          </p:nvSpPr>
          <p:spPr>
            <a:xfrm flipH="1">
              <a:off x="2190840" y="3115246"/>
              <a:ext cx="174857" cy="26796"/>
            </a:xfrm>
            <a:custGeom>
              <a:avLst/>
              <a:gdLst/>
              <a:ahLst/>
              <a:cxnLst/>
              <a:rect l="l" t="t" r="r" b="b"/>
              <a:pathLst>
                <a:path w="12183" h="1867" extrusionOk="0">
                  <a:moveTo>
                    <a:pt x="71" y="0"/>
                  </a:moveTo>
                  <a:lnTo>
                    <a:pt x="1" y="458"/>
                  </a:lnTo>
                  <a:lnTo>
                    <a:pt x="12112" y="1866"/>
                  </a:lnTo>
                  <a:lnTo>
                    <a:pt x="12182" y="1444"/>
                  </a:lnTo>
                  <a:lnTo>
                    <a:pt x="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483;p48">
              <a:extLst>
                <a:ext uri="{FF2B5EF4-FFF2-40B4-BE49-F238E27FC236}">
                  <a16:creationId xmlns:a16="http://schemas.microsoft.com/office/drawing/2014/main" id="{165435D9-F941-418E-9BCB-6333172CFAE3}"/>
                </a:ext>
              </a:extLst>
            </p:cNvPr>
            <p:cNvSpPr/>
            <p:nvPr/>
          </p:nvSpPr>
          <p:spPr>
            <a:xfrm flipH="1">
              <a:off x="2736172" y="2825653"/>
              <a:ext cx="410323" cy="148966"/>
            </a:xfrm>
            <a:custGeom>
              <a:avLst/>
              <a:gdLst/>
              <a:ahLst/>
              <a:cxnLst/>
              <a:rect l="l" t="t" r="r" b="b"/>
              <a:pathLst>
                <a:path w="28589" h="10379" extrusionOk="0">
                  <a:moveTo>
                    <a:pt x="26898" y="1"/>
                  </a:moveTo>
                  <a:cubicBezTo>
                    <a:pt x="24716" y="2008"/>
                    <a:pt x="21793" y="3029"/>
                    <a:pt x="18907" y="3627"/>
                  </a:cubicBezTo>
                  <a:cubicBezTo>
                    <a:pt x="16020" y="4191"/>
                    <a:pt x="13027" y="4402"/>
                    <a:pt x="10140" y="5035"/>
                  </a:cubicBezTo>
                  <a:cubicBezTo>
                    <a:pt x="6549" y="5810"/>
                    <a:pt x="3099" y="7183"/>
                    <a:pt x="1" y="9190"/>
                  </a:cubicBezTo>
                  <a:cubicBezTo>
                    <a:pt x="160" y="9194"/>
                    <a:pt x="319" y="9196"/>
                    <a:pt x="478" y="9196"/>
                  </a:cubicBezTo>
                  <a:cubicBezTo>
                    <a:pt x="4289" y="9196"/>
                    <a:pt x="8009" y="8028"/>
                    <a:pt x="11795" y="8028"/>
                  </a:cubicBezTo>
                  <a:cubicBezTo>
                    <a:pt x="12957" y="8028"/>
                    <a:pt x="14189" y="8169"/>
                    <a:pt x="15175" y="8838"/>
                  </a:cubicBezTo>
                  <a:cubicBezTo>
                    <a:pt x="15808" y="9225"/>
                    <a:pt x="16301" y="9859"/>
                    <a:pt x="17005" y="10140"/>
                  </a:cubicBezTo>
                  <a:cubicBezTo>
                    <a:pt x="17454" y="10299"/>
                    <a:pt x="17903" y="10378"/>
                    <a:pt x="18367" y="10378"/>
                  </a:cubicBezTo>
                  <a:cubicBezTo>
                    <a:pt x="18521" y="10378"/>
                    <a:pt x="18678" y="10369"/>
                    <a:pt x="18836" y="10352"/>
                  </a:cubicBezTo>
                  <a:lnTo>
                    <a:pt x="23659" y="10281"/>
                  </a:lnTo>
                  <a:cubicBezTo>
                    <a:pt x="23906" y="10281"/>
                    <a:pt x="24117" y="10246"/>
                    <a:pt x="24328" y="10140"/>
                  </a:cubicBezTo>
                  <a:cubicBezTo>
                    <a:pt x="24716" y="9929"/>
                    <a:pt x="24786" y="9436"/>
                    <a:pt x="24856" y="8979"/>
                  </a:cubicBezTo>
                  <a:cubicBezTo>
                    <a:pt x="25244" y="5951"/>
                    <a:pt x="26546" y="3099"/>
                    <a:pt x="28588" y="846"/>
                  </a:cubicBezTo>
                  <a:lnTo>
                    <a:pt x="268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484;p48">
              <a:extLst>
                <a:ext uri="{FF2B5EF4-FFF2-40B4-BE49-F238E27FC236}">
                  <a16:creationId xmlns:a16="http://schemas.microsoft.com/office/drawing/2014/main" id="{A502877C-E051-4A89-91D7-F2C56044BF10}"/>
                </a:ext>
              </a:extLst>
            </p:cNvPr>
            <p:cNvSpPr/>
            <p:nvPr/>
          </p:nvSpPr>
          <p:spPr>
            <a:xfrm flipH="1">
              <a:off x="2725030" y="2885296"/>
              <a:ext cx="185449" cy="33427"/>
            </a:xfrm>
            <a:custGeom>
              <a:avLst/>
              <a:gdLst/>
              <a:ahLst/>
              <a:cxnLst/>
              <a:rect l="l" t="t" r="r" b="b"/>
              <a:pathLst>
                <a:path w="12921" h="2329" extrusionOk="0">
                  <a:moveTo>
                    <a:pt x="12886" y="0"/>
                  </a:moveTo>
                  <a:lnTo>
                    <a:pt x="11336" y="18"/>
                  </a:lnTo>
                  <a:lnTo>
                    <a:pt x="11336" y="18"/>
                  </a:lnTo>
                  <a:cubicBezTo>
                    <a:pt x="10763" y="7"/>
                    <a:pt x="10190" y="2"/>
                    <a:pt x="9618" y="2"/>
                  </a:cubicBezTo>
                  <a:cubicBezTo>
                    <a:pt x="6518" y="2"/>
                    <a:pt x="3435" y="160"/>
                    <a:pt x="352" y="493"/>
                  </a:cubicBezTo>
                  <a:lnTo>
                    <a:pt x="0" y="1796"/>
                  </a:lnTo>
                  <a:cubicBezTo>
                    <a:pt x="1226" y="2151"/>
                    <a:pt x="2512" y="2328"/>
                    <a:pt x="3802" y="2328"/>
                  </a:cubicBezTo>
                  <a:cubicBezTo>
                    <a:pt x="3920" y="2328"/>
                    <a:pt x="4037" y="2327"/>
                    <a:pt x="4154" y="2324"/>
                  </a:cubicBezTo>
                  <a:cubicBezTo>
                    <a:pt x="7147" y="2289"/>
                    <a:pt x="10034" y="1514"/>
                    <a:pt x="12921" y="775"/>
                  </a:cubicBezTo>
                  <a:cubicBezTo>
                    <a:pt x="12921" y="528"/>
                    <a:pt x="12921" y="282"/>
                    <a:pt x="1288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485;p48">
              <a:extLst>
                <a:ext uri="{FF2B5EF4-FFF2-40B4-BE49-F238E27FC236}">
                  <a16:creationId xmlns:a16="http://schemas.microsoft.com/office/drawing/2014/main" id="{DF3A7E61-B956-479B-9F8C-F3DF90CB3012}"/>
                </a:ext>
              </a:extLst>
            </p:cNvPr>
            <p:cNvSpPr/>
            <p:nvPr/>
          </p:nvSpPr>
          <p:spPr>
            <a:xfrm flipH="1">
              <a:off x="2773030" y="2930012"/>
              <a:ext cx="170307" cy="30672"/>
            </a:xfrm>
            <a:custGeom>
              <a:avLst/>
              <a:gdLst/>
              <a:ahLst/>
              <a:cxnLst/>
              <a:rect l="l" t="t" r="r" b="b"/>
              <a:pathLst>
                <a:path w="11866" h="2137" extrusionOk="0">
                  <a:moveTo>
                    <a:pt x="8389" y="1"/>
                  </a:moveTo>
                  <a:cubicBezTo>
                    <a:pt x="5710" y="1"/>
                    <a:pt x="3032" y="152"/>
                    <a:pt x="353" y="441"/>
                  </a:cubicBezTo>
                  <a:cubicBezTo>
                    <a:pt x="247" y="828"/>
                    <a:pt x="141" y="1251"/>
                    <a:pt x="1" y="1638"/>
                  </a:cubicBezTo>
                  <a:cubicBezTo>
                    <a:pt x="1112" y="1987"/>
                    <a:pt x="2281" y="2136"/>
                    <a:pt x="3455" y="2136"/>
                  </a:cubicBezTo>
                  <a:cubicBezTo>
                    <a:pt x="3583" y="2136"/>
                    <a:pt x="3710" y="2135"/>
                    <a:pt x="3838" y="2131"/>
                  </a:cubicBezTo>
                  <a:cubicBezTo>
                    <a:pt x="6584" y="2096"/>
                    <a:pt x="9260" y="1392"/>
                    <a:pt x="11865" y="723"/>
                  </a:cubicBezTo>
                  <a:lnTo>
                    <a:pt x="11830" y="19"/>
                  </a:lnTo>
                  <a:lnTo>
                    <a:pt x="10351" y="28"/>
                  </a:lnTo>
                  <a:lnTo>
                    <a:pt x="10351" y="28"/>
                  </a:lnTo>
                  <a:cubicBezTo>
                    <a:pt x="9697" y="10"/>
                    <a:pt x="9043" y="1"/>
                    <a:pt x="83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486;p48">
              <a:extLst>
                <a:ext uri="{FF2B5EF4-FFF2-40B4-BE49-F238E27FC236}">
                  <a16:creationId xmlns:a16="http://schemas.microsoft.com/office/drawing/2014/main" id="{A03F0862-5D3E-407D-A227-3747987F195E}"/>
                </a:ext>
              </a:extLst>
            </p:cNvPr>
            <p:cNvSpPr/>
            <p:nvPr/>
          </p:nvSpPr>
          <p:spPr>
            <a:xfrm flipH="1">
              <a:off x="2730082" y="2889330"/>
              <a:ext cx="177368" cy="12716"/>
            </a:xfrm>
            <a:custGeom>
              <a:avLst/>
              <a:gdLst/>
              <a:ahLst/>
              <a:cxnLst/>
              <a:rect l="l" t="t" r="r" b="b"/>
              <a:pathLst>
                <a:path w="12358" h="886" extrusionOk="0">
                  <a:moveTo>
                    <a:pt x="12287" y="1"/>
                  </a:moveTo>
                  <a:cubicBezTo>
                    <a:pt x="10070" y="468"/>
                    <a:pt x="7800" y="698"/>
                    <a:pt x="5529" y="698"/>
                  </a:cubicBezTo>
                  <a:cubicBezTo>
                    <a:pt x="3688" y="698"/>
                    <a:pt x="1848" y="547"/>
                    <a:pt x="36" y="247"/>
                  </a:cubicBezTo>
                  <a:lnTo>
                    <a:pt x="0" y="459"/>
                  </a:lnTo>
                  <a:cubicBezTo>
                    <a:pt x="1643" y="716"/>
                    <a:pt x="3345" y="886"/>
                    <a:pt x="5051" y="886"/>
                  </a:cubicBezTo>
                  <a:cubicBezTo>
                    <a:pt x="5210" y="886"/>
                    <a:pt x="5369" y="884"/>
                    <a:pt x="5528" y="881"/>
                  </a:cubicBezTo>
                  <a:cubicBezTo>
                    <a:pt x="5672" y="883"/>
                    <a:pt x="5816" y="884"/>
                    <a:pt x="5960" y="884"/>
                  </a:cubicBezTo>
                  <a:cubicBezTo>
                    <a:pt x="8104" y="884"/>
                    <a:pt x="10247" y="641"/>
                    <a:pt x="12358" y="212"/>
                  </a:cubicBezTo>
                  <a:lnTo>
                    <a:pt x="1228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487;p48">
              <a:extLst>
                <a:ext uri="{FF2B5EF4-FFF2-40B4-BE49-F238E27FC236}">
                  <a16:creationId xmlns:a16="http://schemas.microsoft.com/office/drawing/2014/main" id="{B864ADD7-01C4-4238-864B-A6FC6FA45C25}"/>
                </a:ext>
              </a:extLst>
            </p:cNvPr>
            <p:cNvSpPr/>
            <p:nvPr/>
          </p:nvSpPr>
          <p:spPr>
            <a:xfrm flipH="1">
              <a:off x="2776575" y="2934319"/>
              <a:ext cx="161207" cy="10190"/>
            </a:xfrm>
            <a:custGeom>
              <a:avLst/>
              <a:gdLst/>
              <a:ahLst/>
              <a:cxnLst/>
              <a:rect l="l" t="t" r="r" b="b"/>
              <a:pathLst>
                <a:path w="11232" h="710" extrusionOk="0">
                  <a:moveTo>
                    <a:pt x="11161" y="0"/>
                  </a:moveTo>
                  <a:cubicBezTo>
                    <a:pt x="9124" y="333"/>
                    <a:pt x="7055" y="503"/>
                    <a:pt x="4982" y="503"/>
                  </a:cubicBezTo>
                  <a:cubicBezTo>
                    <a:pt x="3330" y="503"/>
                    <a:pt x="1676" y="395"/>
                    <a:pt x="36" y="176"/>
                  </a:cubicBezTo>
                  <a:lnTo>
                    <a:pt x="1" y="388"/>
                  </a:lnTo>
                  <a:cubicBezTo>
                    <a:pt x="1516" y="577"/>
                    <a:pt x="3032" y="710"/>
                    <a:pt x="4547" y="710"/>
                  </a:cubicBezTo>
                  <a:cubicBezTo>
                    <a:pt x="4722" y="710"/>
                    <a:pt x="4896" y="708"/>
                    <a:pt x="5071" y="704"/>
                  </a:cubicBezTo>
                  <a:cubicBezTo>
                    <a:pt x="7113" y="704"/>
                    <a:pt x="9190" y="564"/>
                    <a:pt x="11232" y="212"/>
                  </a:cubicBezTo>
                  <a:lnTo>
                    <a:pt x="111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488;p48">
              <a:extLst>
                <a:ext uri="{FF2B5EF4-FFF2-40B4-BE49-F238E27FC236}">
                  <a16:creationId xmlns:a16="http://schemas.microsoft.com/office/drawing/2014/main" id="{20AB54C7-87F2-455F-B301-F7C48A709C09}"/>
                </a:ext>
              </a:extLst>
            </p:cNvPr>
            <p:cNvSpPr/>
            <p:nvPr/>
          </p:nvSpPr>
          <p:spPr>
            <a:xfrm flipH="1">
              <a:off x="2874597" y="2899953"/>
              <a:ext cx="31346" cy="12659"/>
            </a:xfrm>
            <a:custGeom>
              <a:avLst/>
              <a:gdLst/>
              <a:ahLst/>
              <a:cxnLst/>
              <a:rect l="l" t="t" r="r" b="b"/>
              <a:pathLst>
                <a:path w="2184" h="882" extrusionOk="0">
                  <a:moveTo>
                    <a:pt x="564" y="0"/>
                  </a:moveTo>
                  <a:cubicBezTo>
                    <a:pt x="388" y="0"/>
                    <a:pt x="177" y="0"/>
                    <a:pt x="71" y="141"/>
                  </a:cubicBezTo>
                  <a:cubicBezTo>
                    <a:pt x="1" y="317"/>
                    <a:pt x="36" y="493"/>
                    <a:pt x="177" y="599"/>
                  </a:cubicBezTo>
                  <a:cubicBezTo>
                    <a:pt x="283" y="704"/>
                    <a:pt x="459" y="740"/>
                    <a:pt x="599" y="775"/>
                  </a:cubicBezTo>
                  <a:cubicBezTo>
                    <a:pt x="872" y="843"/>
                    <a:pt x="1145" y="882"/>
                    <a:pt x="1418" y="882"/>
                  </a:cubicBezTo>
                  <a:cubicBezTo>
                    <a:pt x="1568" y="882"/>
                    <a:pt x="1717" y="870"/>
                    <a:pt x="1867" y="845"/>
                  </a:cubicBezTo>
                  <a:cubicBezTo>
                    <a:pt x="2008" y="810"/>
                    <a:pt x="2149" y="740"/>
                    <a:pt x="2184" y="599"/>
                  </a:cubicBezTo>
                  <a:cubicBezTo>
                    <a:pt x="2184" y="458"/>
                    <a:pt x="2078" y="352"/>
                    <a:pt x="1937" y="282"/>
                  </a:cubicBezTo>
                  <a:cubicBezTo>
                    <a:pt x="1515" y="106"/>
                    <a:pt x="1022" y="0"/>
                    <a:pt x="56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489;p48">
              <a:extLst>
                <a:ext uri="{FF2B5EF4-FFF2-40B4-BE49-F238E27FC236}">
                  <a16:creationId xmlns:a16="http://schemas.microsoft.com/office/drawing/2014/main" id="{5358221B-7595-47ED-819C-4321C2FD8AC3}"/>
                </a:ext>
              </a:extLst>
            </p:cNvPr>
            <p:cNvSpPr/>
            <p:nvPr/>
          </p:nvSpPr>
          <p:spPr>
            <a:xfrm flipH="1">
              <a:off x="2906435" y="2942903"/>
              <a:ext cx="31346" cy="10721"/>
            </a:xfrm>
            <a:custGeom>
              <a:avLst/>
              <a:gdLst/>
              <a:ahLst/>
              <a:cxnLst/>
              <a:rect l="l" t="t" r="r" b="b"/>
              <a:pathLst>
                <a:path w="2184" h="747" extrusionOk="0">
                  <a:moveTo>
                    <a:pt x="283" y="1"/>
                  </a:moveTo>
                  <a:cubicBezTo>
                    <a:pt x="107" y="71"/>
                    <a:pt x="1" y="247"/>
                    <a:pt x="1" y="423"/>
                  </a:cubicBezTo>
                  <a:cubicBezTo>
                    <a:pt x="494" y="639"/>
                    <a:pt x="1041" y="747"/>
                    <a:pt x="1571" y="747"/>
                  </a:cubicBezTo>
                  <a:cubicBezTo>
                    <a:pt x="1646" y="747"/>
                    <a:pt x="1722" y="745"/>
                    <a:pt x="1796" y="740"/>
                  </a:cubicBezTo>
                  <a:cubicBezTo>
                    <a:pt x="1902" y="740"/>
                    <a:pt x="1972" y="705"/>
                    <a:pt x="2043" y="670"/>
                  </a:cubicBezTo>
                  <a:cubicBezTo>
                    <a:pt x="2113" y="635"/>
                    <a:pt x="2184" y="564"/>
                    <a:pt x="2184" y="494"/>
                  </a:cubicBezTo>
                  <a:cubicBezTo>
                    <a:pt x="2184" y="318"/>
                    <a:pt x="2043" y="247"/>
                    <a:pt x="1902" y="177"/>
                  </a:cubicBezTo>
                  <a:cubicBezTo>
                    <a:pt x="1374" y="36"/>
                    <a:pt x="811" y="1"/>
                    <a:pt x="2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490;p48">
              <a:extLst>
                <a:ext uri="{FF2B5EF4-FFF2-40B4-BE49-F238E27FC236}">
                  <a16:creationId xmlns:a16="http://schemas.microsoft.com/office/drawing/2014/main" id="{9A51AE1E-9B79-431A-9F60-D65F15BE701A}"/>
                </a:ext>
              </a:extLst>
            </p:cNvPr>
            <p:cNvSpPr/>
            <p:nvPr/>
          </p:nvSpPr>
          <p:spPr>
            <a:xfrm flipH="1">
              <a:off x="2748749" y="2852252"/>
              <a:ext cx="20237" cy="2139"/>
            </a:xfrm>
            <a:custGeom>
              <a:avLst/>
              <a:gdLst/>
              <a:ahLst/>
              <a:cxnLst/>
              <a:rect l="l" t="t" r="r" b="b"/>
              <a:pathLst>
                <a:path w="1410" h="149" extrusionOk="0">
                  <a:moveTo>
                    <a:pt x="777" y="0"/>
                  </a:moveTo>
                  <a:cubicBezTo>
                    <a:pt x="515" y="0"/>
                    <a:pt x="253" y="26"/>
                    <a:pt x="1" y="84"/>
                  </a:cubicBezTo>
                  <a:cubicBezTo>
                    <a:pt x="193" y="129"/>
                    <a:pt x="390" y="148"/>
                    <a:pt x="589" y="148"/>
                  </a:cubicBezTo>
                  <a:cubicBezTo>
                    <a:pt x="865" y="148"/>
                    <a:pt x="1143" y="110"/>
                    <a:pt x="1409" y="49"/>
                  </a:cubicBezTo>
                  <a:cubicBezTo>
                    <a:pt x="1203" y="17"/>
                    <a:pt x="991" y="0"/>
                    <a:pt x="77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491;p48">
              <a:extLst>
                <a:ext uri="{FF2B5EF4-FFF2-40B4-BE49-F238E27FC236}">
                  <a16:creationId xmlns:a16="http://schemas.microsoft.com/office/drawing/2014/main" id="{11C3FF89-10E3-4D81-A6A3-8002F8C5FC3C}"/>
                </a:ext>
              </a:extLst>
            </p:cNvPr>
            <p:cNvSpPr/>
            <p:nvPr/>
          </p:nvSpPr>
          <p:spPr>
            <a:xfrm flipH="1">
              <a:off x="2760377" y="2867224"/>
              <a:ext cx="26294" cy="2440"/>
            </a:xfrm>
            <a:custGeom>
              <a:avLst/>
              <a:gdLst/>
              <a:ahLst/>
              <a:cxnLst/>
              <a:rect l="l" t="t" r="r" b="b"/>
              <a:pathLst>
                <a:path w="1832" h="170" extrusionOk="0">
                  <a:moveTo>
                    <a:pt x="1111" y="1"/>
                  </a:moveTo>
                  <a:cubicBezTo>
                    <a:pt x="738" y="1"/>
                    <a:pt x="363" y="47"/>
                    <a:pt x="1" y="133"/>
                  </a:cubicBezTo>
                  <a:cubicBezTo>
                    <a:pt x="225" y="158"/>
                    <a:pt x="445" y="169"/>
                    <a:pt x="662" y="169"/>
                  </a:cubicBezTo>
                  <a:cubicBezTo>
                    <a:pt x="1058" y="169"/>
                    <a:pt x="1445" y="130"/>
                    <a:pt x="1831" y="62"/>
                  </a:cubicBezTo>
                  <a:cubicBezTo>
                    <a:pt x="1595" y="21"/>
                    <a:pt x="1354" y="1"/>
                    <a:pt x="111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492;p48">
              <a:extLst>
                <a:ext uri="{FF2B5EF4-FFF2-40B4-BE49-F238E27FC236}">
                  <a16:creationId xmlns:a16="http://schemas.microsoft.com/office/drawing/2014/main" id="{84AB1DA6-69AE-46C4-83F1-C830208388D7}"/>
                </a:ext>
              </a:extLst>
            </p:cNvPr>
            <p:cNvSpPr/>
            <p:nvPr/>
          </p:nvSpPr>
          <p:spPr>
            <a:xfrm flipH="1">
              <a:off x="2791210" y="2957401"/>
              <a:ext cx="24270" cy="2569"/>
            </a:xfrm>
            <a:custGeom>
              <a:avLst/>
              <a:gdLst/>
              <a:ahLst/>
              <a:cxnLst/>
              <a:rect l="l" t="t" r="r" b="b"/>
              <a:pathLst>
                <a:path w="1691" h="179" extrusionOk="0">
                  <a:moveTo>
                    <a:pt x="991" y="1"/>
                  </a:moveTo>
                  <a:cubicBezTo>
                    <a:pt x="661" y="1"/>
                    <a:pt x="331" y="35"/>
                    <a:pt x="1" y="117"/>
                  </a:cubicBezTo>
                  <a:cubicBezTo>
                    <a:pt x="223" y="159"/>
                    <a:pt x="445" y="179"/>
                    <a:pt x="667" y="179"/>
                  </a:cubicBezTo>
                  <a:cubicBezTo>
                    <a:pt x="1009" y="179"/>
                    <a:pt x="1350" y="132"/>
                    <a:pt x="1691" y="47"/>
                  </a:cubicBezTo>
                  <a:cubicBezTo>
                    <a:pt x="1457" y="18"/>
                    <a:pt x="1224" y="1"/>
                    <a:pt x="99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493;p48">
              <a:extLst>
                <a:ext uri="{FF2B5EF4-FFF2-40B4-BE49-F238E27FC236}">
                  <a16:creationId xmlns:a16="http://schemas.microsoft.com/office/drawing/2014/main" id="{50D66B1C-8238-4F46-B701-E30A54A49B0F}"/>
                </a:ext>
              </a:extLst>
            </p:cNvPr>
            <p:cNvSpPr/>
            <p:nvPr/>
          </p:nvSpPr>
          <p:spPr>
            <a:xfrm flipH="1">
              <a:off x="2986796" y="2901748"/>
              <a:ext cx="67213" cy="14898"/>
            </a:xfrm>
            <a:custGeom>
              <a:avLst/>
              <a:gdLst/>
              <a:ahLst/>
              <a:cxnLst/>
              <a:rect l="l" t="t" r="r" b="b"/>
              <a:pathLst>
                <a:path w="4683" h="1038" extrusionOk="0">
                  <a:moveTo>
                    <a:pt x="3940" y="1"/>
                  </a:moveTo>
                  <a:cubicBezTo>
                    <a:pt x="3845" y="1"/>
                    <a:pt x="3750" y="7"/>
                    <a:pt x="3662" y="16"/>
                  </a:cubicBezTo>
                  <a:cubicBezTo>
                    <a:pt x="2394" y="192"/>
                    <a:pt x="1162" y="544"/>
                    <a:pt x="0" y="1037"/>
                  </a:cubicBezTo>
                  <a:cubicBezTo>
                    <a:pt x="1585" y="967"/>
                    <a:pt x="3169" y="720"/>
                    <a:pt x="4683" y="298"/>
                  </a:cubicBezTo>
                  <a:cubicBezTo>
                    <a:pt x="4524" y="60"/>
                    <a:pt x="4227" y="1"/>
                    <a:pt x="394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494;p48">
              <a:extLst>
                <a:ext uri="{FF2B5EF4-FFF2-40B4-BE49-F238E27FC236}">
                  <a16:creationId xmlns:a16="http://schemas.microsoft.com/office/drawing/2014/main" id="{FD6F541B-6E78-4028-85B0-C94A1068C352}"/>
                </a:ext>
              </a:extLst>
            </p:cNvPr>
            <p:cNvSpPr/>
            <p:nvPr/>
          </p:nvSpPr>
          <p:spPr>
            <a:xfrm flipH="1">
              <a:off x="2624447" y="3299204"/>
              <a:ext cx="69236" cy="28317"/>
            </a:xfrm>
            <a:custGeom>
              <a:avLst/>
              <a:gdLst/>
              <a:ahLst/>
              <a:cxnLst/>
              <a:rect l="l" t="t" r="r" b="b"/>
              <a:pathLst>
                <a:path w="4824" h="1973" extrusionOk="0">
                  <a:moveTo>
                    <a:pt x="986" y="1"/>
                  </a:moveTo>
                  <a:cubicBezTo>
                    <a:pt x="423" y="1"/>
                    <a:pt x="1" y="423"/>
                    <a:pt x="1" y="986"/>
                  </a:cubicBezTo>
                  <a:cubicBezTo>
                    <a:pt x="1" y="1514"/>
                    <a:pt x="423" y="1972"/>
                    <a:pt x="986" y="1972"/>
                  </a:cubicBezTo>
                  <a:lnTo>
                    <a:pt x="3838" y="1972"/>
                  </a:lnTo>
                  <a:cubicBezTo>
                    <a:pt x="4401" y="1972"/>
                    <a:pt x="4824" y="1514"/>
                    <a:pt x="4824" y="986"/>
                  </a:cubicBezTo>
                  <a:cubicBezTo>
                    <a:pt x="4824" y="423"/>
                    <a:pt x="4401" y="1"/>
                    <a:pt x="38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495;p48">
              <a:extLst>
                <a:ext uri="{FF2B5EF4-FFF2-40B4-BE49-F238E27FC236}">
                  <a16:creationId xmlns:a16="http://schemas.microsoft.com/office/drawing/2014/main" id="{63348E51-9E0B-4F8A-81E5-3EBE10880C45}"/>
                </a:ext>
              </a:extLst>
            </p:cNvPr>
            <p:cNvSpPr/>
            <p:nvPr/>
          </p:nvSpPr>
          <p:spPr>
            <a:xfrm flipH="1">
              <a:off x="2514279" y="3132615"/>
              <a:ext cx="102075" cy="103913"/>
            </a:xfrm>
            <a:custGeom>
              <a:avLst/>
              <a:gdLst/>
              <a:ahLst/>
              <a:cxnLst/>
              <a:rect l="l" t="t" r="r" b="b"/>
              <a:pathLst>
                <a:path w="7112" h="7240" extrusionOk="0">
                  <a:moveTo>
                    <a:pt x="527" y="0"/>
                  </a:moveTo>
                  <a:cubicBezTo>
                    <a:pt x="357" y="0"/>
                    <a:pt x="188" y="89"/>
                    <a:pt x="106" y="199"/>
                  </a:cubicBezTo>
                  <a:cubicBezTo>
                    <a:pt x="0" y="410"/>
                    <a:pt x="0" y="621"/>
                    <a:pt x="35" y="832"/>
                  </a:cubicBezTo>
                  <a:cubicBezTo>
                    <a:pt x="352" y="2698"/>
                    <a:pt x="775" y="5198"/>
                    <a:pt x="1092" y="7064"/>
                  </a:cubicBezTo>
                  <a:lnTo>
                    <a:pt x="7112" y="7240"/>
                  </a:lnTo>
                  <a:cubicBezTo>
                    <a:pt x="6654" y="5832"/>
                    <a:pt x="5950" y="3614"/>
                    <a:pt x="5528" y="2205"/>
                  </a:cubicBezTo>
                  <a:cubicBezTo>
                    <a:pt x="5387" y="1642"/>
                    <a:pt x="5140" y="1114"/>
                    <a:pt x="4753" y="656"/>
                  </a:cubicBezTo>
                  <a:cubicBezTo>
                    <a:pt x="4334" y="366"/>
                    <a:pt x="3856" y="194"/>
                    <a:pt x="3373" y="194"/>
                  </a:cubicBezTo>
                  <a:cubicBezTo>
                    <a:pt x="3329" y="194"/>
                    <a:pt x="3284" y="196"/>
                    <a:pt x="3239" y="199"/>
                  </a:cubicBezTo>
                  <a:lnTo>
                    <a:pt x="669" y="23"/>
                  </a:lnTo>
                  <a:cubicBezTo>
                    <a:pt x="623" y="7"/>
                    <a:pt x="575" y="0"/>
                    <a:pt x="527"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496;p48">
              <a:extLst>
                <a:ext uri="{FF2B5EF4-FFF2-40B4-BE49-F238E27FC236}">
                  <a16:creationId xmlns:a16="http://schemas.microsoft.com/office/drawing/2014/main" id="{8ADDD9A8-D6D6-4BC8-923C-057DF5121B37}"/>
                </a:ext>
              </a:extLst>
            </p:cNvPr>
            <p:cNvSpPr/>
            <p:nvPr/>
          </p:nvSpPr>
          <p:spPr>
            <a:xfrm flipH="1">
              <a:off x="2518313" y="3128381"/>
              <a:ext cx="103611" cy="58630"/>
            </a:xfrm>
            <a:custGeom>
              <a:avLst/>
              <a:gdLst/>
              <a:ahLst/>
              <a:cxnLst/>
              <a:rect l="l" t="t" r="r" b="b"/>
              <a:pathLst>
                <a:path w="7219" h="4085" extrusionOk="0">
                  <a:moveTo>
                    <a:pt x="811" y="1"/>
                  </a:moveTo>
                  <a:cubicBezTo>
                    <a:pt x="1" y="1127"/>
                    <a:pt x="71" y="2641"/>
                    <a:pt x="212" y="4049"/>
                  </a:cubicBezTo>
                  <a:lnTo>
                    <a:pt x="7218" y="4085"/>
                  </a:lnTo>
                  <a:cubicBezTo>
                    <a:pt x="6937" y="2712"/>
                    <a:pt x="6373" y="1092"/>
                    <a:pt x="5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497;p48">
              <a:extLst>
                <a:ext uri="{FF2B5EF4-FFF2-40B4-BE49-F238E27FC236}">
                  <a16:creationId xmlns:a16="http://schemas.microsoft.com/office/drawing/2014/main" id="{5DE4C47F-747B-472A-ACBC-F435399282A3}"/>
                </a:ext>
              </a:extLst>
            </p:cNvPr>
            <p:cNvSpPr/>
            <p:nvPr/>
          </p:nvSpPr>
          <p:spPr>
            <a:xfrm flipH="1">
              <a:off x="2732602" y="3053837"/>
              <a:ext cx="133908" cy="38680"/>
            </a:xfrm>
            <a:custGeom>
              <a:avLst/>
              <a:gdLst/>
              <a:ahLst/>
              <a:cxnLst/>
              <a:rect l="l" t="t" r="r" b="b"/>
              <a:pathLst>
                <a:path w="9330" h="2695" extrusionOk="0">
                  <a:moveTo>
                    <a:pt x="4584" y="1"/>
                  </a:moveTo>
                  <a:cubicBezTo>
                    <a:pt x="3703" y="1"/>
                    <a:pt x="2831" y="152"/>
                    <a:pt x="2007" y="476"/>
                  </a:cubicBezTo>
                  <a:cubicBezTo>
                    <a:pt x="1021" y="863"/>
                    <a:pt x="282" y="1673"/>
                    <a:pt x="0" y="2694"/>
                  </a:cubicBezTo>
                  <a:lnTo>
                    <a:pt x="9330" y="2166"/>
                  </a:lnTo>
                  <a:cubicBezTo>
                    <a:pt x="8942" y="1497"/>
                    <a:pt x="8590" y="863"/>
                    <a:pt x="8203" y="230"/>
                  </a:cubicBezTo>
                  <a:cubicBezTo>
                    <a:pt x="7182" y="230"/>
                    <a:pt x="6126" y="54"/>
                    <a:pt x="5105" y="18"/>
                  </a:cubicBezTo>
                  <a:cubicBezTo>
                    <a:pt x="4931" y="7"/>
                    <a:pt x="4758" y="1"/>
                    <a:pt x="458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498;p48">
              <a:extLst>
                <a:ext uri="{FF2B5EF4-FFF2-40B4-BE49-F238E27FC236}">
                  <a16:creationId xmlns:a16="http://schemas.microsoft.com/office/drawing/2014/main" id="{8BF90EE7-9EF9-43D4-B781-936F1BCC41A5}"/>
                </a:ext>
              </a:extLst>
            </p:cNvPr>
            <p:cNvSpPr/>
            <p:nvPr/>
          </p:nvSpPr>
          <p:spPr>
            <a:xfrm flipH="1">
              <a:off x="2582536" y="3081125"/>
              <a:ext cx="413868" cy="154893"/>
            </a:xfrm>
            <a:custGeom>
              <a:avLst/>
              <a:gdLst/>
              <a:ahLst/>
              <a:cxnLst/>
              <a:rect l="l" t="t" r="r" b="b"/>
              <a:pathLst>
                <a:path w="28836" h="10792" extrusionOk="0">
                  <a:moveTo>
                    <a:pt x="13880" y="0"/>
                  </a:moveTo>
                  <a:cubicBezTo>
                    <a:pt x="12619" y="0"/>
                    <a:pt x="11360" y="9"/>
                    <a:pt x="10105" y="18"/>
                  </a:cubicBezTo>
                  <a:cubicBezTo>
                    <a:pt x="9956" y="7"/>
                    <a:pt x="9809" y="1"/>
                    <a:pt x="9662" y="1"/>
                  </a:cubicBezTo>
                  <a:cubicBezTo>
                    <a:pt x="8940" y="1"/>
                    <a:pt x="8243" y="142"/>
                    <a:pt x="7570" y="406"/>
                  </a:cubicBezTo>
                  <a:cubicBezTo>
                    <a:pt x="6761" y="863"/>
                    <a:pt x="6056" y="1462"/>
                    <a:pt x="5493" y="2201"/>
                  </a:cubicBezTo>
                  <a:cubicBezTo>
                    <a:pt x="3416" y="4560"/>
                    <a:pt x="1304" y="6954"/>
                    <a:pt x="1" y="10017"/>
                  </a:cubicBezTo>
                  <a:lnTo>
                    <a:pt x="28835" y="10792"/>
                  </a:lnTo>
                  <a:cubicBezTo>
                    <a:pt x="28518" y="8609"/>
                    <a:pt x="27885" y="5616"/>
                    <a:pt x="27568" y="3434"/>
                  </a:cubicBezTo>
                  <a:cubicBezTo>
                    <a:pt x="27497" y="2694"/>
                    <a:pt x="27251" y="1955"/>
                    <a:pt x="26864" y="1321"/>
                  </a:cubicBezTo>
                  <a:cubicBezTo>
                    <a:pt x="26335" y="652"/>
                    <a:pt x="25490" y="511"/>
                    <a:pt x="24716" y="441"/>
                  </a:cubicBezTo>
                  <a:cubicBezTo>
                    <a:pt x="21138" y="75"/>
                    <a:pt x="17502" y="0"/>
                    <a:pt x="138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499;p48">
              <a:extLst>
                <a:ext uri="{FF2B5EF4-FFF2-40B4-BE49-F238E27FC236}">
                  <a16:creationId xmlns:a16="http://schemas.microsoft.com/office/drawing/2014/main" id="{0215A93C-DA22-4007-8EA7-42C33933D599}"/>
                </a:ext>
              </a:extLst>
            </p:cNvPr>
            <p:cNvSpPr/>
            <p:nvPr/>
          </p:nvSpPr>
          <p:spPr>
            <a:xfrm flipH="1">
              <a:off x="2922109" y="3108672"/>
              <a:ext cx="127350" cy="118251"/>
            </a:xfrm>
            <a:custGeom>
              <a:avLst/>
              <a:gdLst/>
              <a:ahLst/>
              <a:cxnLst/>
              <a:rect l="l" t="t" r="r" b="b"/>
              <a:pathLst>
                <a:path w="8873" h="8239" extrusionOk="0">
                  <a:moveTo>
                    <a:pt x="7614" y="1"/>
                  </a:moveTo>
                  <a:cubicBezTo>
                    <a:pt x="6443" y="1"/>
                    <a:pt x="4747" y="477"/>
                    <a:pt x="3838" y="1127"/>
                  </a:cubicBezTo>
                  <a:cubicBezTo>
                    <a:pt x="3063" y="1726"/>
                    <a:pt x="2430" y="2500"/>
                    <a:pt x="2007" y="3345"/>
                  </a:cubicBezTo>
                  <a:cubicBezTo>
                    <a:pt x="1127" y="4824"/>
                    <a:pt x="458" y="6408"/>
                    <a:pt x="0" y="8063"/>
                  </a:cubicBezTo>
                  <a:lnTo>
                    <a:pt x="6232" y="8239"/>
                  </a:lnTo>
                  <a:cubicBezTo>
                    <a:pt x="6830" y="5634"/>
                    <a:pt x="7746" y="3064"/>
                    <a:pt x="8872" y="634"/>
                  </a:cubicBezTo>
                  <a:cubicBezTo>
                    <a:pt x="8872" y="187"/>
                    <a:pt x="8346" y="1"/>
                    <a:pt x="761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500;p48">
              <a:extLst>
                <a:ext uri="{FF2B5EF4-FFF2-40B4-BE49-F238E27FC236}">
                  <a16:creationId xmlns:a16="http://schemas.microsoft.com/office/drawing/2014/main" id="{C5726753-9A4F-46C9-AA26-C96E56711BC4}"/>
                </a:ext>
              </a:extLst>
            </p:cNvPr>
            <p:cNvSpPr/>
            <p:nvPr/>
          </p:nvSpPr>
          <p:spPr>
            <a:xfrm flipH="1">
              <a:off x="2898871" y="3103117"/>
              <a:ext cx="147054" cy="69236"/>
            </a:xfrm>
            <a:custGeom>
              <a:avLst/>
              <a:gdLst/>
              <a:ahLst/>
              <a:cxnLst/>
              <a:rect l="l" t="t" r="r" b="b"/>
              <a:pathLst>
                <a:path w="10246" h="4824" extrusionOk="0">
                  <a:moveTo>
                    <a:pt x="8296" y="93"/>
                  </a:moveTo>
                  <a:cubicBezTo>
                    <a:pt x="8231" y="93"/>
                    <a:pt x="8165" y="97"/>
                    <a:pt x="8098" y="106"/>
                  </a:cubicBezTo>
                  <a:cubicBezTo>
                    <a:pt x="6232" y="388"/>
                    <a:pt x="4190" y="0"/>
                    <a:pt x="2571" y="951"/>
                  </a:cubicBezTo>
                  <a:cubicBezTo>
                    <a:pt x="1233" y="1796"/>
                    <a:pt x="564" y="3310"/>
                    <a:pt x="1" y="4824"/>
                  </a:cubicBezTo>
                  <a:lnTo>
                    <a:pt x="9788" y="4824"/>
                  </a:lnTo>
                  <a:cubicBezTo>
                    <a:pt x="9612" y="3803"/>
                    <a:pt x="9753" y="2782"/>
                    <a:pt x="10246" y="1902"/>
                  </a:cubicBezTo>
                  <a:lnTo>
                    <a:pt x="9647" y="951"/>
                  </a:lnTo>
                  <a:cubicBezTo>
                    <a:pt x="9577" y="881"/>
                    <a:pt x="9471" y="775"/>
                    <a:pt x="9436" y="705"/>
                  </a:cubicBezTo>
                  <a:cubicBezTo>
                    <a:pt x="9159" y="304"/>
                    <a:pt x="8748" y="93"/>
                    <a:pt x="8296" y="9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01;p48">
              <a:extLst>
                <a:ext uri="{FF2B5EF4-FFF2-40B4-BE49-F238E27FC236}">
                  <a16:creationId xmlns:a16="http://schemas.microsoft.com/office/drawing/2014/main" id="{BA2ECD7C-0362-4A5B-AD03-D74773449AB5}"/>
                </a:ext>
              </a:extLst>
            </p:cNvPr>
            <p:cNvSpPr/>
            <p:nvPr/>
          </p:nvSpPr>
          <p:spPr>
            <a:xfrm flipH="1">
              <a:off x="2494582" y="2912585"/>
              <a:ext cx="285012" cy="225064"/>
            </a:xfrm>
            <a:custGeom>
              <a:avLst/>
              <a:gdLst/>
              <a:ahLst/>
              <a:cxnLst/>
              <a:rect l="l" t="t" r="r" b="b"/>
              <a:pathLst>
                <a:path w="19858" h="15681" extrusionOk="0">
                  <a:moveTo>
                    <a:pt x="18977" y="0"/>
                  </a:moveTo>
                  <a:cubicBezTo>
                    <a:pt x="18097" y="106"/>
                    <a:pt x="17252" y="353"/>
                    <a:pt x="16442" y="705"/>
                  </a:cubicBezTo>
                  <a:lnTo>
                    <a:pt x="15386" y="1866"/>
                  </a:lnTo>
                  <a:cubicBezTo>
                    <a:pt x="10879" y="5880"/>
                    <a:pt x="6162" y="9647"/>
                    <a:pt x="1233" y="13168"/>
                  </a:cubicBezTo>
                  <a:cubicBezTo>
                    <a:pt x="846" y="13379"/>
                    <a:pt x="529" y="13696"/>
                    <a:pt x="282" y="14048"/>
                  </a:cubicBezTo>
                  <a:cubicBezTo>
                    <a:pt x="36" y="14400"/>
                    <a:pt x="1" y="14858"/>
                    <a:pt x="212" y="15245"/>
                  </a:cubicBezTo>
                  <a:cubicBezTo>
                    <a:pt x="427" y="15514"/>
                    <a:pt x="746" y="15681"/>
                    <a:pt x="1089" y="15681"/>
                  </a:cubicBezTo>
                  <a:cubicBezTo>
                    <a:pt x="1194" y="15681"/>
                    <a:pt x="1302" y="15665"/>
                    <a:pt x="1409" y="15632"/>
                  </a:cubicBezTo>
                  <a:cubicBezTo>
                    <a:pt x="1867" y="15527"/>
                    <a:pt x="2254" y="15315"/>
                    <a:pt x="2606" y="15034"/>
                  </a:cubicBezTo>
                  <a:cubicBezTo>
                    <a:pt x="8168" y="11091"/>
                    <a:pt x="13942" y="7429"/>
                    <a:pt x="19857" y="4014"/>
                  </a:cubicBezTo>
                  <a:cubicBezTo>
                    <a:pt x="19083" y="2817"/>
                    <a:pt x="18766" y="1409"/>
                    <a:pt x="189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502;p48">
              <a:extLst>
                <a:ext uri="{FF2B5EF4-FFF2-40B4-BE49-F238E27FC236}">
                  <a16:creationId xmlns:a16="http://schemas.microsoft.com/office/drawing/2014/main" id="{24BE3F5D-4657-4606-98DB-A006571C126B}"/>
                </a:ext>
              </a:extLst>
            </p:cNvPr>
            <p:cNvSpPr/>
            <p:nvPr/>
          </p:nvSpPr>
          <p:spPr>
            <a:xfrm flipH="1">
              <a:off x="2453520" y="2894914"/>
              <a:ext cx="121393" cy="106109"/>
            </a:xfrm>
            <a:custGeom>
              <a:avLst/>
              <a:gdLst/>
              <a:ahLst/>
              <a:cxnLst/>
              <a:rect l="l" t="t" r="r" b="b"/>
              <a:pathLst>
                <a:path w="8458" h="7393" extrusionOk="0">
                  <a:moveTo>
                    <a:pt x="6024" y="0"/>
                  </a:moveTo>
                  <a:cubicBezTo>
                    <a:pt x="5851" y="0"/>
                    <a:pt x="5673" y="22"/>
                    <a:pt x="5492" y="70"/>
                  </a:cubicBezTo>
                  <a:cubicBezTo>
                    <a:pt x="4788" y="105"/>
                    <a:pt x="4084" y="281"/>
                    <a:pt x="3415" y="563"/>
                  </a:cubicBezTo>
                  <a:lnTo>
                    <a:pt x="2535" y="950"/>
                  </a:lnTo>
                  <a:cubicBezTo>
                    <a:pt x="1937" y="1724"/>
                    <a:pt x="1338" y="2499"/>
                    <a:pt x="740" y="3273"/>
                  </a:cubicBezTo>
                  <a:cubicBezTo>
                    <a:pt x="423" y="3626"/>
                    <a:pt x="176" y="4048"/>
                    <a:pt x="35" y="4506"/>
                  </a:cubicBezTo>
                  <a:cubicBezTo>
                    <a:pt x="0" y="4928"/>
                    <a:pt x="35" y="5386"/>
                    <a:pt x="176" y="5773"/>
                  </a:cubicBezTo>
                  <a:cubicBezTo>
                    <a:pt x="458" y="6548"/>
                    <a:pt x="1056" y="7357"/>
                    <a:pt x="1901" y="7393"/>
                  </a:cubicBezTo>
                  <a:cubicBezTo>
                    <a:pt x="2324" y="7393"/>
                    <a:pt x="2746" y="7287"/>
                    <a:pt x="3098" y="7111"/>
                  </a:cubicBezTo>
                  <a:lnTo>
                    <a:pt x="5105" y="6301"/>
                  </a:lnTo>
                  <a:cubicBezTo>
                    <a:pt x="5457" y="6196"/>
                    <a:pt x="5774" y="6020"/>
                    <a:pt x="6056" y="5808"/>
                  </a:cubicBezTo>
                  <a:cubicBezTo>
                    <a:pt x="6408" y="5527"/>
                    <a:pt x="6689" y="5210"/>
                    <a:pt x="6901" y="4823"/>
                  </a:cubicBezTo>
                  <a:cubicBezTo>
                    <a:pt x="7358" y="4224"/>
                    <a:pt x="7710" y="3520"/>
                    <a:pt x="7957" y="2781"/>
                  </a:cubicBezTo>
                  <a:cubicBezTo>
                    <a:pt x="8457" y="1404"/>
                    <a:pt x="7402" y="0"/>
                    <a:pt x="60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503;p48">
              <a:extLst>
                <a:ext uri="{FF2B5EF4-FFF2-40B4-BE49-F238E27FC236}">
                  <a16:creationId xmlns:a16="http://schemas.microsoft.com/office/drawing/2014/main" id="{F959455A-081A-4647-A3D5-F036258C9ED0}"/>
                </a:ext>
              </a:extLst>
            </p:cNvPr>
            <p:cNvSpPr/>
            <p:nvPr/>
          </p:nvSpPr>
          <p:spPr>
            <a:xfrm flipH="1">
              <a:off x="2464233" y="2903470"/>
              <a:ext cx="49028" cy="44982"/>
            </a:xfrm>
            <a:custGeom>
              <a:avLst/>
              <a:gdLst/>
              <a:ahLst/>
              <a:cxnLst/>
              <a:rect l="l" t="t" r="r" b="b"/>
              <a:pathLst>
                <a:path w="3416" h="3134" extrusionOk="0">
                  <a:moveTo>
                    <a:pt x="1596" y="1"/>
                  </a:moveTo>
                  <a:cubicBezTo>
                    <a:pt x="1334" y="1"/>
                    <a:pt x="1074" y="63"/>
                    <a:pt x="845" y="178"/>
                  </a:cubicBezTo>
                  <a:cubicBezTo>
                    <a:pt x="529" y="424"/>
                    <a:pt x="282" y="741"/>
                    <a:pt x="176" y="1128"/>
                  </a:cubicBezTo>
                  <a:cubicBezTo>
                    <a:pt x="0" y="1516"/>
                    <a:pt x="36" y="1973"/>
                    <a:pt x="212" y="2396"/>
                  </a:cubicBezTo>
                  <a:cubicBezTo>
                    <a:pt x="388" y="2748"/>
                    <a:pt x="740" y="2994"/>
                    <a:pt x="1127" y="3100"/>
                  </a:cubicBezTo>
                  <a:cubicBezTo>
                    <a:pt x="1250" y="3122"/>
                    <a:pt x="1376" y="3134"/>
                    <a:pt x="1502" y="3134"/>
                  </a:cubicBezTo>
                  <a:cubicBezTo>
                    <a:pt x="1775" y="3134"/>
                    <a:pt x="2048" y="3079"/>
                    <a:pt x="2289" y="2959"/>
                  </a:cubicBezTo>
                  <a:cubicBezTo>
                    <a:pt x="2993" y="2677"/>
                    <a:pt x="3415" y="1938"/>
                    <a:pt x="3275" y="1164"/>
                  </a:cubicBezTo>
                  <a:cubicBezTo>
                    <a:pt x="3099" y="706"/>
                    <a:pt x="2747" y="319"/>
                    <a:pt x="2254" y="143"/>
                  </a:cubicBezTo>
                  <a:cubicBezTo>
                    <a:pt x="2044" y="46"/>
                    <a:pt x="1819" y="1"/>
                    <a:pt x="159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504;p48">
              <a:extLst>
                <a:ext uri="{FF2B5EF4-FFF2-40B4-BE49-F238E27FC236}">
                  <a16:creationId xmlns:a16="http://schemas.microsoft.com/office/drawing/2014/main" id="{B224C167-B183-4F39-BA21-DAED98415AAE}"/>
                </a:ext>
              </a:extLst>
            </p:cNvPr>
            <p:cNvSpPr/>
            <p:nvPr/>
          </p:nvSpPr>
          <p:spPr>
            <a:xfrm flipH="1">
              <a:off x="2937781" y="3186504"/>
              <a:ext cx="101573" cy="3043"/>
            </a:xfrm>
            <a:custGeom>
              <a:avLst/>
              <a:gdLst/>
              <a:ahLst/>
              <a:cxnLst/>
              <a:rect l="l" t="t" r="r" b="b"/>
              <a:pathLst>
                <a:path w="7077" h="212" extrusionOk="0">
                  <a:moveTo>
                    <a:pt x="0" y="0"/>
                  </a:moveTo>
                  <a:lnTo>
                    <a:pt x="0" y="212"/>
                  </a:lnTo>
                  <a:lnTo>
                    <a:pt x="7077" y="212"/>
                  </a:lnTo>
                  <a:lnTo>
                    <a:pt x="707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505;p48">
              <a:extLst>
                <a:ext uri="{FF2B5EF4-FFF2-40B4-BE49-F238E27FC236}">
                  <a16:creationId xmlns:a16="http://schemas.microsoft.com/office/drawing/2014/main" id="{19BF7ACE-422C-4E6D-8817-35045EDE9BE5}"/>
                </a:ext>
              </a:extLst>
            </p:cNvPr>
            <p:cNvSpPr/>
            <p:nvPr/>
          </p:nvSpPr>
          <p:spPr>
            <a:xfrm flipH="1">
              <a:off x="2929184" y="3200658"/>
              <a:ext cx="114720" cy="3043"/>
            </a:xfrm>
            <a:custGeom>
              <a:avLst/>
              <a:gdLst/>
              <a:ahLst/>
              <a:cxnLst/>
              <a:rect l="l" t="t" r="r" b="b"/>
              <a:pathLst>
                <a:path w="7993" h="212" extrusionOk="0">
                  <a:moveTo>
                    <a:pt x="1" y="0"/>
                  </a:moveTo>
                  <a:lnTo>
                    <a:pt x="1" y="211"/>
                  </a:lnTo>
                  <a:lnTo>
                    <a:pt x="7992" y="211"/>
                  </a:lnTo>
                  <a:lnTo>
                    <a:pt x="799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506;p48">
              <a:extLst>
                <a:ext uri="{FF2B5EF4-FFF2-40B4-BE49-F238E27FC236}">
                  <a16:creationId xmlns:a16="http://schemas.microsoft.com/office/drawing/2014/main" id="{D49E4AAA-F808-4D93-8C48-4A7755582D60}"/>
                </a:ext>
              </a:extLst>
            </p:cNvPr>
            <p:cNvSpPr/>
            <p:nvPr/>
          </p:nvSpPr>
          <p:spPr>
            <a:xfrm flipH="1">
              <a:off x="2531961" y="3196610"/>
              <a:ext cx="72265" cy="3043"/>
            </a:xfrm>
            <a:custGeom>
              <a:avLst/>
              <a:gdLst/>
              <a:ahLst/>
              <a:cxnLst/>
              <a:rect l="l" t="t" r="r" b="b"/>
              <a:pathLst>
                <a:path w="5035" h="212" extrusionOk="0">
                  <a:moveTo>
                    <a:pt x="0" y="1"/>
                  </a:moveTo>
                  <a:lnTo>
                    <a:pt x="0" y="212"/>
                  </a:lnTo>
                  <a:lnTo>
                    <a:pt x="5035" y="212"/>
                  </a:lnTo>
                  <a:lnTo>
                    <a:pt x="50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507;p48">
              <a:extLst>
                <a:ext uri="{FF2B5EF4-FFF2-40B4-BE49-F238E27FC236}">
                  <a16:creationId xmlns:a16="http://schemas.microsoft.com/office/drawing/2014/main" id="{3E325E9F-CB31-4372-AE22-67F467CBD7AC}"/>
                </a:ext>
              </a:extLst>
            </p:cNvPr>
            <p:cNvSpPr/>
            <p:nvPr/>
          </p:nvSpPr>
          <p:spPr>
            <a:xfrm flipH="1">
              <a:off x="2537514" y="3212285"/>
              <a:ext cx="60151" cy="3545"/>
            </a:xfrm>
            <a:custGeom>
              <a:avLst/>
              <a:gdLst/>
              <a:ahLst/>
              <a:cxnLst/>
              <a:rect l="l" t="t" r="r" b="b"/>
              <a:pathLst>
                <a:path w="4191" h="247" extrusionOk="0">
                  <a:moveTo>
                    <a:pt x="1" y="0"/>
                  </a:moveTo>
                  <a:lnTo>
                    <a:pt x="1" y="246"/>
                  </a:lnTo>
                  <a:lnTo>
                    <a:pt x="4190" y="246"/>
                  </a:lnTo>
                  <a:lnTo>
                    <a:pt x="419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508;p48">
              <a:extLst>
                <a:ext uri="{FF2B5EF4-FFF2-40B4-BE49-F238E27FC236}">
                  <a16:creationId xmlns:a16="http://schemas.microsoft.com/office/drawing/2014/main" id="{80457D22-1236-41B7-B328-B237AB8A8874}"/>
                </a:ext>
              </a:extLst>
            </p:cNvPr>
            <p:cNvSpPr/>
            <p:nvPr/>
          </p:nvSpPr>
          <p:spPr>
            <a:xfrm flipH="1">
              <a:off x="2544588" y="2954028"/>
              <a:ext cx="38422" cy="49029"/>
            </a:xfrm>
            <a:custGeom>
              <a:avLst/>
              <a:gdLst/>
              <a:ahLst/>
              <a:cxnLst/>
              <a:rect l="l" t="t" r="r" b="b"/>
              <a:pathLst>
                <a:path w="2677" h="3416" extrusionOk="0">
                  <a:moveTo>
                    <a:pt x="494" y="0"/>
                  </a:moveTo>
                  <a:lnTo>
                    <a:pt x="494" y="0"/>
                  </a:lnTo>
                  <a:cubicBezTo>
                    <a:pt x="1" y="1550"/>
                    <a:pt x="1022" y="3204"/>
                    <a:pt x="2641" y="3415"/>
                  </a:cubicBezTo>
                  <a:lnTo>
                    <a:pt x="2677" y="3204"/>
                  </a:lnTo>
                  <a:cubicBezTo>
                    <a:pt x="1163" y="2993"/>
                    <a:pt x="212" y="1479"/>
                    <a:pt x="705" y="71"/>
                  </a:cubicBezTo>
                  <a:lnTo>
                    <a:pt x="49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09;p48">
              <a:extLst>
                <a:ext uri="{FF2B5EF4-FFF2-40B4-BE49-F238E27FC236}">
                  <a16:creationId xmlns:a16="http://schemas.microsoft.com/office/drawing/2014/main" id="{316B6730-95AB-4CDA-9556-162BB0927A64}"/>
                </a:ext>
              </a:extLst>
            </p:cNvPr>
            <p:cNvSpPr/>
            <p:nvPr/>
          </p:nvSpPr>
          <p:spPr>
            <a:xfrm flipH="1">
              <a:off x="2820528" y="3093513"/>
              <a:ext cx="62161" cy="10119"/>
            </a:xfrm>
            <a:custGeom>
              <a:avLst/>
              <a:gdLst/>
              <a:ahLst/>
              <a:cxnLst/>
              <a:rect l="l" t="t" r="r" b="b"/>
              <a:pathLst>
                <a:path w="4331" h="705" extrusionOk="0">
                  <a:moveTo>
                    <a:pt x="352" y="0"/>
                  </a:moveTo>
                  <a:cubicBezTo>
                    <a:pt x="247" y="247"/>
                    <a:pt x="106" y="458"/>
                    <a:pt x="0" y="705"/>
                  </a:cubicBezTo>
                  <a:lnTo>
                    <a:pt x="4331" y="669"/>
                  </a:lnTo>
                  <a:lnTo>
                    <a:pt x="4120" y="36"/>
                  </a:lnTo>
                  <a:lnTo>
                    <a:pt x="35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10;p48">
              <a:extLst>
                <a:ext uri="{FF2B5EF4-FFF2-40B4-BE49-F238E27FC236}">
                  <a16:creationId xmlns:a16="http://schemas.microsoft.com/office/drawing/2014/main" id="{52D9991C-B2FB-4ED2-BAF2-9A7F5F1797C2}"/>
                </a:ext>
              </a:extLst>
            </p:cNvPr>
            <p:cNvSpPr/>
            <p:nvPr/>
          </p:nvSpPr>
          <p:spPr>
            <a:xfrm flipH="1">
              <a:off x="2624943" y="3100561"/>
              <a:ext cx="30327" cy="33599"/>
            </a:xfrm>
            <a:custGeom>
              <a:avLst/>
              <a:gdLst/>
              <a:ahLst/>
              <a:cxnLst/>
              <a:rect l="l" t="t" r="r" b="b"/>
              <a:pathLst>
                <a:path w="2113" h="2341" extrusionOk="0">
                  <a:moveTo>
                    <a:pt x="530" y="1"/>
                  </a:moveTo>
                  <a:cubicBezTo>
                    <a:pt x="462" y="1"/>
                    <a:pt x="392" y="13"/>
                    <a:pt x="317" y="38"/>
                  </a:cubicBezTo>
                  <a:cubicBezTo>
                    <a:pt x="141" y="178"/>
                    <a:pt x="0" y="390"/>
                    <a:pt x="36" y="636"/>
                  </a:cubicBezTo>
                  <a:cubicBezTo>
                    <a:pt x="71" y="1094"/>
                    <a:pt x="282" y="1516"/>
                    <a:pt x="599" y="1868"/>
                  </a:cubicBezTo>
                  <a:cubicBezTo>
                    <a:pt x="775" y="2044"/>
                    <a:pt x="986" y="2185"/>
                    <a:pt x="1197" y="2291"/>
                  </a:cubicBezTo>
                  <a:cubicBezTo>
                    <a:pt x="1276" y="2325"/>
                    <a:pt x="1359" y="2340"/>
                    <a:pt x="1441" y="2340"/>
                  </a:cubicBezTo>
                  <a:cubicBezTo>
                    <a:pt x="1614" y="2340"/>
                    <a:pt x="1782" y="2270"/>
                    <a:pt x="1902" y="2150"/>
                  </a:cubicBezTo>
                  <a:cubicBezTo>
                    <a:pt x="2078" y="1904"/>
                    <a:pt x="2113" y="1587"/>
                    <a:pt x="1972" y="1305"/>
                  </a:cubicBezTo>
                  <a:cubicBezTo>
                    <a:pt x="1796" y="777"/>
                    <a:pt x="1409" y="354"/>
                    <a:pt x="881" y="108"/>
                  </a:cubicBezTo>
                  <a:cubicBezTo>
                    <a:pt x="767" y="40"/>
                    <a:pt x="653" y="1"/>
                    <a:pt x="53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511;p48">
              <a:extLst>
                <a:ext uri="{FF2B5EF4-FFF2-40B4-BE49-F238E27FC236}">
                  <a16:creationId xmlns:a16="http://schemas.microsoft.com/office/drawing/2014/main" id="{0F135790-B513-4E9F-969A-11405140E936}"/>
                </a:ext>
              </a:extLst>
            </p:cNvPr>
            <p:cNvSpPr/>
            <p:nvPr/>
          </p:nvSpPr>
          <p:spPr>
            <a:xfrm flipH="1">
              <a:off x="2462211" y="2896407"/>
              <a:ext cx="67227" cy="67227"/>
            </a:xfrm>
            <a:custGeom>
              <a:avLst/>
              <a:gdLst/>
              <a:ahLst/>
              <a:cxnLst/>
              <a:rect l="l" t="t" r="r" b="b"/>
              <a:pathLst>
                <a:path w="4684" h="4684" extrusionOk="0">
                  <a:moveTo>
                    <a:pt x="1656" y="1"/>
                  </a:moveTo>
                  <a:cubicBezTo>
                    <a:pt x="670" y="388"/>
                    <a:pt x="1" y="1374"/>
                    <a:pt x="71" y="2430"/>
                  </a:cubicBezTo>
                  <a:cubicBezTo>
                    <a:pt x="177" y="3486"/>
                    <a:pt x="951" y="4366"/>
                    <a:pt x="1972" y="4613"/>
                  </a:cubicBezTo>
                  <a:cubicBezTo>
                    <a:pt x="2148" y="4683"/>
                    <a:pt x="2360" y="4683"/>
                    <a:pt x="2536" y="4683"/>
                  </a:cubicBezTo>
                  <a:cubicBezTo>
                    <a:pt x="3381" y="4683"/>
                    <a:pt x="4190" y="4261"/>
                    <a:pt x="4683" y="3557"/>
                  </a:cubicBezTo>
                  <a:lnTo>
                    <a:pt x="4507" y="3416"/>
                  </a:lnTo>
                  <a:cubicBezTo>
                    <a:pt x="4046" y="4079"/>
                    <a:pt x="3325" y="4459"/>
                    <a:pt x="2557" y="4459"/>
                  </a:cubicBezTo>
                  <a:cubicBezTo>
                    <a:pt x="2387" y="4459"/>
                    <a:pt x="2215" y="4440"/>
                    <a:pt x="2043" y="4402"/>
                  </a:cubicBezTo>
                  <a:cubicBezTo>
                    <a:pt x="1092" y="4155"/>
                    <a:pt x="423" y="3381"/>
                    <a:pt x="318" y="2430"/>
                  </a:cubicBezTo>
                  <a:cubicBezTo>
                    <a:pt x="247" y="1444"/>
                    <a:pt x="811" y="564"/>
                    <a:pt x="1726" y="212"/>
                  </a:cubicBezTo>
                  <a:lnTo>
                    <a:pt x="16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512;p48">
              <a:extLst>
                <a:ext uri="{FF2B5EF4-FFF2-40B4-BE49-F238E27FC236}">
                  <a16:creationId xmlns:a16="http://schemas.microsoft.com/office/drawing/2014/main" id="{3B4907B0-7332-4D31-B6F2-A1D9CB1D050F}"/>
                </a:ext>
              </a:extLst>
            </p:cNvPr>
            <p:cNvSpPr/>
            <p:nvPr/>
          </p:nvSpPr>
          <p:spPr>
            <a:xfrm flipH="1">
              <a:off x="3412899" y="2346044"/>
              <a:ext cx="601311" cy="2284520"/>
            </a:xfrm>
            <a:custGeom>
              <a:avLst/>
              <a:gdLst/>
              <a:ahLst/>
              <a:cxnLst/>
              <a:rect l="l" t="t" r="r" b="b"/>
              <a:pathLst>
                <a:path w="41896" h="159171" extrusionOk="0">
                  <a:moveTo>
                    <a:pt x="0" y="1"/>
                  </a:moveTo>
                  <a:lnTo>
                    <a:pt x="0" y="159170"/>
                  </a:lnTo>
                  <a:lnTo>
                    <a:pt x="41896" y="159170"/>
                  </a:lnTo>
                  <a:lnTo>
                    <a:pt x="418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513;p48">
              <a:extLst>
                <a:ext uri="{FF2B5EF4-FFF2-40B4-BE49-F238E27FC236}">
                  <a16:creationId xmlns:a16="http://schemas.microsoft.com/office/drawing/2014/main" id="{95C9AD22-577F-4940-8393-ED37316E9FF1}"/>
                </a:ext>
              </a:extLst>
            </p:cNvPr>
            <p:cNvSpPr/>
            <p:nvPr/>
          </p:nvSpPr>
          <p:spPr>
            <a:xfrm flipH="1">
              <a:off x="3902032" y="2346044"/>
              <a:ext cx="112179" cy="2284520"/>
            </a:xfrm>
            <a:custGeom>
              <a:avLst/>
              <a:gdLst/>
              <a:ahLst/>
              <a:cxnLst/>
              <a:rect l="l" t="t" r="r" b="b"/>
              <a:pathLst>
                <a:path w="7816" h="159171" extrusionOk="0">
                  <a:moveTo>
                    <a:pt x="0" y="1"/>
                  </a:moveTo>
                  <a:lnTo>
                    <a:pt x="0" y="159170"/>
                  </a:lnTo>
                  <a:lnTo>
                    <a:pt x="7816" y="159170"/>
                  </a:lnTo>
                  <a:lnTo>
                    <a:pt x="7816"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514;p48">
              <a:extLst>
                <a:ext uri="{FF2B5EF4-FFF2-40B4-BE49-F238E27FC236}">
                  <a16:creationId xmlns:a16="http://schemas.microsoft.com/office/drawing/2014/main" id="{CDDE740D-1EF5-4ED0-B08F-0F59017C789D}"/>
                </a:ext>
              </a:extLst>
            </p:cNvPr>
            <p:cNvSpPr/>
            <p:nvPr/>
          </p:nvSpPr>
          <p:spPr>
            <a:xfrm flipH="1">
              <a:off x="3472520" y="2346044"/>
              <a:ext cx="541691" cy="2284520"/>
            </a:xfrm>
            <a:custGeom>
              <a:avLst/>
              <a:gdLst/>
              <a:ahLst/>
              <a:cxnLst/>
              <a:rect l="l" t="t" r="r" b="b"/>
              <a:pathLst>
                <a:path w="37742" h="159171" extrusionOk="0">
                  <a:moveTo>
                    <a:pt x="0" y="1"/>
                  </a:moveTo>
                  <a:lnTo>
                    <a:pt x="0" y="159170"/>
                  </a:lnTo>
                  <a:lnTo>
                    <a:pt x="37741" y="159170"/>
                  </a:lnTo>
                  <a:lnTo>
                    <a:pt x="3774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515;p48">
              <a:extLst>
                <a:ext uri="{FF2B5EF4-FFF2-40B4-BE49-F238E27FC236}">
                  <a16:creationId xmlns:a16="http://schemas.microsoft.com/office/drawing/2014/main" id="{9DF5634E-5C39-4EB9-A0E4-EC5E2E3E89F3}"/>
                </a:ext>
              </a:extLst>
            </p:cNvPr>
            <p:cNvSpPr/>
            <p:nvPr/>
          </p:nvSpPr>
          <p:spPr>
            <a:xfrm flipH="1">
              <a:off x="3913140" y="2346044"/>
              <a:ext cx="101070" cy="2284520"/>
            </a:xfrm>
            <a:custGeom>
              <a:avLst/>
              <a:gdLst/>
              <a:ahLst/>
              <a:cxnLst/>
              <a:rect l="l" t="t" r="r" b="b"/>
              <a:pathLst>
                <a:path w="7042" h="159171" extrusionOk="0">
                  <a:moveTo>
                    <a:pt x="0" y="1"/>
                  </a:moveTo>
                  <a:lnTo>
                    <a:pt x="0" y="159170"/>
                  </a:lnTo>
                  <a:lnTo>
                    <a:pt x="7041" y="159170"/>
                  </a:lnTo>
                  <a:lnTo>
                    <a:pt x="7041"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516;p48">
              <a:extLst>
                <a:ext uri="{FF2B5EF4-FFF2-40B4-BE49-F238E27FC236}">
                  <a16:creationId xmlns:a16="http://schemas.microsoft.com/office/drawing/2014/main" id="{54A812D5-EE65-47F3-9FC3-DF873F03E951}"/>
                </a:ext>
              </a:extLst>
            </p:cNvPr>
            <p:cNvSpPr/>
            <p:nvPr/>
          </p:nvSpPr>
          <p:spPr>
            <a:xfrm flipH="1">
              <a:off x="3471496" y="2346561"/>
              <a:ext cx="405256" cy="2284505"/>
            </a:xfrm>
            <a:custGeom>
              <a:avLst/>
              <a:gdLst/>
              <a:ahLst/>
              <a:cxnLst/>
              <a:rect l="l" t="t" r="r" b="b"/>
              <a:pathLst>
                <a:path w="28236" h="159170" extrusionOk="0">
                  <a:moveTo>
                    <a:pt x="0" y="0"/>
                  </a:moveTo>
                  <a:lnTo>
                    <a:pt x="0" y="159169"/>
                  </a:lnTo>
                  <a:lnTo>
                    <a:pt x="28236" y="159169"/>
                  </a:lnTo>
                  <a:lnTo>
                    <a:pt x="282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517;p48">
              <a:extLst>
                <a:ext uri="{FF2B5EF4-FFF2-40B4-BE49-F238E27FC236}">
                  <a16:creationId xmlns:a16="http://schemas.microsoft.com/office/drawing/2014/main" id="{BB0E8D07-FC9B-4612-9642-2D137D728B15}"/>
                </a:ext>
              </a:extLst>
            </p:cNvPr>
            <p:cNvSpPr/>
            <p:nvPr/>
          </p:nvSpPr>
          <p:spPr>
            <a:xfrm flipH="1">
              <a:off x="3471462" y="2346561"/>
              <a:ext cx="170292" cy="2284505"/>
            </a:xfrm>
            <a:custGeom>
              <a:avLst/>
              <a:gdLst/>
              <a:ahLst/>
              <a:cxnLst/>
              <a:rect l="l" t="t" r="r" b="b"/>
              <a:pathLst>
                <a:path w="11865" h="159170" extrusionOk="0">
                  <a:moveTo>
                    <a:pt x="0" y="0"/>
                  </a:moveTo>
                  <a:lnTo>
                    <a:pt x="0" y="159169"/>
                  </a:lnTo>
                  <a:lnTo>
                    <a:pt x="11865" y="159169"/>
                  </a:lnTo>
                  <a:lnTo>
                    <a:pt x="118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518;p48">
              <a:extLst>
                <a:ext uri="{FF2B5EF4-FFF2-40B4-BE49-F238E27FC236}">
                  <a16:creationId xmlns:a16="http://schemas.microsoft.com/office/drawing/2014/main" id="{9DBF4195-CC25-44FE-9419-D30B4CDBE4C3}"/>
                </a:ext>
              </a:extLst>
            </p:cNvPr>
            <p:cNvSpPr/>
            <p:nvPr/>
          </p:nvSpPr>
          <p:spPr>
            <a:xfrm flipH="1">
              <a:off x="3912136" y="2346561"/>
              <a:ext cx="101070" cy="2284505"/>
            </a:xfrm>
            <a:custGeom>
              <a:avLst/>
              <a:gdLst/>
              <a:ahLst/>
              <a:cxnLst/>
              <a:rect l="l" t="t" r="r" b="b"/>
              <a:pathLst>
                <a:path w="7042" h="159170" extrusionOk="0">
                  <a:moveTo>
                    <a:pt x="0" y="0"/>
                  </a:moveTo>
                  <a:lnTo>
                    <a:pt x="0" y="159169"/>
                  </a:lnTo>
                  <a:lnTo>
                    <a:pt x="7042" y="159169"/>
                  </a:lnTo>
                  <a:lnTo>
                    <a:pt x="70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519;p48">
              <a:extLst>
                <a:ext uri="{FF2B5EF4-FFF2-40B4-BE49-F238E27FC236}">
                  <a16:creationId xmlns:a16="http://schemas.microsoft.com/office/drawing/2014/main" id="{E92A6864-0F03-44C0-8D6B-B944BC863B3A}"/>
                </a:ext>
              </a:extLst>
            </p:cNvPr>
            <p:cNvSpPr/>
            <p:nvPr/>
          </p:nvSpPr>
          <p:spPr>
            <a:xfrm flipH="1">
              <a:off x="3416414" y="2851434"/>
              <a:ext cx="485617" cy="16190"/>
            </a:xfrm>
            <a:custGeom>
              <a:avLst/>
              <a:gdLst/>
              <a:ahLst/>
              <a:cxnLst/>
              <a:rect l="l" t="t" r="r" b="b"/>
              <a:pathLst>
                <a:path w="33835" h="1128" extrusionOk="0">
                  <a:moveTo>
                    <a:pt x="1" y="0"/>
                  </a:moveTo>
                  <a:lnTo>
                    <a:pt x="1" y="1127"/>
                  </a:lnTo>
                  <a:lnTo>
                    <a:pt x="33834" y="1127"/>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520;p48">
              <a:extLst>
                <a:ext uri="{FF2B5EF4-FFF2-40B4-BE49-F238E27FC236}">
                  <a16:creationId xmlns:a16="http://schemas.microsoft.com/office/drawing/2014/main" id="{04C27757-F01A-41AB-88F6-7EA874D38706}"/>
                </a:ext>
              </a:extLst>
            </p:cNvPr>
            <p:cNvSpPr/>
            <p:nvPr/>
          </p:nvSpPr>
          <p:spPr>
            <a:xfrm flipH="1">
              <a:off x="3416414" y="3386638"/>
              <a:ext cx="485617" cy="15673"/>
            </a:xfrm>
            <a:custGeom>
              <a:avLst/>
              <a:gdLst/>
              <a:ahLst/>
              <a:cxnLst/>
              <a:rect l="l" t="t" r="r" b="b"/>
              <a:pathLst>
                <a:path w="33835" h="1092" extrusionOk="0">
                  <a:moveTo>
                    <a:pt x="1" y="0"/>
                  </a:moveTo>
                  <a:lnTo>
                    <a:pt x="1" y="1092"/>
                  </a:lnTo>
                  <a:lnTo>
                    <a:pt x="33834" y="1092"/>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521;p48">
              <a:extLst>
                <a:ext uri="{FF2B5EF4-FFF2-40B4-BE49-F238E27FC236}">
                  <a16:creationId xmlns:a16="http://schemas.microsoft.com/office/drawing/2014/main" id="{1F773C9C-2E97-42AA-B8B7-F369A3760782}"/>
                </a:ext>
              </a:extLst>
            </p:cNvPr>
            <p:cNvSpPr/>
            <p:nvPr/>
          </p:nvSpPr>
          <p:spPr>
            <a:xfrm flipH="1">
              <a:off x="3416414" y="3921328"/>
              <a:ext cx="485617" cy="15687"/>
            </a:xfrm>
            <a:custGeom>
              <a:avLst/>
              <a:gdLst/>
              <a:ahLst/>
              <a:cxnLst/>
              <a:rect l="l" t="t" r="r" b="b"/>
              <a:pathLst>
                <a:path w="33835" h="1093" extrusionOk="0">
                  <a:moveTo>
                    <a:pt x="1" y="1"/>
                  </a:moveTo>
                  <a:lnTo>
                    <a:pt x="1" y="1092"/>
                  </a:lnTo>
                  <a:lnTo>
                    <a:pt x="33834" y="1092"/>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522;p48">
              <a:extLst>
                <a:ext uri="{FF2B5EF4-FFF2-40B4-BE49-F238E27FC236}">
                  <a16:creationId xmlns:a16="http://schemas.microsoft.com/office/drawing/2014/main" id="{4573C38A-E041-4A2B-A1F2-F0CBE00F44F8}"/>
                </a:ext>
              </a:extLst>
            </p:cNvPr>
            <p:cNvSpPr/>
            <p:nvPr/>
          </p:nvSpPr>
          <p:spPr>
            <a:xfrm flipH="1">
              <a:off x="3416414" y="4456029"/>
              <a:ext cx="485617" cy="16190"/>
            </a:xfrm>
            <a:custGeom>
              <a:avLst/>
              <a:gdLst/>
              <a:ahLst/>
              <a:cxnLst/>
              <a:rect l="l" t="t" r="r" b="b"/>
              <a:pathLst>
                <a:path w="33835" h="1128" extrusionOk="0">
                  <a:moveTo>
                    <a:pt x="1" y="1"/>
                  </a:moveTo>
                  <a:lnTo>
                    <a:pt x="1" y="1127"/>
                  </a:lnTo>
                  <a:lnTo>
                    <a:pt x="33834" y="1127"/>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523;p48">
              <a:extLst>
                <a:ext uri="{FF2B5EF4-FFF2-40B4-BE49-F238E27FC236}">
                  <a16:creationId xmlns:a16="http://schemas.microsoft.com/office/drawing/2014/main" id="{3964D224-1445-4D9F-A615-4203F9D8A5A9}"/>
                </a:ext>
              </a:extLst>
            </p:cNvPr>
            <p:cNvSpPr/>
            <p:nvPr/>
          </p:nvSpPr>
          <p:spPr>
            <a:xfrm flipH="1">
              <a:off x="3493189" y="2530016"/>
              <a:ext cx="125326" cy="129690"/>
            </a:xfrm>
            <a:custGeom>
              <a:avLst/>
              <a:gdLst/>
              <a:ahLst/>
              <a:cxnLst/>
              <a:rect l="l" t="t" r="r" b="b"/>
              <a:pathLst>
                <a:path w="8732" h="9036" extrusionOk="0">
                  <a:moveTo>
                    <a:pt x="7957" y="0"/>
                  </a:moveTo>
                  <a:lnTo>
                    <a:pt x="6232" y="2429"/>
                  </a:lnTo>
                  <a:lnTo>
                    <a:pt x="6197" y="2394"/>
                  </a:lnTo>
                  <a:cubicBezTo>
                    <a:pt x="5722" y="2109"/>
                    <a:pt x="5161" y="1966"/>
                    <a:pt x="4617" y="1966"/>
                  </a:cubicBezTo>
                  <a:cubicBezTo>
                    <a:pt x="4557" y="1966"/>
                    <a:pt x="4497" y="1968"/>
                    <a:pt x="4437" y="1972"/>
                  </a:cubicBezTo>
                  <a:cubicBezTo>
                    <a:pt x="3803" y="2042"/>
                    <a:pt x="3169" y="2324"/>
                    <a:pt x="2712" y="2746"/>
                  </a:cubicBezTo>
                  <a:lnTo>
                    <a:pt x="177" y="563"/>
                  </a:lnTo>
                  <a:lnTo>
                    <a:pt x="1" y="704"/>
                  </a:lnTo>
                  <a:lnTo>
                    <a:pt x="1902" y="3732"/>
                  </a:lnTo>
                  <a:cubicBezTo>
                    <a:pt x="1339" y="4577"/>
                    <a:pt x="1127" y="5598"/>
                    <a:pt x="1374" y="6619"/>
                  </a:cubicBezTo>
                  <a:cubicBezTo>
                    <a:pt x="1691" y="7745"/>
                    <a:pt x="2606" y="8626"/>
                    <a:pt x="3768" y="8943"/>
                  </a:cubicBezTo>
                  <a:cubicBezTo>
                    <a:pt x="4052" y="9005"/>
                    <a:pt x="4343" y="9035"/>
                    <a:pt x="4634" y="9035"/>
                  </a:cubicBezTo>
                  <a:cubicBezTo>
                    <a:pt x="5498" y="9035"/>
                    <a:pt x="6366" y="8765"/>
                    <a:pt x="7077" y="8238"/>
                  </a:cubicBezTo>
                  <a:cubicBezTo>
                    <a:pt x="7746" y="7781"/>
                    <a:pt x="8239" y="7077"/>
                    <a:pt x="8485" y="6302"/>
                  </a:cubicBezTo>
                  <a:cubicBezTo>
                    <a:pt x="8732" y="5492"/>
                    <a:pt x="8591" y="4612"/>
                    <a:pt x="8098" y="3908"/>
                  </a:cubicBezTo>
                  <a:cubicBezTo>
                    <a:pt x="7887" y="3662"/>
                    <a:pt x="7605" y="3415"/>
                    <a:pt x="7324" y="3274"/>
                  </a:cubicBezTo>
                  <a:lnTo>
                    <a:pt x="7288"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524;p48">
              <a:extLst>
                <a:ext uri="{FF2B5EF4-FFF2-40B4-BE49-F238E27FC236}">
                  <a16:creationId xmlns:a16="http://schemas.microsoft.com/office/drawing/2014/main" id="{BFD0DE48-1749-4F6C-9BA7-5D45EC48AFAB}"/>
                </a:ext>
              </a:extLst>
            </p:cNvPr>
            <p:cNvSpPr/>
            <p:nvPr/>
          </p:nvSpPr>
          <p:spPr>
            <a:xfrm flipH="1">
              <a:off x="3507320" y="2589803"/>
              <a:ext cx="62936" cy="54023"/>
            </a:xfrm>
            <a:custGeom>
              <a:avLst/>
              <a:gdLst/>
              <a:ahLst/>
              <a:cxnLst/>
              <a:rect l="l" t="t" r="r" b="b"/>
              <a:pathLst>
                <a:path w="4385" h="3764" extrusionOk="0">
                  <a:moveTo>
                    <a:pt x="2257" y="0"/>
                  </a:moveTo>
                  <a:cubicBezTo>
                    <a:pt x="1085" y="0"/>
                    <a:pt x="0" y="1170"/>
                    <a:pt x="511" y="2524"/>
                  </a:cubicBezTo>
                  <a:cubicBezTo>
                    <a:pt x="808" y="3283"/>
                    <a:pt x="1537" y="3763"/>
                    <a:pt x="2352" y="3763"/>
                  </a:cubicBezTo>
                  <a:cubicBezTo>
                    <a:pt x="2407" y="3763"/>
                    <a:pt x="2462" y="3761"/>
                    <a:pt x="2518" y="3757"/>
                  </a:cubicBezTo>
                  <a:cubicBezTo>
                    <a:pt x="3363" y="3651"/>
                    <a:pt x="4032" y="2982"/>
                    <a:pt x="4208" y="2137"/>
                  </a:cubicBezTo>
                  <a:cubicBezTo>
                    <a:pt x="4384" y="1327"/>
                    <a:pt x="4173" y="1116"/>
                    <a:pt x="3539" y="553"/>
                  </a:cubicBezTo>
                  <a:cubicBezTo>
                    <a:pt x="3153" y="167"/>
                    <a:pt x="2699" y="0"/>
                    <a:pt x="225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525;p48">
              <a:extLst>
                <a:ext uri="{FF2B5EF4-FFF2-40B4-BE49-F238E27FC236}">
                  <a16:creationId xmlns:a16="http://schemas.microsoft.com/office/drawing/2014/main" id="{0127F6B6-A5A4-416E-B556-EDEC1FDF95EF}"/>
                </a:ext>
              </a:extLst>
            </p:cNvPr>
            <p:cNvSpPr/>
            <p:nvPr/>
          </p:nvSpPr>
          <p:spPr>
            <a:xfrm flipH="1">
              <a:off x="3550808" y="2558511"/>
              <a:ext cx="227400" cy="168083"/>
            </a:xfrm>
            <a:custGeom>
              <a:avLst/>
              <a:gdLst/>
              <a:ahLst/>
              <a:cxnLst/>
              <a:rect l="l" t="t" r="r" b="b"/>
              <a:pathLst>
                <a:path w="15844" h="11711" extrusionOk="0">
                  <a:moveTo>
                    <a:pt x="12509" y="0"/>
                  </a:moveTo>
                  <a:cubicBezTo>
                    <a:pt x="12399" y="0"/>
                    <a:pt x="12290" y="7"/>
                    <a:pt x="12182" y="22"/>
                  </a:cubicBezTo>
                  <a:cubicBezTo>
                    <a:pt x="8767" y="92"/>
                    <a:pt x="5387" y="374"/>
                    <a:pt x="2042" y="972"/>
                  </a:cubicBezTo>
                  <a:lnTo>
                    <a:pt x="282" y="4352"/>
                  </a:lnTo>
                  <a:cubicBezTo>
                    <a:pt x="141" y="4528"/>
                    <a:pt x="71" y="4740"/>
                    <a:pt x="36" y="4986"/>
                  </a:cubicBezTo>
                  <a:cubicBezTo>
                    <a:pt x="0" y="5514"/>
                    <a:pt x="493" y="5901"/>
                    <a:pt x="916" y="6183"/>
                  </a:cubicBezTo>
                  <a:cubicBezTo>
                    <a:pt x="3134" y="7732"/>
                    <a:pt x="5493" y="9316"/>
                    <a:pt x="6760" y="11710"/>
                  </a:cubicBezTo>
                  <a:cubicBezTo>
                    <a:pt x="8211" y="11496"/>
                    <a:pt x="9677" y="11395"/>
                    <a:pt x="11149" y="11395"/>
                  </a:cubicBezTo>
                  <a:cubicBezTo>
                    <a:pt x="11856" y="11395"/>
                    <a:pt x="12565" y="11418"/>
                    <a:pt x="13273" y="11464"/>
                  </a:cubicBezTo>
                  <a:cubicBezTo>
                    <a:pt x="15315" y="8647"/>
                    <a:pt x="15843" y="5021"/>
                    <a:pt x="14717" y="1747"/>
                  </a:cubicBezTo>
                  <a:cubicBezTo>
                    <a:pt x="14576" y="1148"/>
                    <a:pt x="14224" y="656"/>
                    <a:pt x="13766" y="303"/>
                  </a:cubicBezTo>
                  <a:cubicBezTo>
                    <a:pt x="13374" y="107"/>
                    <a:pt x="12937" y="0"/>
                    <a:pt x="1250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526;p48">
              <a:extLst>
                <a:ext uri="{FF2B5EF4-FFF2-40B4-BE49-F238E27FC236}">
                  <a16:creationId xmlns:a16="http://schemas.microsoft.com/office/drawing/2014/main" id="{EF5F1073-36F4-4082-B10C-F3092DB0ABA0}"/>
                </a:ext>
              </a:extLst>
            </p:cNvPr>
            <p:cNvSpPr/>
            <p:nvPr/>
          </p:nvSpPr>
          <p:spPr>
            <a:xfrm flipH="1">
              <a:off x="3582626" y="2659381"/>
              <a:ext cx="88942" cy="66725"/>
            </a:xfrm>
            <a:custGeom>
              <a:avLst/>
              <a:gdLst/>
              <a:ahLst/>
              <a:cxnLst/>
              <a:rect l="l" t="t" r="r" b="b"/>
              <a:pathLst>
                <a:path w="6197" h="4649" extrusionOk="0">
                  <a:moveTo>
                    <a:pt x="4859" y="1"/>
                  </a:moveTo>
                  <a:lnTo>
                    <a:pt x="1796" y="177"/>
                  </a:lnTo>
                  <a:lnTo>
                    <a:pt x="1760" y="247"/>
                  </a:lnTo>
                  <a:cubicBezTo>
                    <a:pt x="1267" y="1620"/>
                    <a:pt x="704" y="2958"/>
                    <a:pt x="0" y="4261"/>
                  </a:cubicBezTo>
                  <a:lnTo>
                    <a:pt x="211" y="4331"/>
                  </a:lnTo>
                  <a:cubicBezTo>
                    <a:pt x="880" y="3064"/>
                    <a:pt x="1479" y="1761"/>
                    <a:pt x="1936" y="388"/>
                  </a:cubicBezTo>
                  <a:lnTo>
                    <a:pt x="4682" y="247"/>
                  </a:lnTo>
                  <a:lnTo>
                    <a:pt x="5950" y="4648"/>
                  </a:lnTo>
                  <a:lnTo>
                    <a:pt x="6196" y="4578"/>
                  </a:lnTo>
                  <a:lnTo>
                    <a:pt x="48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527;p48">
              <a:extLst>
                <a:ext uri="{FF2B5EF4-FFF2-40B4-BE49-F238E27FC236}">
                  <a16:creationId xmlns:a16="http://schemas.microsoft.com/office/drawing/2014/main" id="{248E1BF0-6ECF-4393-B5A9-203F2A0EAD9D}"/>
                </a:ext>
              </a:extLst>
            </p:cNvPr>
            <p:cNvSpPr/>
            <p:nvPr/>
          </p:nvSpPr>
          <p:spPr>
            <a:xfrm flipH="1">
              <a:off x="3653381" y="2574487"/>
              <a:ext cx="101070" cy="85915"/>
            </a:xfrm>
            <a:custGeom>
              <a:avLst/>
              <a:gdLst/>
              <a:ahLst/>
              <a:cxnLst/>
              <a:rect l="l" t="t" r="r" b="b"/>
              <a:pathLst>
                <a:path w="7042" h="5986" extrusionOk="0">
                  <a:moveTo>
                    <a:pt x="71" y="0"/>
                  </a:moveTo>
                  <a:lnTo>
                    <a:pt x="0" y="211"/>
                  </a:lnTo>
                  <a:cubicBezTo>
                    <a:pt x="2922" y="1232"/>
                    <a:pt x="5352" y="3274"/>
                    <a:pt x="6865" y="5985"/>
                  </a:cubicBezTo>
                  <a:lnTo>
                    <a:pt x="7041" y="5880"/>
                  </a:lnTo>
                  <a:cubicBezTo>
                    <a:pt x="5528" y="3134"/>
                    <a:pt x="3028" y="1021"/>
                    <a:pt x="7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528;p48">
              <a:extLst>
                <a:ext uri="{FF2B5EF4-FFF2-40B4-BE49-F238E27FC236}">
                  <a16:creationId xmlns:a16="http://schemas.microsoft.com/office/drawing/2014/main" id="{F4D81243-8E80-40A2-B048-2B98B4E3A0C3}"/>
                </a:ext>
              </a:extLst>
            </p:cNvPr>
            <p:cNvSpPr/>
            <p:nvPr/>
          </p:nvSpPr>
          <p:spPr>
            <a:xfrm flipH="1">
              <a:off x="3572010" y="2563362"/>
              <a:ext cx="24772" cy="80360"/>
            </a:xfrm>
            <a:custGeom>
              <a:avLst/>
              <a:gdLst/>
              <a:ahLst/>
              <a:cxnLst/>
              <a:rect l="l" t="t" r="r" b="b"/>
              <a:pathLst>
                <a:path w="1726" h="5599" extrusionOk="0">
                  <a:moveTo>
                    <a:pt x="1444" y="1"/>
                  </a:moveTo>
                  <a:lnTo>
                    <a:pt x="1444" y="1"/>
                  </a:lnTo>
                  <a:cubicBezTo>
                    <a:pt x="1550" y="1937"/>
                    <a:pt x="1022" y="3838"/>
                    <a:pt x="1" y="5458"/>
                  </a:cubicBezTo>
                  <a:lnTo>
                    <a:pt x="177" y="5599"/>
                  </a:lnTo>
                  <a:cubicBezTo>
                    <a:pt x="1198" y="3979"/>
                    <a:pt x="1726" y="2078"/>
                    <a:pt x="1655" y="177"/>
                  </a:cubicBez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529;p48">
              <a:extLst>
                <a:ext uri="{FF2B5EF4-FFF2-40B4-BE49-F238E27FC236}">
                  <a16:creationId xmlns:a16="http://schemas.microsoft.com/office/drawing/2014/main" id="{E0DFE5CE-4583-41DD-BFD5-993BFC33D9F7}"/>
                </a:ext>
              </a:extLst>
            </p:cNvPr>
            <p:cNvSpPr/>
            <p:nvPr/>
          </p:nvSpPr>
          <p:spPr>
            <a:xfrm flipH="1">
              <a:off x="3660966" y="2699818"/>
              <a:ext cx="138974" cy="137957"/>
            </a:xfrm>
            <a:custGeom>
              <a:avLst/>
              <a:gdLst/>
              <a:ahLst/>
              <a:cxnLst/>
              <a:rect l="l" t="t" r="r" b="b"/>
              <a:pathLst>
                <a:path w="9683" h="9612" extrusionOk="0">
                  <a:moveTo>
                    <a:pt x="7676" y="0"/>
                  </a:moveTo>
                  <a:cubicBezTo>
                    <a:pt x="6866" y="106"/>
                    <a:pt x="6021" y="141"/>
                    <a:pt x="5211" y="141"/>
                  </a:cubicBezTo>
                  <a:cubicBezTo>
                    <a:pt x="5160" y="139"/>
                    <a:pt x="5110" y="138"/>
                    <a:pt x="5059" y="138"/>
                  </a:cubicBezTo>
                  <a:cubicBezTo>
                    <a:pt x="4300" y="138"/>
                    <a:pt x="3550" y="383"/>
                    <a:pt x="2923" y="845"/>
                  </a:cubicBezTo>
                  <a:cubicBezTo>
                    <a:pt x="2359" y="1374"/>
                    <a:pt x="1937" y="2078"/>
                    <a:pt x="1761" y="2817"/>
                  </a:cubicBezTo>
                  <a:cubicBezTo>
                    <a:pt x="951" y="5035"/>
                    <a:pt x="388" y="7288"/>
                    <a:pt x="1" y="9612"/>
                  </a:cubicBezTo>
                  <a:lnTo>
                    <a:pt x="5704" y="9049"/>
                  </a:lnTo>
                  <a:cubicBezTo>
                    <a:pt x="5598" y="6971"/>
                    <a:pt x="5282" y="4929"/>
                    <a:pt x="4824" y="2887"/>
                  </a:cubicBezTo>
                  <a:cubicBezTo>
                    <a:pt x="6338" y="2113"/>
                    <a:pt x="7992" y="1620"/>
                    <a:pt x="9682" y="1444"/>
                  </a:cubicBezTo>
                  <a:lnTo>
                    <a:pt x="767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530;p48">
              <a:extLst>
                <a:ext uri="{FF2B5EF4-FFF2-40B4-BE49-F238E27FC236}">
                  <a16:creationId xmlns:a16="http://schemas.microsoft.com/office/drawing/2014/main" id="{38AC34C8-5D2E-4604-8B39-720040004BB3}"/>
                </a:ext>
              </a:extLst>
            </p:cNvPr>
            <p:cNvSpPr/>
            <p:nvPr/>
          </p:nvSpPr>
          <p:spPr>
            <a:xfrm flipH="1">
              <a:off x="3504295" y="2706895"/>
              <a:ext cx="103094" cy="112582"/>
            </a:xfrm>
            <a:custGeom>
              <a:avLst/>
              <a:gdLst/>
              <a:ahLst/>
              <a:cxnLst/>
              <a:rect l="l" t="t" r="r" b="b"/>
              <a:pathLst>
                <a:path w="7183" h="7844" extrusionOk="0">
                  <a:moveTo>
                    <a:pt x="0" y="0"/>
                  </a:moveTo>
                  <a:lnTo>
                    <a:pt x="0" y="0"/>
                  </a:lnTo>
                  <a:cubicBezTo>
                    <a:pt x="317" y="1127"/>
                    <a:pt x="2183" y="1057"/>
                    <a:pt x="2606" y="2148"/>
                  </a:cubicBezTo>
                  <a:cubicBezTo>
                    <a:pt x="2711" y="2500"/>
                    <a:pt x="2711" y="2852"/>
                    <a:pt x="2641" y="3204"/>
                  </a:cubicBezTo>
                  <a:cubicBezTo>
                    <a:pt x="2430" y="4753"/>
                    <a:pt x="2148" y="6302"/>
                    <a:pt x="1796" y="7816"/>
                  </a:cubicBezTo>
                  <a:cubicBezTo>
                    <a:pt x="2277" y="7835"/>
                    <a:pt x="2758" y="7844"/>
                    <a:pt x="3239" y="7844"/>
                  </a:cubicBezTo>
                  <a:cubicBezTo>
                    <a:pt x="4554" y="7844"/>
                    <a:pt x="5868" y="7779"/>
                    <a:pt x="7182" y="7675"/>
                  </a:cubicBezTo>
                  <a:lnTo>
                    <a:pt x="5070" y="1937"/>
                  </a:lnTo>
                  <a:cubicBezTo>
                    <a:pt x="4929" y="1444"/>
                    <a:pt x="4648" y="986"/>
                    <a:pt x="4295" y="634"/>
                  </a:cubicBezTo>
                  <a:cubicBezTo>
                    <a:pt x="3799" y="254"/>
                    <a:pt x="3205" y="44"/>
                    <a:pt x="2594" y="44"/>
                  </a:cubicBezTo>
                  <a:cubicBezTo>
                    <a:pt x="2469" y="44"/>
                    <a:pt x="2344" y="53"/>
                    <a:pt x="2218" y="71"/>
                  </a:cubicBezTo>
                  <a:cubicBezTo>
                    <a:pt x="1927" y="112"/>
                    <a:pt x="1635" y="132"/>
                    <a:pt x="1343" y="132"/>
                  </a:cubicBezTo>
                  <a:cubicBezTo>
                    <a:pt x="896" y="132"/>
                    <a:pt x="448" y="86"/>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531;p48">
              <a:extLst>
                <a:ext uri="{FF2B5EF4-FFF2-40B4-BE49-F238E27FC236}">
                  <a16:creationId xmlns:a16="http://schemas.microsoft.com/office/drawing/2014/main" id="{628BFDC1-1726-4FBB-AE31-5BB3BA0498F6}"/>
                </a:ext>
              </a:extLst>
            </p:cNvPr>
            <p:cNvSpPr/>
            <p:nvPr/>
          </p:nvSpPr>
          <p:spPr>
            <a:xfrm flipH="1">
              <a:off x="3600317" y="2514599"/>
              <a:ext cx="126345" cy="106540"/>
            </a:xfrm>
            <a:custGeom>
              <a:avLst/>
              <a:gdLst/>
              <a:ahLst/>
              <a:cxnLst/>
              <a:rect l="l" t="t" r="r" b="b"/>
              <a:pathLst>
                <a:path w="8803" h="7423" extrusionOk="0">
                  <a:moveTo>
                    <a:pt x="3953" y="1"/>
                  </a:moveTo>
                  <a:cubicBezTo>
                    <a:pt x="3414" y="1"/>
                    <a:pt x="2873" y="99"/>
                    <a:pt x="2359" y="299"/>
                  </a:cubicBezTo>
                  <a:cubicBezTo>
                    <a:pt x="881" y="933"/>
                    <a:pt x="1" y="2447"/>
                    <a:pt x="177" y="3996"/>
                  </a:cubicBezTo>
                  <a:cubicBezTo>
                    <a:pt x="1831" y="4912"/>
                    <a:pt x="3451" y="5933"/>
                    <a:pt x="5035" y="7024"/>
                  </a:cubicBezTo>
                  <a:cubicBezTo>
                    <a:pt x="5395" y="7289"/>
                    <a:pt x="5827" y="7422"/>
                    <a:pt x="6264" y="7422"/>
                  </a:cubicBezTo>
                  <a:cubicBezTo>
                    <a:pt x="6639" y="7422"/>
                    <a:pt x="7017" y="7325"/>
                    <a:pt x="7359" y="7130"/>
                  </a:cubicBezTo>
                  <a:cubicBezTo>
                    <a:pt x="7922" y="6813"/>
                    <a:pt x="8450" y="6496"/>
                    <a:pt x="8661" y="5933"/>
                  </a:cubicBezTo>
                  <a:cubicBezTo>
                    <a:pt x="8767" y="5580"/>
                    <a:pt x="8802" y="5264"/>
                    <a:pt x="8767" y="4912"/>
                  </a:cubicBezTo>
                  <a:cubicBezTo>
                    <a:pt x="8661" y="3362"/>
                    <a:pt x="7922" y="1919"/>
                    <a:pt x="6690" y="933"/>
                  </a:cubicBezTo>
                  <a:cubicBezTo>
                    <a:pt x="5896" y="321"/>
                    <a:pt x="4928" y="1"/>
                    <a:pt x="395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532;p48">
              <a:extLst>
                <a:ext uri="{FF2B5EF4-FFF2-40B4-BE49-F238E27FC236}">
                  <a16:creationId xmlns:a16="http://schemas.microsoft.com/office/drawing/2014/main" id="{B825A699-3909-4128-8808-58A744C84769}"/>
                </a:ext>
              </a:extLst>
            </p:cNvPr>
            <p:cNvSpPr/>
            <p:nvPr/>
          </p:nvSpPr>
          <p:spPr>
            <a:xfrm flipH="1">
              <a:off x="3655397" y="2566391"/>
              <a:ext cx="37403" cy="32868"/>
            </a:xfrm>
            <a:custGeom>
              <a:avLst/>
              <a:gdLst/>
              <a:ahLst/>
              <a:cxnLst/>
              <a:rect l="l" t="t" r="r" b="b"/>
              <a:pathLst>
                <a:path w="2606" h="2290" extrusionOk="0">
                  <a:moveTo>
                    <a:pt x="0" y="1"/>
                  </a:moveTo>
                  <a:lnTo>
                    <a:pt x="0" y="1"/>
                  </a:lnTo>
                  <a:cubicBezTo>
                    <a:pt x="740" y="881"/>
                    <a:pt x="1620" y="1656"/>
                    <a:pt x="2606" y="2289"/>
                  </a:cubicBezTo>
                  <a:cubicBezTo>
                    <a:pt x="2535" y="1233"/>
                    <a:pt x="951" y="388"/>
                    <a:pt x="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533;p48">
              <a:extLst>
                <a:ext uri="{FF2B5EF4-FFF2-40B4-BE49-F238E27FC236}">
                  <a16:creationId xmlns:a16="http://schemas.microsoft.com/office/drawing/2014/main" id="{353E27AF-ACE8-47EE-B406-DF85CBCF4B9A}"/>
                </a:ext>
              </a:extLst>
            </p:cNvPr>
            <p:cNvSpPr/>
            <p:nvPr/>
          </p:nvSpPr>
          <p:spPr>
            <a:xfrm flipH="1">
              <a:off x="3605352" y="2557304"/>
              <a:ext cx="11640" cy="32352"/>
            </a:xfrm>
            <a:custGeom>
              <a:avLst/>
              <a:gdLst/>
              <a:ahLst/>
              <a:cxnLst/>
              <a:rect l="l" t="t" r="r" b="b"/>
              <a:pathLst>
                <a:path w="811" h="2254" extrusionOk="0">
                  <a:moveTo>
                    <a:pt x="247" y="0"/>
                  </a:moveTo>
                  <a:lnTo>
                    <a:pt x="247" y="0"/>
                  </a:lnTo>
                  <a:cubicBezTo>
                    <a:pt x="36" y="740"/>
                    <a:pt x="0" y="1514"/>
                    <a:pt x="141" y="2253"/>
                  </a:cubicBezTo>
                  <a:cubicBezTo>
                    <a:pt x="775" y="1655"/>
                    <a:pt x="810" y="669"/>
                    <a:pt x="24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534;p48">
              <a:extLst>
                <a:ext uri="{FF2B5EF4-FFF2-40B4-BE49-F238E27FC236}">
                  <a16:creationId xmlns:a16="http://schemas.microsoft.com/office/drawing/2014/main" id="{BDD35AD0-841F-4D0D-BCE9-798635F9E7DA}"/>
                </a:ext>
              </a:extLst>
            </p:cNvPr>
            <p:cNvSpPr/>
            <p:nvPr/>
          </p:nvSpPr>
          <p:spPr>
            <a:xfrm flipH="1">
              <a:off x="3753952" y="2530016"/>
              <a:ext cx="124824" cy="129690"/>
            </a:xfrm>
            <a:custGeom>
              <a:avLst/>
              <a:gdLst/>
              <a:ahLst/>
              <a:cxnLst/>
              <a:rect l="l" t="t" r="r" b="b"/>
              <a:pathLst>
                <a:path w="8697" h="9036" extrusionOk="0">
                  <a:moveTo>
                    <a:pt x="7957" y="0"/>
                  </a:moveTo>
                  <a:lnTo>
                    <a:pt x="6232" y="2429"/>
                  </a:lnTo>
                  <a:lnTo>
                    <a:pt x="6197" y="2394"/>
                  </a:lnTo>
                  <a:cubicBezTo>
                    <a:pt x="5721" y="2109"/>
                    <a:pt x="5161" y="1966"/>
                    <a:pt x="4617" y="1966"/>
                  </a:cubicBezTo>
                  <a:cubicBezTo>
                    <a:pt x="4556" y="1966"/>
                    <a:pt x="4496" y="1968"/>
                    <a:pt x="4436" y="1972"/>
                  </a:cubicBezTo>
                  <a:cubicBezTo>
                    <a:pt x="3767" y="2042"/>
                    <a:pt x="3169" y="2324"/>
                    <a:pt x="2711" y="2746"/>
                  </a:cubicBezTo>
                  <a:lnTo>
                    <a:pt x="176" y="563"/>
                  </a:lnTo>
                  <a:lnTo>
                    <a:pt x="0" y="704"/>
                  </a:lnTo>
                  <a:lnTo>
                    <a:pt x="1902" y="3732"/>
                  </a:lnTo>
                  <a:cubicBezTo>
                    <a:pt x="1338" y="4577"/>
                    <a:pt x="1127" y="5598"/>
                    <a:pt x="1373" y="6619"/>
                  </a:cubicBezTo>
                  <a:cubicBezTo>
                    <a:pt x="1690" y="7745"/>
                    <a:pt x="2606" y="8626"/>
                    <a:pt x="3767" y="8943"/>
                  </a:cubicBezTo>
                  <a:cubicBezTo>
                    <a:pt x="4052" y="9005"/>
                    <a:pt x="4343" y="9035"/>
                    <a:pt x="4634" y="9035"/>
                  </a:cubicBezTo>
                  <a:cubicBezTo>
                    <a:pt x="5498" y="9035"/>
                    <a:pt x="6366" y="8765"/>
                    <a:pt x="7077" y="8238"/>
                  </a:cubicBezTo>
                  <a:cubicBezTo>
                    <a:pt x="7746" y="7781"/>
                    <a:pt x="8239" y="7077"/>
                    <a:pt x="8485" y="6302"/>
                  </a:cubicBezTo>
                  <a:cubicBezTo>
                    <a:pt x="8696" y="5492"/>
                    <a:pt x="8556" y="4612"/>
                    <a:pt x="8098" y="3908"/>
                  </a:cubicBezTo>
                  <a:cubicBezTo>
                    <a:pt x="7887" y="3662"/>
                    <a:pt x="7605" y="3415"/>
                    <a:pt x="7323" y="3274"/>
                  </a:cubicBezTo>
                  <a:lnTo>
                    <a:pt x="7253"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535;p48">
              <a:extLst>
                <a:ext uri="{FF2B5EF4-FFF2-40B4-BE49-F238E27FC236}">
                  <a16:creationId xmlns:a16="http://schemas.microsoft.com/office/drawing/2014/main" id="{8DF01A3D-7474-4CDC-9042-AC8AC0C44DC0}"/>
                </a:ext>
              </a:extLst>
            </p:cNvPr>
            <p:cNvSpPr/>
            <p:nvPr/>
          </p:nvSpPr>
          <p:spPr>
            <a:xfrm flipH="1">
              <a:off x="3767596" y="2589803"/>
              <a:ext cx="62563" cy="54023"/>
            </a:xfrm>
            <a:custGeom>
              <a:avLst/>
              <a:gdLst/>
              <a:ahLst/>
              <a:cxnLst/>
              <a:rect l="l" t="t" r="r" b="b"/>
              <a:pathLst>
                <a:path w="4359" h="3764" extrusionOk="0">
                  <a:moveTo>
                    <a:pt x="2237" y="0"/>
                  </a:moveTo>
                  <a:cubicBezTo>
                    <a:pt x="1074" y="0"/>
                    <a:pt x="0" y="1170"/>
                    <a:pt x="486" y="2524"/>
                  </a:cubicBezTo>
                  <a:cubicBezTo>
                    <a:pt x="816" y="3283"/>
                    <a:pt x="1516" y="3763"/>
                    <a:pt x="2327" y="3763"/>
                  </a:cubicBezTo>
                  <a:cubicBezTo>
                    <a:pt x="2382" y="3763"/>
                    <a:pt x="2437" y="3761"/>
                    <a:pt x="2493" y="3757"/>
                  </a:cubicBezTo>
                  <a:cubicBezTo>
                    <a:pt x="3338" y="3651"/>
                    <a:pt x="4042" y="2982"/>
                    <a:pt x="4183" y="2137"/>
                  </a:cubicBezTo>
                  <a:cubicBezTo>
                    <a:pt x="4359" y="1327"/>
                    <a:pt x="4148" y="1116"/>
                    <a:pt x="3514" y="553"/>
                  </a:cubicBezTo>
                  <a:cubicBezTo>
                    <a:pt x="3128" y="167"/>
                    <a:pt x="2676" y="0"/>
                    <a:pt x="223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536;p48">
              <a:extLst>
                <a:ext uri="{FF2B5EF4-FFF2-40B4-BE49-F238E27FC236}">
                  <a16:creationId xmlns:a16="http://schemas.microsoft.com/office/drawing/2014/main" id="{16634FCE-BEC0-4373-874B-6D910DD3E89C}"/>
                </a:ext>
              </a:extLst>
            </p:cNvPr>
            <p:cNvSpPr/>
            <p:nvPr/>
          </p:nvSpPr>
          <p:spPr>
            <a:xfrm flipH="1">
              <a:off x="3681166" y="2609857"/>
              <a:ext cx="59649" cy="53578"/>
            </a:xfrm>
            <a:custGeom>
              <a:avLst/>
              <a:gdLst/>
              <a:ahLst/>
              <a:cxnLst/>
              <a:rect l="l" t="t" r="r" b="b"/>
              <a:pathLst>
                <a:path w="4156" h="3733" extrusionOk="0">
                  <a:moveTo>
                    <a:pt x="1057" y="1"/>
                  </a:moveTo>
                  <a:cubicBezTo>
                    <a:pt x="599" y="1"/>
                    <a:pt x="212" y="318"/>
                    <a:pt x="106" y="740"/>
                  </a:cubicBezTo>
                  <a:cubicBezTo>
                    <a:pt x="1" y="1163"/>
                    <a:pt x="106" y="1620"/>
                    <a:pt x="388" y="1937"/>
                  </a:cubicBezTo>
                  <a:cubicBezTo>
                    <a:pt x="670" y="2289"/>
                    <a:pt x="987" y="2571"/>
                    <a:pt x="1374" y="2747"/>
                  </a:cubicBezTo>
                  <a:cubicBezTo>
                    <a:pt x="2148" y="3169"/>
                    <a:pt x="2958" y="3486"/>
                    <a:pt x="3803" y="3733"/>
                  </a:cubicBezTo>
                  <a:cubicBezTo>
                    <a:pt x="4049" y="3592"/>
                    <a:pt x="4155" y="3345"/>
                    <a:pt x="4085" y="3099"/>
                  </a:cubicBezTo>
                  <a:cubicBezTo>
                    <a:pt x="4049" y="2852"/>
                    <a:pt x="3944" y="2606"/>
                    <a:pt x="3768" y="2430"/>
                  </a:cubicBezTo>
                  <a:cubicBezTo>
                    <a:pt x="3275" y="1831"/>
                    <a:pt x="2676" y="1374"/>
                    <a:pt x="2148" y="810"/>
                  </a:cubicBezTo>
                  <a:cubicBezTo>
                    <a:pt x="1831" y="458"/>
                    <a:pt x="1515" y="36"/>
                    <a:pt x="10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537;p48">
              <a:extLst>
                <a:ext uri="{FF2B5EF4-FFF2-40B4-BE49-F238E27FC236}">
                  <a16:creationId xmlns:a16="http://schemas.microsoft.com/office/drawing/2014/main" id="{DF1B5D5E-791A-4F27-819E-381E3C86A724}"/>
                </a:ext>
              </a:extLst>
            </p:cNvPr>
            <p:cNvSpPr/>
            <p:nvPr/>
          </p:nvSpPr>
          <p:spPr>
            <a:xfrm flipH="1">
              <a:off x="3562907" y="2602780"/>
              <a:ext cx="17194" cy="42024"/>
            </a:xfrm>
            <a:custGeom>
              <a:avLst/>
              <a:gdLst/>
              <a:ahLst/>
              <a:cxnLst/>
              <a:rect l="l" t="t" r="r" b="b"/>
              <a:pathLst>
                <a:path w="1198" h="2928" extrusionOk="0">
                  <a:moveTo>
                    <a:pt x="599" y="1"/>
                  </a:moveTo>
                  <a:cubicBezTo>
                    <a:pt x="423" y="775"/>
                    <a:pt x="247" y="1550"/>
                    <a:pt x="71" y="2324"/>
                  </a:cubicBezTo>
                  <a:cubicBezTo>
                    <a:pt x="0" y="2500"/>
                    <a:pt x="36" y="2676"/>
                    <a:pt x="106" y="2817"/>
                  </a:cubicBezTo>
                  <a:cubicBezTo>
                    <a:pt x="182" y="2893"/>
                    <a:pt x="277" y="2928"/>
                    <a:pt x="371" y="2928"/>
                  </a:cubicBezTo>
                  <a:cubicBezTo>
                    <a:pt x="453" y="2928"/>
                    <a:pt x="534" y="2902"/>
                    <a:pt x="599" y="2853"/>
                  </a:cubicBezTo>
                  <a:cubicBezTo>
                    <a:pt x="740" y="2747"/>
                    <a:pt x="845" y="2606"/>
                    <a:pt x="916" y="2430"/>
                  </a:cubicBezTo>
                  <a:cubicBezTo>
                    <a:pt x="1162" y="1832"/>
                    <a:pt x="1197" y="1198"/>
                    <a:pt x="1092" y="599"/>
                  </a:cubicBezTo>
                  <a:cubicBezTo>
                    <a:pt x="1092" y="458"/>
                    <a:pt x="1021" y="318"/>
                    <a:pt x="951" y="212"/>
                  </a:cubicBezTo>
                  <a:cubicBezTo>
                    <a:pt x="881" y="71"/>
                    <a:pt x="740" y="1"/>
                    <a:pt x="59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538;p48">
              <a:extLst>
                <a:ext uri="{FF2B5EF4-FFF2-40B4-BE49-F238E27FC236}">
                  <a16:creationId xmlns:a16="http://schemas.microsoft.com/office/drawing/2014/main" id="{8D65B81B-1C83-4029-AFB4-AEB4316D0CF8}"/>
                </a:ext>
              </a:extLst>
            </p:cNvPr>
            <p:cNvSpPr/>
            <p:nvPr/>
          </p:nvSpPr>
          <p:spPr>
            <a:xfrm flipH="1">
              <a:off x="3565435" y="2695268"/>
              <a:ext cx="24270" cy="32352"/>
            </a:xfrm>
            <a:custGeom>
              <a:avLst/>
              <a:gdLst/>
              <a:ahLst/>
              <a:cxnLst/>
              <a:rect l="l" t="t" r="r" b="b"/>
              <a:pathLst>
                <a:path w="1691" h="2254" extrusionOk="0">
                  <a:moveTo>
                    <a:pt x="1303" y="1"/>
                  </a:moveTo>
                  <a:lnTo>
                    <a:pt x="0" y="2007"/>
                  </a:lnTo>
                  <a:lnTo>
                    <a:pt x="353" y="2254"/>
                  </a:lnTo>
                  <a:lnTo>
                    <a:pt x="1690" y="247"/>
                  </a:lnTo>
                  <a:lnTo>
                    <a:pt x="13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539;p48">
              <a:extLst>
                <a:ext uri="{FF2B5EF4-FFF2-40B4-BE49-F238E27FC236}">
                  <a16:creationId xmlns:a16="http://schemas.microsoft.com/office/drawing/2014/main" id="{48D05CEB-2553-411F-AC7E-9B70AD0EE594}"/>
                </a:ext>
              </a:extLst>
            </p:cNvPr>
            <p:cNvSpPr/>
            <p:nvPr/>
          </p:nvSpPr>
          <p:spPr>
            <a:xfrm flipH="1">
              <a:off x="3674100" y="2691737"/>
              <a:ext cx="34374" cy="41452"/>
            </a:xfrm>
            <a:custGeom>
              <a:avLst/>
              <a:gdLst/>
              <a:ahLst/>
              <a:cxnLst/>
              <a:rect l="l" t="t" r="r" b="b"/>
              <a:pathLst>
                <a:path w="2395" h="2888" extrusionOk="0">
                  <a:moveTo>
                    <a:pt x="1" y="0"/>
                  </a:moveTo>
                  <a:lnTo>
                    <a:pt x="1" y="423"/>
                  </a:lnTo>
                  <a:cubicBezTo>
                    <a:pt x="1128" y="458"/>
                    <a:pt x="1867" y="1655"/>
                    <a:pt x="1409" y="2676"/>
                  </a:cubicBezTo>
                  <a:lnTo>
                    <a:pt x="1796" y="2887"/>
                  </a:lnTo>
                  <a:cubicBezTo>
                    <a:pt x="2395" y="1549"/>
                    <a:pt x="1444" y="35"/>
                    <a:pt x="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540;p48">
              <a:extLst>
                <a:ext uri="{FF2B5EF4-FFF2-40B4-BE49-F238E27FC236}">
                  <a16:creationId xmlns:a16="http://schemas.microsoft.com/office/drawing/2014/main" id="{30D3F904-C36E-43B2-B234-53D4BC1D17EA}"/>
                </a:ext>
              </a:extLst>
            </p:cNvPr>
            <p:cNvSpPr/>
            <p:nvPr/>
          </p:nvSpPr>
          <p:spPr>
            <a:xfrm flipH="1">
              <a:off x="3728678" y="2710427"/>
              <a:ext cx="44478" cy="43476"/>
            </a:xfrm>
            <a:custGeom>
              <a:avLst/>
              <a:gdLst/>
              <a:ahLst/>
              <a:cxnLst/>
              <a:rect l="l" t="t" r="r" b="b"/>
              <a:pathLst>
                <a:path w="3099" h="3029" extrusionOk="0">
                  <a:moveTo>
                    <a:pt x="1550" y="1"/>
                  </a:moveTo>
                  <a:lnTo>
                    <a:pt x="1479" y="458"/>
                  </a:lnTo>
                  <a:cubicBezTo>
                    <a:pt x="1831" y="529"/>
                    <a:pt x="2113" y="775"/>
                    <a:pt x="2219" y="1092"/>
                  </a:cubicBezTo>
                  <a:cubicBezTo>
                    <a:pt x="2324" y="1444"/>
                    <a:pt x="2289" y="1796"/>
                    <a:pt x="2078" y="2078"/>
                  </a:cubicBezTo>
                  <a:cubicBezTo>
                    <a:pt x="1831" y="2324"/>
                    <a:pt x="1514" y="2500"/>
                    <a:pt x="1198" y="2571"/>
                  </a:cubicBezTo>
                  <a:cubicBezTo>
                    <a:pt x="1004" y="2588"/>
                    <a:pt x="810" y="2597"/>
                    <a:pt x="617" y="2597"/>
                  </a:cubicBezTo>
                  <a:cubicBezTo>
                    <a:pt x="423" y="2597"/>
                    <a:pt x="229" y="2588"/>
                    <a:pt x="36" y="2571"/>
                  </a:cubicBezTo>
                  <a:lnTo>
                    <a:pt x="1" y="2993"/>
                  </a:lnTo>
                  <a:cubicBezTo>
                    <a:pt x="212" y="3029"/>
                    <a:pt x="423" y="3029"/>
                    <a:pt x="669" y="3029"/>
                  </a:cubicBezTo>
                  <a:cubicBezTo>
                    <a:pt x="845" y="3029"/>
                    <a:pt x="1057" y="3029"/>
                    <a:pt x="1268" y="2993"/>
                  </a:cubicBezTo>
                  <a:cubicBezTo>
                    <a:pt x="1690" y="2923"/>
                    <a:pt x="2113" y="2677"/>
                    <a:pt x="2430" y="2360"/>
                  </a:cubicBezTo>
                  <a:cubicBezTo>
                    <a:pt x="3099" y="1479"/>
                    <a:pt x="2606" y="212"/>
                    <a:pt x="15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541;p48">
              <a:extLst>
                <a:ext uri="{FF2B5EF4-FFF2-40B4-BE49-F238E27FC236}">
                  <a16:creationId xmlns:a16="http://schemas.microsoft.com/office/drawing/2014/main" id="{BB21472B-663C-43AB-AE04-7F9AFC07385B}"/>
                </a:ext>
              </a:extLst>
            </p:cNvPr>
            <p:cNvSpPr/>
            <p:nvPr/>
          </p:nvSpPr>
          <p:spPr>
            <a:xfrm flipH="1">
              <a:off x="3528545" y="2715996"/>
              <a:ext cx="31346" cy="34503"/>
            </a:xfrm>
            <a:custGeom>
              <a:avLst/>
              <a:gdLst/>
              <a:ahLst/>
              <a:cxnLst/>
              <a:rect l="l" t="t" r="r" b="b"/>
              <a:pathLst>
                <a:path w="2184" h="2404" extrusionOk="0">
                  <a:moveTo>
                    <a:pt x="951" y="0"/>
                  </a:moveTo>
                  <a:cubicBezTo>
                    <a:pt x="705" y="35"/>
                    <a:pt x="458" y="141"/>
                    <a:pt x="282" y="317"/>
                  </a:cubicBezTo>
                  <a:cubicBezTo>
                    <a:pt x="106" y="528"/>
                    <a:pt x="1" y="810"/>
                    <a:pt x="1" y="1091"/>
                  </a:cubicBezTo>
                  <a:cubicBezTo>
                    <a:pt x="36" y="1584"/>
                    <a:pt x="388" y="2042"/>
                    <a:pt x="846" y="2218"/>
                  </a:cubicBezTo>
                  <a:cubicBezTo>
                    <a:pt x="1079" y="2335"/>
                    <a:pt x="1312" y="2403"/>
                    <a:pt x="1566" y="2403"/>
                  </a:cubicBezTo>
                  <a:cubicBezTo>
                    <a:pt x="1618" y="2403"/>
                    <a:pt x="1671" y="2400"/>
                    <a:pt x="1726" y="2394"/>
                  </a:cubicBezTo>
                  <a:cubicBezTo>
                    <a:pt x="1867" y="2394"/>
                    <a:pt x="2007" y="2394"/>
                    <a:pt x="2183" y="2359"/>
                  </a:cubicBezTo>
                  <a:lnTo>
                    <a:pt x="2113" y="1901"/>
                  </a:lnTo>
                  <a:cubicBezTo>
                    <a:pt x="1960" y="1943"/>
                    <a:pt x="1813" y="1963"/>
                    <a:pt x="1669" y="1963"/>
                  </a:cubicBezTo>
                  <a:cubicBezTo>
                    <a:pt x="1448" y="1963"/>
                    <a:pt x="1235" y="1916"/>
                    <a:pt x="1022" y="1831"/>
                  </a:cubicBezTo>
                  <a:cubicBezTo>
                    <a:pt x="705" y="1690"/>
                    <a:pt x="494" y="1408"/>
                    <a:pt x="423" y="1056"/>
                  </a:cubicBezTo>
                  <a:cubicBezTo>
                    <a:pt x="423" y="880"/>
                    <a:pt x="494" y="739"/>
                    <a:pt x="599" y="599"/>
                  </a:cubicBezTo>
                  <a:cubicBezTo>
                    <a:pt x="705" y="528"/>
                    <a:pt x="810" y="458"/>
                    <a:pt x="951" y="458"/>
                  </a:cubicBezTo>
                  <a:lnTo>
                    <a:pt x="95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542;p48">
              <a:extLst>
                <a:ext uri="{FF2B5EF4-FFF2-40B4-BE49-F238E27FC236}">
                  <a16:creationId xmlns:a16="http://schemas.microsoft.com/office/drawing/2014/main" id="{2EFB9424-7F51-4FA8-8E56-27ECC942869E}"/>
                </a:ext>
              </a:extLst>
            </p:cNvPr>
            <p:cNvSpPr/>
            <p:nvPr/>
          </p:nvSpPr>
          <p:spPr>
            <a:xfrm flipH="1">
              <a:off x="3478533"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52" y="151"/>
                    <a:pt x="2394" y="221"/>
                    <a:pt x="1972" y="362"/>
                  </a:cubicBezTo>
                  <a:cubicBezTo>
                    <a:pt x="1091" y="714"/>
                    <a:pt x="528" y="1524"/>
                    <a:pt x="0" y="2298"/>
                  </a:cubicBezTo>
                  <a:lnTo>
                    <a:pt x="9013" y="2298"/>
                  </a:lnTo>
                  <a:cubicBezTo>
                    <a:pt x="8450" y="1524"/>
                    <a:pt x="8027" y="573"/>
                    <a:pt x="7147" y="186"/>
                  </a:cubicBezTo>
                  <a:cubicBezTo>
                    <a:pt x="6768" y="69"/>
                    <a:pt x="6365"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543;p48">
              <a:extLst>
                <a:ext uri="{FF2B5EF4-FFF2-40B4-BE49-F238E27FC236}">
                  <a16:creationId xmlns:a16="http://schemas.microsoft.com/office/drawing/2014/main" id="{40FB4765-90D0-4112-AD36-9EEA22297913}"/>
                </a:ext>
              </a:extLst>
            </p:cNvPr>
            <p:cNvSpPr/>
            <p:nvPr/>
          </p:nvSpPr>
          <p:spPr>
            <a:xfrm flipH="1">
              <a:off x="3691296"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87" y="151"/>
                    <a:pt x="2429" y="221"/>
                    <a:pt x="1972" y="362"/>
                  </a:cubicBezTo>
                  <a:cubicBezTo>
                    <a:pt x="1092" y="714"/>
                    <a:pt x="528" y="1524"/>
                    <a:pt x="0" y="2298"/>
                  </a:cubicBezTo>
                  <a:lnTo>
                    <a:pt x="9013" y="2298"/>
                  </a:lnTo>
                  <a:cubicBezTo>
                    <a:pt x="8450" y="1524"/>
                    <a:pt x="8027" y="573"/>
                    <a:pt x="7182" y="186"/>
                  </a:cubicBezTo>
                  <a:cubicBezTo>
                    <a:pt x="6774" y="69"/>
                    <a:pt x="6366"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544;p48">
              <a:extLst>
                <a:ext uri="{FF2B5EF4-FFF2-40B4-BE49-F238E27FC236}">
                  <a16:creationId xmlns:a16="http://schemas.microsoft.com/office/drawing/2014/main" id="{AFCFFB07-D17D-4976-A06B-6996740A3646}"/>
                </a:ext>
              </a:extLst>
            </p:cNvPr>
            <p:cNvSpPr/>
            <p:nvPr/>
          </p:nvSpPr>
          <p:spPr>
            <a:xfrm flipH="1">
              <a:off x="3566978" y="3000523"/>
              <a:ext cx="178387" cy="297128"/>
            </a:xfrm>
            <a:custGeom>
              <a:avLst/>
              <a:gdLst/>
              <a:ahLst/>
              <a:cxnLst/>
              <a:rect l="l" t="t" r="r" b="b"/>
              <a:pathLst>
                <a:path w="12429" h="20702" extrusionOk="0">
                  <a:moveTo>
                    <a:pt x="6901" y="0"/>
                  </a:moveTo>
                  <a:lnTo>
                    <a:pt x="775" y="529"/>
                  </a:lnTo>
                  <a:cubicBezTo>
                    <a:pt x="1" y="3838"/>
                    <a:pt x="71" y="7253"/>
                    <a:pt x="283" y="10598"/>
                  </a:cubicBezTo>
                  <a:cubicBezTo>
                    <a:pt x="494" y="13942"/>
                    <a:pt x="881" y="17322"/>
                    <a:pt x="740" y="20702"/>
                  </a:cubicBezTo>
                  <a:cubicBezTo>
                    <a:pt x="3304" y="20352"/>
                    <a:pt x="5882" y="20173"/>
                    <a:pt x="8466" y="20173"/>
                  </a:cubicBezTo>
                  <a:cubicBezTo>
                    <a:pt x="9786" y="20173"/>
                    <a:pt x="11108" y="20219"/>
                    <a:pt x="12429" y="20315"/>
                  </a:cubicBezTo>
                  <a:cubicBezTo>
                    <a:pt x="11865" y="16724"/>
                    <a:pt x="11302" y="13097"/>
                    <a:pt x="10739" y="9506"/>
                  </a:cubicBezTo>
                  <a:cubicBezTo>
                    <a:pt x="10422" y="7464"/>
                    <a:pt x="10105" y="5387"/>
                    <a:pt x="9647" y="3345"/>
                  </a:cubicBezTo>
                  <a:cubicBezTo>
                    <a:pt x="9507" y="2571"/>
                    <a:pt x="9225" y="1866"/>
                    <a:pt x="8803" y="1197"/>
                  </a:cubicBezTo>
                  <a:cubicBezTo>
                    <a:pt x="8415" y="493"/>
                    <a:pt x="7676" y="71"/>
                    <a:pt x="690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545;p48">
              <a:extLst>
                <a:ext uri="{FF2B5EF4-FFF2-40B4-BE49-F238E27FC236}">
                  <a16:creationId xmlns:a16="http://schemas.microsoft.com/office/drawing/2014/main" id="{31AC862C-247D-420C-895D-4970168D6A8D}"/>
                </a:ext>
              </a:extLst>
            </p:cNvPr>
            <p:cNvSpPr/>
            <p:nvPr/>
          </p:nvSpPr>
          <p:spPr>
            <a:xfrm flipH="1">
              <a:off x="3708470" y="2988393"/>
              <a:ext cx="69236" cy="114477"/>
            </a:xfrm>
            <a:custGeom>
              <a:avLst/>
              <a:gdLst/>
              <a:ahLst/>
              <a:cxnLst/>
              <a:rect l="l" t="t" r="r" b="b"/>
              <a:pathLst>
                <a:path w="4824" h="7976" extrusionOk="0">
                  <a:moveTo>
                    <a:pt x="3028" y="0"/>
                  </a:moveTo>
                  <a:cubicBezTo>
                    <a:pt x="2359" y="71"/>
                    <a:pt x="1761" y="493"/>
                    <a:pt x="1444" y="1127"/>
                  </a:cubicBezTo>
                  <a:cubicBezTo>
                    <a:pt x="1198" y="1726"/>
                    <a:pt x="1127" y="2430"/>
                    <a:pt x="1303" y="3063"/>
                  </a:cubicBezTo>
                  <a:cubicBezTo>
                    <a:pt x="810" y="3662"/>
                    <a:pt x="564" y="4401"/>
                    <a:pt x="634" y="5176"/>
                  </a:cubicBezTo>
                  <a:cubicBezTo>
                    <a:pt x="247" y="5598"/>
                    <a:pt x="1" y="6197"/>
                    <a:pt x="36" y="6795"/>
                  </a:cubicBezTo>
                  <a:cubicBezTo>
                    <a:pt x="36" y="7147"/>
                    <a:pt x="141" y="7429"/>
                    <a:pt x="353" y="7676"/>
                  </a:cubicBezTo>
                  <a:cubicBezTo>
                    <a:pt x="593" y="7879"/>
                    <a:pt x="872" y="7975"/>
                    <a:pt x="1149" y="7975"/>
                  </a:cubicBezTo>
                  <a:cubicBezTo>
                    <a:pt x="1400" y="7975"/>
                    <a:pt x="1649" y="7896"/>
                    <a:pt x="1867" y="7746"/>
                  </a:cubicBezTo>
                  <a:cubicBezTo>
                    <a:pt x="2324" y="7429"/>
                    <a:pt x="2641" y="6971"/>
                    <a:pt x="2817" y="6478"/>
                  </a:cubicBezTo>
                  <a:cubicBezTo>
                    <a:pt x="2958" y="5950"/>
                    <a:pt x="3134" y="5457"/>
                    <a:pt x="3345" y="4965"/>
                  </a:cubicBezTo>
                  <a:cubicBezTo>
                    <a:pt x="3662" y="4331"/>
                    <a:pt x="4190" y="3838"/>
                    <a:pt x="4472" y="3204"/>
                  </a:cubicBezTo>
                  <a:cubicBezTo>
                    <a:pt x="4754" y="2606"/>
                    <a:pt x="4824" y="1937"/>
                    <a:pt x="4683" y="1338"/>
                  </a:cubicBezTo>
                  <a:cubicBezTo>
                    <a:pt x="4613" y="986"/>
                    <a:pt x="4472" y="705"/>
                    <a:pt x="4261" y="458"/>
                  </a:cubicBezTo>
                  <a:cubicBezTo>
                    <a:pt x="4049" y="176"/>
                    <a:pt x="3733" y="36"/>
                    <a:pt x="3380" y="36"/>
                  </a:cubicBezTo>
                  <a:lnTo>
                    <a:pt x="3028" y="0"/>
                  </a:lnTo>
                  <a:close/>
                </a:path>
              </a:pathLst>
            </a:custGeom>
            <a:solidFill>
              <a:srgbClr val="7FC3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546;p48">
              <a:extLst>
                <a:ext uri="{FF2B5EF4-FFF2-40B4-BE49-F238E27FC236}">
                  <a16:creationId xmlns:a16="http://schemas.microsoft.com/office/drawing/2014/main" id="{3E1D369D-A0F8-4A64-8CFA-8F52F67E2235}"/>
                </a:ext>
              </a:extLst>
            </p:cNvPr>
            <p:cNvSpPr/>
            <p:nvPr/>
          </p:nvSpPr>
          <p:spPr>
            <a:xfrm flipH="1">
              <a:off x="3612965" y="2979464"/>
              <a:ext cx="140984" cy="135273"/>
            </a:xfrm>
            <a:custGeom>
              <a:avLst/>
              <a:gdLst/>
              <a:ahLst/>
              <a:cxnLst/>
              <a:rect l="l" t="t" r="r" b="b"/>
              <a:pathLst>
                <a:path w="9823" h="9425" extrusionOk="0">
                  <a:moveTo>
                    <a:pt x="5025" y="0"/>
                  </a:moveTo>
                  <a:cubicBezTo>
                    <a:pt x="4229" y="0"/>
                    <a:pt x="3479" y="109"/>
                    <a:pt x="2641" y="235"/>
                  </a:cubicBezTo>
                  <a:cubicBezTo>
                    <a:pt x="1972" y="306"/>
                    <a:pt x="1373" y="517"/>
                    <a:pt x="810" y="834"/>
                  </a:cubicBezTo>
                  <a:cubicBezTo>
                    <a:pt x="352" y="1186"/>
                    <a:pt x="106" y="1714"/>
                    <a:pt x="106" y="2312"/>
                  </a:cubicBezTo>
                  <a:cubicBezTo>
                    <a:pt x="0" y="4002"/>
                    <a:pt x="1444" y="5375"/>
                    <a:pt x="1796" y="7030"/>
                  </a:cubicBezTo>
                  <a:cubicBezTo>
                    <a:pt x="1972" y="7875"/>
                    <a:pt x="2148" y="8650"/>
                    <a:pt x="2218" y="9424"/>
                  </a:cubicBezTo>
                  <a:lnTo>
                    <a:pt x="7922" y="9424"/>
                  </a:lnTo>
                  <a:cubicBezTo>
                    <a:pt x="8203" y="8298"/>
                    <a:pt x="8591" y="7206"/>
                    <a:pt x="9119" y="6185"/>
                  </a:cubicBezTo>
                  <a:cubicBezTo>
                    <a:pt x="9823" y="4495"/>
                    <a:pt x="9506" y="2911"/>
                    <a:pt x="9436" y="1080"/>
                  </a:cubicBezTo>
                  <a:cubicBezTo>
                    <a:pt x="7546" y="252"/>
                    <a:pt x="6233" y="0"/>
                    <a:pt x="502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547;p48">
              <a:extLst>
                <a:ext uri="{FF2B5EF4-FFF2-40B4-BE49-F238E27FC236}">
                  <a16:creationId xmlns:a16="http://schemas.microsoft.com/office/drawing/2014/main" id="{120B59EC-05D2-4369-8F30-B14823C5CD91}"/>
                </a:ext>
              </a:extLst>
            </p:cNvPr>
            <p:cNvSpPr/>
            <p:nvPr/>
          </p:nvSpPr>
          <p:spPr>
            <a:xfrm flipH="1">
              <a:off x="3635694" y="3114744"/>
              <a:ext cx="85914" cy="35380"/>
            </a:xfrm>
            <a:custGeom>
              <a:avLst/>
              <a:gdLst/>
              <a:ahLst/>
              <a:cxnLst/>
              <a:rect l="l" t="t" r="r" b="b"/>
              <a:pathLst>
                <a:path w="5986" h="2465" extrusionOk="0">
                  <a:moveTo>
                    <a:pt x="1" y="0"/>
                  </a:moveTo>
                  <a:cubicBezTo>
                    <a:pt x="141" y="810"/>
                    <a:pt x="141" y="1655"/>
                    <a:pt x="1" y="2465"/>
                  </a:cubicBezTo>
                  <a:cubicBezTo>
                    <a:pt x="1409" y="2429"/>
                    <a:pt x="4577" y="2113"/>
                    <a:pt x="5986" y="2077"/>
                  </a:cubicBezTo>
                  <a:cubicBezTo>
                    <a:pt x="5669" y="1444"/>
                    <a:pt x="5563" y="704"/>
                    <a:pt x="56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548;p48">
              <a:extLst>
                <a:ext uri="{FF2B5EF4-FFF2-40B4-BE49-F238E27FC236}">
                  <a16:creationId xmlns:a16="http://schemas.microsoft.com/office/drawing/2014/main" id="{A72F6DED-22D7-463B-85DC-078E9FEFE377}"/>
                </a:ext>
              </a:extLst>
            </p:cNvPr>
            <p:cNvSpPr/>
            <p:nvPr/>
          </p:nvSpPr>
          <p:spPr>
            <a:xfrm flipH="1">
              <a:off x="3717559" y="3287074"/>
              <a:ext cx="97540" cy="100440"/>
            </a:xfrm>
            <a:custGeom>
              <a:avLst/>
              <a:gdLst/>
              <a:ahLst/>
              <a:cxnLst/>
              <a:rect l="l" t="t" r="r" b="b"/>
              <a:pathLst>
                <a:path w="6796" h="6998" extrusionOk="0">
                  <a:moveTo>
                    <a:pt x="6619" y="1"/>
                  </a:moveTo>
                  <a:cubicBezTo>
                    <a:pt x="5669" y="317"/>
                    <a:pt x="4683" y="529"/>
                    <a:pt x="3662" y="564"/>
                  </a:cubicBezTo>
                  <a:cubicBezTo>
                    <a:pt x="3451" y="1937"/>
                    <a:pt x="3239" y="3345"/>
                    <a:pt x="3028" y="4718"/>
                  </a:cubicBezTo>
                  <a:cubicBezTo>
                    <a:pt x="2535" y="5317"/>
                    <a:pt x="1866" y="5774"/>
                    <a:pt x="1162" y="6056"/>
                  </a:cubicBezTo>
                  <a:cubicBezTo>
                    <a:pt x="916" y="6127"/>
                    <a:pt x="669" y="6232"/>
                    <a:pt x="423" y="6338"/>
                  </a:cubicBezTo>
                  <a:cubicBezTo>
                    <a:pt x="176" y="6479"/>
                    <a:pt x="36" y="6690"/>
                    <a:pt x="0" y="6972"/>
                  </a:cubicBezTo>
                  <a:cubicBezTo>
                    <a:pt x="388" y="6989"/>
                    <a:pt x="775" y="6998"/>
                    <a:pt x="1162" y="6998"/>
                  </a:cubicBezTo>
                  <a:cubicBezTo>
                    <a:pt x="1549" y="6998"/>
                    <a:pt x="1937" y="6989"/>
                    <a:pt x="2324" y="6972"/>
                  </a:cubicBezTo>
                  <a:cubicBezTo>
                    <a:pt x="2676" y="6972"/>
                    <a:pt x="3028" y="6901"/>
                    <a:pt x="3345" y="6725"/>
                  </a:cubicBezTo>
                  <a:cubicBezTo>
                    <a:pt x="3458" y="6631"/>
                    <a:pt x="3541" y="6597"/>
                    <a:pt x="3632" y="6597"/>
                  </a:cubicBezTo>
                  <a:cubicBezTo>
                    <a:pt x="3710" y="6597"/>
                    <a:pt x="3794" y="6622"/>
                    <a:pt x="3908" y="6655"/>
                  </a:cubicBezTo>
                  <a:cubicBezTo>
                    <a:pt x="4155" y="6619"/>
                    <a:pt x="4331" y="6549"/>
                    <a:pt x="4542" y="6443"/>
                  </a:cubicBezTo>
                  <a:cubicBezTo>
                    <a:pt x="4648" y="6373"/>
                    <a:pt x="4648" y="6197"/>
                    <a:pt x="4612" y="6056"/>
                  </a:cubicBezTo>
                  <a:cubicBezTo>
                    <a:pt x="4577" y="5915"/>
                    <a:pt x="4542" y="5739"/>
                    <a:pt x="4542" y="5563"/>
                  </a:cubicBezTo>
                  <a:cubicBezTo>
                    <a:pt x="4577" y="4648"/>
                    <a:pt x="5141" y="3803"/>
                    <a:pt x="5633" y="2993"/>
                  </a:cubicBezTo>
                  <a:cubicBezTo>
                    <a:pt x="6197" y="2113"/>
                    <a:pt x="6795" y="1127"/>
                    <a:pt x="6619" y="71"/>
                  </a:cubicBezTo>
                  <a:lnTo>
                    <a:pt x="661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549;p48">
              <a:extLst>
                <a:ext uri="{FF2B5EF4-FFF2-40B4-BE49-F238E27FC236}">
                  <a16:creationId xmlns:a16="http://schemas.microsoft.com/office/drawing/2014/main" id="{5B3574E1-9E3F-42DA-A253-81B62713EEB3}"/>
                </a:ext>
              </a:extLst>
            </p:cNvPr>
            <p:cNvSpPr/>
            <p:nvPr/>
          </p:nvSpPr>
          <p:spPr>
            <a:xfrm flipH="1">
              <a:off x="3573021" y="3290103"/>
              <a:ext cx="65706" cy="96794"/>
            </a:xfrm>
            <a:custGeom>
              <a:avLst/>
              <a:gdLst/>
              <a:ahLst/>
              <a:cxnLst/>
              <a:rect l="l" t="t" r="r" b="b"/>
              <a:pathLst>
                <a:path w="4578" h="6744" extrusionOk="0">
                  <a:moveTo>
                    <a:pt x="106" y="1"/>
                  </a:moveTo>
                  <a:lnTo>
                    <a:pt x="106" y="1"/>
                  </a:lnTo>
                  <a:cubicBezTo>
                    <a:pt x="0" y="987"/>
                    <a:pt x="529" y="1937"/>
                    <a:pt x="1092" y="2782"/>
                  </a:cubicBezTo>
                  <a:cubicBezTo>
                    <a:pt x="1585" y="3451"/>
                    <a:pt x="1937" y="4190"/>
                    <a:pt x="2148" y="5000"/>
                  </a:cubicBezTo>
                  <a:cubicBezTo>
                    <a:pt x="2042" y="5493"/>
                    <a:pt x="1972" y="5986"/>
                    <a:pt x="1937" y="6479"/>
                  </a:cubicBezTo>
                  <a:cubicBezTo>
                    <a:pt x="2268" y="6677"/>
                    <a:pt x="2684" y="6744"/>
                    <a:pt x="3120" y="6744"/>
                  </a:cubicBezTo>
                  <a:cubicBezTo>
                    <a:pt x="3612" y="6744"/>
                    <a:pt x="4129" y="6659"/>
                    <a:pt x="4577" y="6584"/>
                  </a:cubicBezTo>
                  <a:cubicBezTo>
                    <a:pt x="4331" y="6021"/>
                    <a:pt x="4014" y="5317"/>
                    <a:pt x="3732" y="4824"/>
                  </a:cubicBezTo>
                  <a:cubicBezTo>
                    <a:pt x="3521" y="3275"/>
                    <a:pt x="3275" y="1761"/>
                    <a:pt x="3028" y="212"/>
                  </a:cubicBezTo>
                  <a:cubicBezTo>
                    <a:pt x="2042" y="212"/>
                    <a:pt x="1057" y="142"/>
                    <a:pt x="1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550;p48">
              <a:extLst>
                <a:ext uri="{FF2B5EF4-FFF2-40B4-BE49-F238E27FC236}">
                  <a16:creationId xmlns:a16="http://schemas.microsoft.com/office/drawing/2014/main" id="{DE5F5B59-BA45-4796-B8D6-E63BEE79BC9E}"/>
                </a:ext>
              </a:extLst>
            </p:cNvPr>
            <p:cNvSpPr/>
            <p:nvPr/>
          </p:nvSpPr>
          <p:spPr>
            <a:xfrm flipH="1">
              <a:off x="3663988" y="3135960"/>
              <a:ext cx="98042" cy="159185"/>
            </a:xfrm>
            <a:custGeom>
              <a:avLst/>
              <a:gdLst/>
              <a:ahLst/>
              <a:cxnLst/>
              <a:rect l="l" t="t" r="r" b="b"/>
              <a:pathLst>
                <a:path w="6831" h="11091" extrusionOk="0">
                  <a:moveTo>
                    <a:pt x="3133" y="1"/>
                  </a:moveTo>
                  <a:cubicBezTo>
                    <a:pt x="2253" y="881"/>
                    <a:pt x="1620" y="1937"/>
                    <a:pt x="1197" y="3064"/>
                  </a:cubicBezTo>
                  <a:cubicBezTo>
                    <a:pt x="880" y="4296"/>
                    <a:pt x="669" y="5528"/>
                    <a:pt x="634" y="6760"/>
                  </a:cubicBezTo>
                  <a:cubicBezTo>
                    <a:pt x="528" y="7641"/>
                    <a:pt x="387" y="8521"/>
                    <a:pt x="247" y="9401"/>
                  </a:cubicBezTo>
                  <a:lnTo>
                    <a:pt x="0" y="11091"/>
                  </a:lnTo>
                  <a:cubicBezTo>
                    <a:pt x="986" y="11020"/>
                    <a:pt x="1972" y="10844"/>
                    <a:pt x="2922" y="10492"/>
                  </a:cubicBezTo>
                  <a:cubicBezTo>
                    <a:pt x="2817" y="9929"/>
                    <a:pt x="2500" y="9331"/>
                    <a:pt x="2711" y="8767"/>
                  </a:cubicBezTo>
                  <a:cubicBezTo>
                    <a:pt x="2957" y="8169"/>
                    <a:pt x="3345" y="7922"/>
                    <a:pt x="3626" y="7324"/>
                  </a:cubicBezTo>
                  <a:cubicBezTo>
                    <a:pt x="3873" y="6901"/>
                    <a:pt x="4084" y="6479"/>
                    <a:pt x="4260" y="6021"/>
                  </a:cubicBezTo>
                  <a:cubicBezTo>
                    <a:pt x="4436" y="5458"/>
                    <a:pt x="4964" y="5071"/>
                    <a:pt x="5387" y="4613"/>
                  </a:cubicBezTo>
                  <a:cubicBezTo>
                    <a:pt x="6513" y="3381"/>
                    <a:pt x="6830" y="1585"/>
                    <a:pt x="623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551;p48">
              <a:extLst>
                <a:ext uri="{FF2B5EF4-FFF2-40B4-BE49-F238E27FC236}">
                  <a16:creationId xmlns:a16="http://schemas.microsoft.com/office/drawing/2014/main" id="{0EDE85EA-C083-40EA-9BD3-C15AFFBE15BF}"/>
                </a:ext>
              </a:extLst>
            </p:cNvPr>
            <p:cNvSpPr/>
            <p:nvPr/>
          </p:nvSpPr>
          <p:spPr>
            <a:xfrm flipH="1">
              <a:off x="3594757" y="3136477"/>
              <a:ext cx="98544" cy="157161"/>
            </a:xfrm>
            <a:custGeom>
              <a:avLst/>
              <a:gdLst/>
              <a:ahLst/>
              <a:cxnLst/>
              <a:rect l="l" t="t" r="r" b="b"/>
              <a:pathLst>
                <a:path w="6866" h="10950" extrusionOk="0">
                  <a:moveTo>
                    <a:pt x="634" y="0"/>
                  </a:moveTo>
                  <a:cubicBezTo>
                    <a:pt x="0" y="1549"/>
                    <a:pt x="352" y="3345"/>
                    <a:pt x="1479" y="4612"/>
                  </a:cubicBezTo>
                  <a:cubicBezTo>
                    <a:pt x="1901" y="5035"/>
                    <a:pt x="2429" y="5422"/>
                    <a:pt x="2605" y="5985"/>
                  </a:cubicBezTo>
                  <a:cubicBezTo>
                    <a:pt x="2781" y="6443"/>
                    <a:pt x="2993" y="6865"/>
                    <a:pt x="3239" y="7323"/>
                  </a:cubicBezTo>
                  <a:cubicBezTo>
                    <a:pt x="3521" y="7886"/>
                    <a:pt x="3908" y="8133"/>
                    <a:pt x="4155" y="8731"/>
                  </a:cubicBezTo>
                  <a:cubicBezTo>
                    <a:pt x="4401" y="9330"/>
                    <a:pt x="4014" y="9928"/>
                    <a:pt x="3908" y="10562"/>
                  </a:cubicBezTo>
                  <a:lnTo>
                    <a:pt x="3908" y="10738"/>
                  </a:lnTo>
                  <a:cubicBezTo>
                    <a:pt x="4894" y="10844"/>
                    <a:pt x="5880" y="10914"/>
                    <a:pt x="6865" y="10949"/>
                  </a:cubicBezTo>
                  <a:cubicBezTo>
                    <a:pt x="6760" y="10421"/>
                    <a:pt x="6689" y="9893"/>
                    <a:pt x="6619" y="9365"/>
                  </a:cubicBezTo>
                  <a:cubicBezTo>
                    <a:pt x="6478" y="8485"/>
                    <a:pt x="6337" y="7605"/>
                    <a:pt x="6232" y="6724"/>
                  </a:cubicBezTo>
                  <a:cubicBezTo>
                    <a:pt x="6091" y="5492"/>
                    <a:pt x="6056" y="4225"/>
                    <a:pt x="5668" y="3028"/>
                  </a:cubicBezTo>
                  <a:cubicBezTo>
                    <a:pt x="5246" y="1901"/>
                    <a:pt x="4577" y="845"/>
                    <a:pt x="373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552;p48">
              <a:extLst>
                <a:ext uri="{FF2B5EF4-FFF2-40B4-BE49-F238E27FC236}">
                  <a16:creationId xmlns:a16="http://schemas.microsoft.com/office/drawing/2014/main" id="{3B9BDC42-9E86-4A30-94B6-7D094588B9D7}"/>
                </a:ext>
              </a:extLst>
            </p:cNvPr>
            <p:cNvSpPr/>
            <p:nvPr/>
          </p:nvSpPr>
          <p:spPr>
            <a:xfrm flipH="1">
              <a:off x="3738280" y="3062593"/>
              <a:ext cx="36900" cy="38005"/>
            </a:xfrm>
            <a:custGeom>
              <a:avLst/>
              <a:gdLst/>
              <a:ahLst/>
              <a:cxnLst/>
              <a:rect l="l" t="t" r="r" b="b"/>
              <a:pathLst>
                <a:path w="2571" h="2648" extrusionOk="0">
                  <a:moveTo>
                    <a:pt x="1788" y="0"/>
                  </a:moveTo>
                  <a:cubicBezTo>
                    <a:pt x="1444" y="0"/>
                    <a:pt x="1083" y="104"/>
                    <a:pt x="775" y="288"/>
                  </a:cubicBezTo>
                  <a:cubicBezTo>
                    <a:pt x="458" y="500"/>
                    <a:pt x="212" y="817"/>
                    <a:pt x="106" y="1204"/>
                  </a:cubicBezTo>
                  <a:cubicBezTo>
                    <a:pt x="1" y="1450"/>
                    <a:pt x="1" y="1732"/>
                    <a:pt x="106" y="1978"/>
                  </a:cubicBezTo>
                  <a:cubicBezTo>
                    <a:pt x="212" y="2154"/>
                    <a:pt x="353" y="2295"/>
                    <a:pt x="564" y="2366"/>
                  </a:cubicBezTo>
                  <a:cubicBezTo>
                    <a:pt x="963" y="2553"/>
                    <a:pt x="1409" y="2647"/>
                    <a:pt x="1871" y="2647"/>
                  </a:cubicBezTo>
                  <a:cubicBezTo>
                    <a:pt x="2101" y="2647"/>
                    <a:pt x="2336" y="2624"/>
                    <a:pt x="2571" y="2577"/>
                  </a:cubicBezTo>
                  <a:cubicBezTo>
                    <a:pt x="1972" y="1873"/>
                    <a:pt x="1761" y="922"/>
                    <a:pt x="1937" y="7"/>
                  </a:cubicBezTo>
                  <a:cubicBezTo>
                    <a:pt x="1888" y="2"/>
                    <a:pt x="1838" y="0"/>
                    <a:pt x="178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553;p48">
              <a:extLst>
                <a:ext uri="{FF2B5EF4-FFF2-40B4-BE49-F238E27FC236}">
                  <a16:creationId xmlns:a16="http://schemas.microsoft.com/office/drawing/2014/main" id="{FC87CA71-4D7F-4192-81CB-272D4450480D}"/>
                </a:ext>
              </a:extLst>
            </p:cNvPr>
            <p:cNvSpPr/>
            <p:nvPr/>
          </p:nvSpPr>
          <p:spPr>
            <a:xfrm flipH="1">
              <a:off x="3660456" y="3054598"/>
              <a:ext cx="89961" cy="44982"/>
            </a:xfrm>
            <a:custGeom>
              <a:avLst/>
              <a:gdLst/>
              <a:ahLst/>
              <a:cxnLst/>
              <a:rect l="l" t="t" r="r" b="b"/>
              <a:pathLst>
                <a:path w="6268" h="3134" extrusionOk="0">
                  <a:moveTo>
                    <a:pt x="5387" y="1"/>
                  </a:moveTo>
                  <a:cubicBezTo>
                    <a:pt x="3803" y="317"/>
                    <a:pt x="2219" y="493"/>
                    <a:pt x="635" y="529"/>
                  </a:cubicBezTo>
                  <a:lnTo>
                    <a:pt x="212" y="529"/>
                  </a:lnTo>
                  <a:cubicBezTo>
                    <a:pt x="1" y="1444"/>
                    <a:pt x="247" y="2395"/>
                    <a:pt x="811" y="3134"/>
                  </a:cubicBezTo>
                  <a:cubicBezTo>
                    <a:pt x="987" y="3099"/>
                    <a:pt x="1198" y="3064"/>
                    <a:pt x="1374" y="2993"/>
                  </a:cubicBezTo>
                  <a:cubicBezTo>
                    <a:pt x="2184" y="2711"/>
                    <a:pt x="2993" y="2359"/>
                    <a:pt x="3768" y="1972"/>
                  </a:cubicBezTo>
                  <a:cubicBezTo>
                    <a:pt x="4542" y="1550"/>
                    <a:pt x="5387" y="1268"/>
                    <a:pt x="6268" y="1198"/>
                  </a:cubicBezTo>
                  <a:lnTo>
                    <a:pt x="538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554;p48">
              <a:extLst>
                <a:ext uri="{FF2B5EF4-FFF2-40B4-BE49-F238E27FC236}">
                  <a16:creationId xmlns:a16="http://schemas.microsoft.com/office/drawing/2014/main" id="{639D6157-5EF3-42BC-90B5-56C02B355F36}"/>
                </a:ext>
              </a:extLst>
            </p:cNvPr>
            <p:cNvSpPr/>
            <p:nvPr/>
          </p:nvSpPr>
          <p:spPr>
            <a:xfrm flipH="1">
              <a:off x="3634671" y="3051569"/>
              <a:ext cx="54597" cy="25275"/>
            </a:xfrm>
            <a:custGeom>
              <a:avLst/>
              <a:gdLst/>
              <a:ahLst/>
              <a:cxnLst/>
              <a:rect l="l" t="t" r="r" b="b"/>
              <a:pathLst>
                <a:path w="3804" h="1761" extrusionOk="0">
                  <a:moveTo>
                    <a:pt x="1761" y="0"/>
                  </a:moveTo>
                  <a:cubicBezTo>
                    <a:pt x="1233" y="36"/>
                    <a:pt x="740" y="212"/>
                    <a:pt x="282" y="528"/>
                  </a:cubicBezTo>
                  <a:lnTo>
                    <a:pt x="1" y="1338"/>
                  </a:lnTo>
                  <a:lnTo>
                    <a:pt x="3099" y="1761"/>
                  </a:lnTo>
                  <a:cubicBezTo>
                    <a:pt x="3381" y="1479"/>
                    <a:pt x="3592" y="1197"/>
                    <a:pt x="3803" y="880"/>
                  </a:cubicBezTo>
                  <a:cubicBezTo>
                    <a:pt x="3099" y="634"/>
                    <a:pt x="2536" y="36"/>
                    <a:pt x="176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555;p48">
              <a:extLst>
                <a:ext uri="{FF2B5EF4-FFF2-40B4-BE49-F238E27FC236}">
                  <a16:creationId xmlns:a16="http://schemas.microsoft.com/office/drawing/2014/main" id="{8DC5C0B7-9C8A-45CC-B8E9-4FD307F11247}"/>
                </a:ext>
              </a:extLst>
            </p:cNvPr>
            <p:cNvSpPr/>
            <p:nvPr/>
          </p:nvSpPr>
          <p:spPr>
            <a:xfrm flipH="1">
              <a:off x="3657427" y="3039942"/>
              <a:ext cx="89445" cy="49530"/>
            </a:xfrm>
            <a:custGeom>
              <a:avLst/>
              <a:gdLst/>
              <a:ahLst/>
              <a:cxnLst/>
              <a:rect l="l" t="t" r="r" b="b"/>
              <a:pathLst>
                <a:path w="6232" h="3451" extrusionOk="0">
                  <a:moveTo>
                    <a:pt x="1866" y="1"/>
                  </a:moveTo>
                  <a:cubicBezTo>
                    <a:pt x="669" y="71"/>
                    <a:pt x="0" y="1057"/>
                    <a:pt x="106" y="1655"/>
                  </a:cubicBezTo>
                  <a:cubicBezTo>
                    <a:pt x="318" y="1566"/>
                    <a:pt x="438" y="1530"/>
                    <a:pt x="525" y="1530"/>
                  </a:cubicBezTo>
                  <a:cubicBezTo>
                    <a:pt x="714" y="1530"/>
                    <a:pt x="751" y="1698"/>
                    <a:pt x="1232" y="1866"/>
                  </a:cubicBezTo>
                  <a:cubicBezTo>
                    <a:pt x="1250" y="1875"/>
                    <a:pt x="1285" y="1879"/>
                    <a:pt x="1332" y="1879"/>
                  </a:cubicBezTo>
                  <a:cubicBezTo>
                    <a:pt x="1606" y="1879"/>
                    <a:pt x="2306" y="1748"/>
                    <a:pt x="2600" y="1748"/>
                  </a:cubicBezTo>
                  <a:cubicBezTo>
                    <a:pt x="2650" y="1748"/>
                    <a:pt x="2689" y="1752"/>
                    <a:pt x="2711" y="1761"/>
                  </a:cubicBezTo>
                  <a:cubicBezTo>
                    <a:pt x="3310" y="2043"/>
                    <a:pt x="3943" y="2395"/>
                    <a:pt x="4507" y="2747"/>
                  </a:cubicBezTo>
                  <a:cubicBezTo>
                    <a:pt x="4824" y="2958"/>
                    <a:pt x="5105" y="3204"/>
                    <a:pt x="5387" y="3451"/>
                  </a:cubicBezTo>
                  <a:cubicBezTo>
                    <a:pt x="5633" y="2852"/>
                    <a:pt x="5915" y="2289"/>
                    <a:pt x="6232" y="1726"/>
                  </a:cubicBezTo>
                  <a:cubicBezTo>
                    <a:pt x="5563" y="1479"/>
                    <a:pt x="4929" y="1162"/>
                    <a:pt x="4295" y="775"/>
                  </a:cubicBezTo>
                  <a:cubicBezTo>
                    <a:pt x="3591" y="317"/>
                    <a:pt x="2711" y="36"/>
                    <a:pt x="1866"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556;p48">
              <a:extLst>
                <a:ext uri="{FF2B5EF4-FFF2-40B4-BE49-F238E27FC236}">
                  <a16:creationId xmlns:a16="http://schemas.microsoft.com/office/drawing/2014/main" id="{A8A7895E-506D-46D0-813B-12013CC82C36}"/>
                </a:ext>
              </a:extLst>
            </p:cNvPr>
            <p:cNvSpPr/>
            <p:nvPr/>
          </p:nvSpPr>
          <p:spPr>
            <a:xfrm flipH="1">
              <a:off x="3599304" y="2994595"/>
              <a:ext cx="70255" cy="116629"/>
            </a:xfrm>
            <a:custGeom>
              <a:avLst/>
              <a:gdLst/>
              <a:ahLst/>
              <a:cxnLst/>
              <a:rect l="l" t="t" r="r" b="b"/>
              <a:pathLst>
                <a:path w="4895" h="8126" extrusionOk="0">
                  <a:moveTo>
                    <a:pt x="3317" y="0"/>
                  </a:moveTo>
                  <a:cubicBezTo>
                    <a:pt x="3107" y="0"/>
                    <a:pt x="2907" y="86"/>
                    <a:pt x="2747" y="273"/>
                  </a:cubicBezTo>
                  <a:cubicBezTo>
                    <a:pt x="2184" y="836"/>
                    <a:pt x="2219" y="1646"/>
                    <a:pt x="2360" y="2385"/>
                  </a:cubicBezTo>
                  <a:cubicBezTo>
                    <a:pt x="2008" y="2667"/>
                    <a:pt x="1832" y="3054"/>
                    <a:pt x="1796" y="3476"/>
                  </a:cubicBezTo>
                  <a:lnTo>
                    <a:pt x="1444" y="5131"/>
                  </a:lnTo>
                  <a:lnTo>
                    <a:pt x="846" y="4885"/>
                  </a:lnTo>
                  <a:cubicBezTo>
                    <a:pt x="529" y="5448"/>
                    <a:pt x="212" y="6011"/>
                    <a:pt x="1" y="6610"/>
                  </a:cubicBezTo>
                  <a:cubicBezTo>
                    <a:pt x="494" y="7032"/>
                    <a:pt x="881" y="7455"/>
                    <a:pt x="1339" y="7877"/>
                  </a:cubicBezTo>
                  <a:cubicBezTo>
                    <a:pt x="1536" y="8046"/>
                    <a:pt x="1767" y="8125"/>
                    <a:pt x="1991" y="8125"/>
                  </a:cubicBezTo>
                  <a:cubicBezTo>
                    <a:pt x="2327" y="8125"/>
                    <a:pt x="2648" y="7948"/>
                    <a:pt x="2817" y="7631"/>
                  </a:cubicBezTo>
                  <a:cubicBezTo>
                    <a:pt x="3134" y="6997"/>
                    <a:pt x="3522" y="6399"/>
                    <a:pt x="3874" y="5765"/>
                  </a:cubicBezTo>
                  <a:cubicBezTo>
                    <a:pt x="4472" y="4849"/>
                    <a:pt x="4824" y="3758"/>
                    <a:pt x="4895" y="2667"/>
                  </a:cubicBezTo>
                  <a:cubicBezTo>
                    <a:pt x="4895" y="2033"/>
                    <a:pt x="4719" y="1399"/>
                    <a:pt x="4366" y="871"/>
                  </a:cubicBezTo>
                  <a:cubicBezTo>
                    <a:pt x="4190" y="589"/>
                    <a:pt x="3944" y="343"/>
                    <a:pt x="3698" y="167"/>
                  </a:cubicBezTo>
                  <a:cubicBezTo>
                    <a:pt x="3662" y="97"/>
                    <a:pt x="3592" y="61"/>
                    <a:pt x="3522" y="26"/>
                  </a:cubicBezTo>
                  <a:cubicBezTo>
                    <a:pt x="3453" y="9"/>
                    <a:pt x="3385" y="0"/>
                    <a:pt x="331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557;p48">
              <a:extLst>
                <a:ext uri="{FF2B5EF4-FFF2-40B4-BE49-F238E27FC236}">
                  <a16:creationId xmlns:a16="http://schemas.microsoft.com/office/drawing/2014/main" id="{17F9BC50-C9EB-4422-8BBB-36FE8D419F13}"/>
                </a:ext>
              </a:extLst>
            </p:cNvPr>
            <p:cNvSpPr/>
            <p:nvPr/>
          </p:nvSpPr>
          <p:spPr>
            <a:xfrm flipH="1">
              <a:off x="3639728" y="2913849"/>
              <a:ext cx="86431" cy="116486"/>
            </a:xfrm>
            <a:custGeom>
              <a:avLst/>
              <a:gdLst/>
              <a:ahLst/>
              <a:cxnLst/>
              <a:rect l="l" t="t" r="r" b="b"/>
              <a:pathLst>
                <a:path w="6022" h="8116" extrusionOk="0">
                  <a:moveTo>
                    <a:pt x="2113" y="0"/>
                  </a:moveTo>
                  <a:cubicBezTo>
                    <a:pt x="1937" y="0"/>
                    <a:pt x="1761" y="18"/>
                    <a:pt x="1585" y="53"/>
                  </a:cubicBezTo>
                  <a:cubicBezTo>
                    <a:pt x="1163" y="265"/>
                    <a:pt x="881" y="617"/>
                    <a:pt x="775" y="1074"/>
                  </a:cubicBezTo>
                  <a:cubicBezTo>
                    <a:pt x="705" y="1497"/>
                    <a:pt x="670" y="1954"/>
                    <a:pt x="740" y="2377"/>
                  </a:cubicBezTo>
                  <a:cubicBezTo>
                    <a:pt x="775" y="3468"/>
                    <a:pt x="670" y="4630"/>
                    <a:pt x="1" y="5475"/>
                  </a:cubicBezTo>
                  <a:cubicBezTo>
                    <a:pt x="916" y="6074"/>
                    <a:pt x="1198" y="7271"/>
                    <a:pt x="1937" y="8116"/>
                  </a:cubicBezTo>
                  <a:cubicBezTo>
                    <a:pt x="3064" y="6848"/>
                    <a:pt x="4437" y="5862"/>
                    <a:pt x="6021" y="5264"/>
                  </a:cubicBezTo>
                  <a:cubicBezTo>
                    <a:pt x="5458" y="4841"/>
                    <a:pt x="5070" y="4243"/>
                    <a:pt x="4894" y="3574"/>
                  </a:cubicBezTo>
                  <a:cubicBezTo>
                    <a:pt x="4683" y="2940"/>
                    <a:pt x="4578" y="2271"/>
                    <a:pt x="4402" y="1602"/>
                  </a:cubicBezTo>
                  <a:cubicBezTo>
                    <a:pt x="4296" y="1180"/>
                    <a:pt x="4049" y="793"/>
                    <a:pt x="3733" y="476"/>
                  </a:cubicBezTo>
                  <a:cubicBezTo>
                    <a:pt x="3416" y="265"/>
                    <a:pt x="3028" y="124"/>
                    <a:pt x="2641" y="53"/>
                  </a:cubicBezTo>
                  <a:cubicBezTo>
                    <a:pt x="2465" y="18"/>
                    <a:pt x="2289" y="0"/>
                    <a:pt x="2113"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558;p48">
              <a:extLst>
                <a:ext uri="{FF2B5EF4-FFF2-40B4-BE49-F238E27FC236}">
                  <a16:creationId xmlns:a16="http://schemas.microsoft.com/office/drawing/2014/main" id="{5B187522-A602-43D6-AA3B-F8EA0F4F79A3}"/>
                </a:ext>
              </a:extLst>
            </p:cNvPr>
            <p:cNvSpPr/>
            <p:nvPr/>
          </p:nvSpPr>
          <p:spPr>
            <a:xfrm flipH="1">
              <a:off x="3673082" y="2957057"/>
              <a:ext cx="37403" cy="25978"/>
            </a:xfrm>
            <a:custGeom>
              <a:avLst/>
              <a:gdLst/>
              <a:ahLst/>
              <a:cxnLst/>
              <a:rect l="l" t="t" r="r" b="b"/>
              <a:pathLst>
                <a:path w="2606" h="1810" extrusionOk="0">
                  <a:moveTo>
                    <a:pt x="2605" y="1"/>
                  </a:moveTo>
                  <a:cubicBezTo>
                    <a:pt x="2140" y="223"/>
                    <a:pt x="1629" y="341"/>
                    <a:pt x="1117" y="341"/>
                  </a:cubicBezTo>
                  <a:cubicBezTo>
                    <a:pt x="738" y="341"/>
                    <a:pt x="360" y="276"/>
                    <a:pt x="0" y="141"/>
                  </a:cubicBezTo>
                  <a:lnTo>
                    <a:pt x="0" y="141"/>
                  </a:lnTo>
                  <a:cubicBezTo>
                    <a:pt x="0" y="388"/>
                    <a:pt x="0" y="670"/>
                    <a:pt x="71" y="916"/>
                  </a:cubicBezTo>
                  <a:cubicBezTo>
                    <a:pt x="106" y="1162"/>
                    <a:pt x="247" y="1409"/>
                    <a:pt x="458" y="1550"/>
                  </a:cubicBezTo>
                  <a:cubicBezTo>
                    <a:pt x="764" y="1703"/>
                    <a:pt x="1124" y="1803"/>
                    <a:pt x="1491" y="1803"/>
                  </a:cubicBezTo>
                  <a:cubicBezTo>
                    <a:pt x="1546" y="1803"/>
                    <a:pt x="1600" y="1801"/>
                    <a:pt x="1655" y="1796"/>
                  </a:cubicBezTo>
                  <a:cubicBezTo>
                    <a:pt x="1699" y="1805"/>
                    <a:pt x="1745" y="1809"/>
                    <a:pt x="1792" y="1809"/>
                  </a:cubicBezTo>
                  <a:cubicBezTo>
                    <a:pt x="1934" y="1809"/>
                    <a:pt x="2086" y="1770"/>
                    <a:pt x="2218" y="1691"/>
                  </a:cubicBezTo>
                  <a:cubicBezTo>
                    <a:pt x="2324" y="1585"/>
                    <a:pt x="2359" y="1479"/>
                    <a:pt x="2394" y="1339"/>
                  </a:cubicBezTo>
                  <a:cubicBezTo>
                    <a:pt x="2535" y="881"/>
                    <a:pt x="2605" y="423"/>
                    <a:pt x="260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559;p48">
              <a:extLst>
                <a:ext uri="{FF2B5EF4-FFF2-40B4-BE49-F238E27FC236}">
                  <a16:creationId xmlns:a16="http://schemas.microsoft.com/office/drawing/2014/main" id="{EA9905C5-5AC3-4737-84BE-2910BF492F35}"/>
                </a:ext>
              </a:extLst>
            </p:cNvPr>
            <p:cNvSpPr/>
            <p:nvPr/>
          </p:nvSpPr>
          <p:spPr>
            <a:xfrm flipH="1">
              <a:off x="3670557" y="2936113"/>
              <a:ext cx="46502" cy="17266"/>
            </a:xfrm>
            <a:custGeom>
              <a:avLst/>
              <a:gdLst/>
              <a:ahLst/>
              <a:cxnLst/>
              <a:rect l="l" t="t" r="r" b="b"/>
              <a:pathLst>
                <a:path w="3240" h="1203" extrusionOk="0">
                  <a:moveTo>
                    <a:pt x="2571" y="1"/>
                  </a:moveTo>
                  <a:cubicBezTo>
                    <a:pt x="2524" y="1"/>
                    <a:pt x="2477" y="4"/>
                    <a:pt x="2430" y="16"/>
                  </a:cubicBezTo>
                  <a:lnTo>
                    <a:pt x="916" y="51"/>
                  </a:lnTo>
                  <a:cubicBezTo>
                    <a:pt x="740" y="51"/>
                    <a:pt x="529" y="87"/>
                    <a:pt x="353" y="192"/>
                  </a:cubicBezTo>
                  <a:cubicBezTo>
                    <a:pt x="106" y="298"/>
                    <a:pt x="0" y="615"/>
                    <a:pt x="141" y="861"/>
                  </a:cubicBezTo>
                  <a:cubicBezTo>
                    <a:pt x="282" y="1037"/>
                    <a:pt x="493" y="1143"/>
                    <a:pt x="705" y="1143"/>
                  </a:cubicBezTo>
                  <a:cubicBezTo>
                    <a:pt x="929" y="1182"/>
                    <a:pt x="1158" y="1202"/>
                    <a:pt x="1391" y="1202"/>
                  </a:cubicBezTo>
                  <a:cubicBezTo>
                    <a:pt x="1778" y="1202"/>
                    <a:pt x="2174" y="1147"/>
                    <a:pt x="2571" y="1037"/>
                  </a:cubicBezTo>
                  <a:cubicBezTo>
                    <a:pt x="2747" y="1002"/>
                    <a:pt x="2923" y="896"/>
                    <a:pt x="3063" y="791"/>
                  </a:cubicBezTo>
                  <a:cubicBezTo>
                    <a:pt x="3169" y="650"/>
                    <a:pt x="3239" y="439"/>
                    <a:pt x="3169" y="263"/>
                  </a:cubicBezTo>
                  <a:cubicBezTo>
                    <a:pt x="3099" y="157"/>
                    <a:pt x="2958" y="51"/>
                    <a:pt x="2852" y="16"/>
                  </a:cubicBezTo>
                  <a:cubicBezTo>
                    <a:pt x="2758" y="16"/>
                    <a:pt x="2664" y="1"/>
                    <a:pt x="257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560;p48">
              <a:extLst>
                <a:ext uri="{FF2B5EF4-FFF2-40B4-BE49-F238E27FC236}">
                  <a16:creationId xmlns:a16="http://schemas.microsoft.com/office/drawing/2014/main" id="{850FE867-139A-4A94-A38F-3D9FFBA48FFF}"/>
                </a:ext>
              </a:extLst>
            </p:cNvPr>
            <p:cNvSpPr/>
            <p:nvPr/>
          </p:nvSpPr>
          <p:spPr>
            <a:xfrm flipH="1">
              <a:off x="3640747" y="3114744"/>
              <a:ext cx="81867" cy="7090"/>
            </a:xfrm>
            <a:custGeom>
              <a:avLst/>
              <a:gdLst/>
              <a:ahLst/>
              <a:cxnLst/>
              <a:rect l="l" t="t" r="r" b="b"/>
              <a:pathLst>
                <a:path w="5704" h="494" extrusionOk="0">
                  <a:moveTo>
                    <a:pt x="0" y="0"/>
                  </a:moveTo>
                  <a:lnTo>
                    <a:pt x="0" y="493"/>
                  </a:lnTo>
                  <a:lnTo>
                    <a:pt x="5704" y="493"/>
                  </a:lnTo>
                  <a:lnTo>
                    <a:pt x="57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561;p48">
              <a:extLst>
                <a:ext uri="{FF2B5EF4-FFF2-40B4-BE49-F238E27FC236}">
                  <a16:creationId xmlns:a16="http://schemas.microsoft.com/office/drawing/2014/main" id="{1ED964E5-60BD-464A-B628-17DA3A007A33}"/>
                </a:ext>
              </a:extLst>
            </p:cNvPr>
            <p:cNvSpPr/>
            <p:nvPr/>
          </p:nvSpPr>
          <p:spPr>
            <a:xfrm flipH="1">
              <a:off x="3720592" y="2982321"/>
              <a:ext cx="20223" cy="23768"/>
            </a:xfrm>
            <a:custGeom>
              <a:avLst/>
              <a:gdLst/>
              <a:ahLst/>
              <a:cxnLst/>
              <a:rect l="l" t="t" r="r" b="b"/>
              <a:pathLst>
                <a:path w="1409" h="1656" extrusionOk="0">
                  <a:moveTo>
                    <a:pt x="1409" y="1"/>
                  </a:moveTo>
                  <a:lnTo>
                    <a:pt x="36" y="423"/>
                  </a:lnTo>
                  <a:cubicBezTo>
                    <a:pt x="1" y="881"/>
                    <a:pt x="212" y="1339"/>
                    <a:pt x="529" y="1656"/>
                  </a:cubicBezTo>
                  <a:lnTo>
                    <a:pt x="14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562;p48">
              <a:extLst>
                <a:ext uri="{FF2B5EF4-FFF2-40B4-BE49-F238E27FC236}">
                  <a16:creationId xmlns:a16="http://schemas.microsoft.com/office/drawing/2014/main" id="{5A04DC90-D9A2-4CDE-A8D6-35AE0A9C67D2}"/>
                </a:ext>
              </a:extLst>
            </p:cNvPr>
            <p:cNvSpPr/>
            <p:nvPr/>
          </p:nvSpPr>
          <p:spPr>
            <a:xfrm flipH="1">
              <a:off x="3627089" y="2982838"/>
              <a:ext cx="31346" cy="26796"/>
            </a:xfrm>
            <a:custGeom>
              <a:avLst/>
              <a:gdLst/>
              <a:ahLst/>
              <a:cxnLst/>
              <a:rect l="l" t="t" r="r" b="b"/>
              <a:pathLst>
                <a:path w="2184" h="1867" extrusionOk="0">
                  <a:moveTo>
                    <a:pt x="705" y="0"/>
                  </a:moveTo>
                  <a:cubicBezTo>
                    <a:pt x="352" y="599"/>
                    <a:pt x="141" y="1197"/>
                    <a:pt x="0" y="1866"/>
                  </a:cubicBezTo>
                  <a:cubicBezTo>
                    <a:pt x="669" y="1338"/>
                    <a:pt x="1409" y="916"/>
                    <a:pt x="2183" y="599"/>
                  </a:cubicBezTo>
                  <a:cubicBezTo>
                    <a:pt x="1690" y="387"/>
                    <a:pt x="1197" y="176"/>
                    <a:pt x="70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563;p48">
              <a:extLst>
                <a:ext uri="{FF2B5EF4-FFF2-40B4-BE49-F238E27FC236}">
                  <a16:creationId xmlns:a16="http://schemas.microsoft.com/office/drawing/2014/main" id="{7287402D-63D4-4831-BF23-30E564A780EA}"/>
                </a:ext>
              </a:extLst>
            </p:cNvPr>
            <p:cNvSpPr/>
            <p:nvPr/>
          </p:nvSpPr>
          <p:spPr>
            <a:xfrm flipH="1">
              <a:off x="3557896" y="4147744"/>
              <a:ext cx="310272" cy="152611"/>
            </a:xfrm>
            <a:custGeom>
              <a:avLst/>
              <a:gdLst/>
              <a:ahLst/>
              <a:cxnLst/>
              <a:rect l="l" t="t" r="r" b="b"/>
              <a:pathLst>
                <a:path w="21618" h="10633" extrusionOk="0">
                  <a:moveTo>
                    <a:pt x="1" y="1"/>
                  </a:moveTo>
                  <a:lnTo>
                    <a:pt x="1" y="10633"/>
                  </a:lnTo>
                  <a:lnTo>
                    <a:pt x="21617" y="10633"/>
                  </a:lnTo>
                  <a:lnTo>
                    <a:pt x="2161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564;p48">
              <a:extLst>
                <a:ext uri="{FF2B5EF4-FFF2-40B4-BE49-F238E27FC236}">
                  <a16:creationId xmlns:a16="http://schemas.microsoft.com/office/drawing/2014/main" id="{28A81409-EAFD-4B61-B1E2-56B8AFBC7662}"/>
                </a:ext>
              </a:extLst>
            </p:cNvPr>
            <p:cNvSpPr/>
            <p:nvPr/>
          </p:nvSpPr>
          <p:spPr>
            <a:xfrm flipH="1">
              <a:off x="3557896" y="4147744"/>
              <a:ext cx="310272" cy="132403"/>
            </a:xfrm>
            <a:custGeom>
              <a:avLst/>
              <a:gdLst/>
              <a:ahLst/>
              <a:cxnLst/>
              <a:rect l="l" t="t" r="r" b="b"/>
              <a:pathLst>
                <a:path w="21618" h="9225" extrusionOk="0">
                  <a:moveTo>
                    <a:pt x="1" y="1"/>
                  </a:moveTo>
                  <a:lnTo>
                    <a:pt x="1" y="9225"/>
                  </a:lnTo>
                  <a:lnTo>
                    <a:pt x="21617" y="9225"/>
                  </a:lnTo>
                  <a:lnTo>
                    <a:pt x="2161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565;p48">
              <a:extLst>
                <a:ext uri="{FF2B5EF4-FFF2-40B4-BE49-F238E27FC236}">
                  <a16:creationId xmlns:a16="http://schemas.microsoft.com/office/drawing/2014/main" id="{1FA43CC3-F7DB-4294-BBDF-857A9024907C}"/>
                </a:ext>
              </a:extLst>
            </p:cNvPr>
            <p:cNvSpPr/>
            <p:nvPr/>
          </p:nvSpPr>
          <p:spPr>
            <a:xfrm flipH="1">
              <a:off x="3826719" y="4147744"/>
              <a:ext cx="41450" cy="132403"/>
            </a:xfrm>
            <a:custGeom>
              <a:avLst/>
              <a:gdLst/>
              <a:ahLst/>
              <a:cxnLst/>
              <a:rect l="l" t="t" r="r" b="b"/>
              <a:pathLst>
                <a:path w="2888" h="9225" extrusionOk="0">
                  <a:moveTo>
                    <a:pt x="1" y="1"/>
                  </a:moveTo>
                  <a:lnTo>
                    <a:pt x="1" y="9225"/>
                  </a:lnTo>
                  <a:lnTo>
                    <a:pt x="2888" y="9225"/>
                  </a:lnTo>
                  <a:lnTo>
                    <a:pt x="288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566;p48">
              <a:extLst>
                <a:ext uri="{FF2B5EF4-FFF2-40B4-BE49-F238E27FC236}">
                  <a16:creationId xmlns:a16="http://schemas.microsoft.com/office/drawing/2014/main" id="{651850AE-EA4D-4D8D-921E-C64A5829D65C}"/>
                </a:ext>
              </a:extLst>
            </p:cNvPr>
            <p:cNvSpPr/>
            <p:nvPr/>
          </p:nvSpPr>
          <p:spPr>
            <a:xfrm flipH="1">
              <a:off x="3743839" y="4166952"/>
              <a:ext cx="69236" cy="68734"/>
            </a:xfrm>
            <a:custGeom>
              <a:avLst/>
              <a:gdLst/>
              <a:ahLst/>
              <a:cxnLst/>
              <a:rect l="l" t="t" r="r" b="b"/>
              <a:pathLst>
                <a:path w="4824" h="4789" extrusionOk="0">
                  <a:moveTo>
                    <a:pt x="2429" y="0"/>
                  </a:moveTo>
                  <a:cubicBezTo>
                    <a:pt x="1092" y="0"/>
                    <a:pt x="0" y="1092"/>
                    <a:pt x="0" y="2394"/>
                  </a:cubicBezTo>
                  <a:cubicBezTo>
                    <a:pt x="0" y="3732"/>
                    <a:pt x="1092" y="4788"/>
                    <a:pt x="2429" y="4788"/>
                  </a:cubicBezTo>
                  <a:cubicBezTo>
                    <a:pt x="3767" y="4788"/>
                    <a:pt x="4823" y="3732"/>
                    <a:pt x="4823" y="2394"/>
                  </a:cubicBezTo>
                  <a:cubicBezTo>
                    <a:pt x="4823" y="1092"/>
                    <a:pt x="3767" y="0"/>
                    <a:pt x="242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567;p48">
              <a:extLst>
                <a:ext uri="{FF2B5EF4-FFF2-40B4-BE49-F238E27FC236}">
                  <a16:creationId xmlns:a16="http://schemas.microsoft.com/office/drawing/2014/main" id="{95F7730B-6156-4F45-9124-8733E3521D7E}"/>
                </a:ext>
              </a:extLst>
            </p:cNvPr>
            <p:cNvSpPr/>
            <p:nvPr/>
          </p:nvSpPr>
          <p:spPr>
            <a:xfrm flipH="1">
              <a:off x="3733735" y="4167440"/>
              <a:ext cx="80718" cy="68864"/>
            </a:xfrm>
            <a:custGeom>
              <a:avLst/>
              <a:gdLst/>
              <a:ahLst/>
              <a:cxnLst/>
              <a:rect l="l" t="t" r="r" b="b"/>
              <a:pathLst>
                <a:path w="5624" h="4798" extrusionOk="0">
                  <a:moveTo>
                    <a:pt x="3291" y="1"/>
                  </a:moveTo>
                  <a:cubicBezTo>
                    <a:pt x="3270" y="1"/>
                    <a:pt x="3250" y="1"/>
                    <a:pt x="3230" y="2"/>
                  </a:cubicBezTo>
                  <a:cubicBezTo>
                    <a:pt x="3215" y="1"/>
                    <a:pt x="3201" y="1"/>
                    <a:pt x="3187" y="1"/>
                  </a:cubicBezTo>
                  <a:cubicBezTo>
                    <a:pt x="1067" y="1"/>
                    <a:pt x="1" y="2582"/>
                    <a:pt x="1504" y="4086"/>
                  </a:cubicBezTo>
                  <a:cubicBezTo>
                    <a:pt x="1996" y="4577"/>
                    <a:pt x="2603" y="4798"/>
                    <a:pt x="3199" y="4798"/>
                  </a:cubicBezTo>
                  <a:cubicBezTo>
                    <a:pt x="4436" y="4798"/>
                    <a:pt x="5624" y="3846"/>
                    <a:pt x="5624" y="2396"/>
                  </a:cubicBezTo>
                  <a:cubicBezTo>
                    <a:pt x="5624" y="1079"/>
                    <a:pt x="4566" y="1"/>
                    <a:pt x="32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568;p48">
              <a:extLst>
                <a:ext uri="{FF2B5EF4-FFF2-40B4-BE49-F238E27FC236}">
                  <a16:creationId xmlns:a16="http://schemas.microsoft.com/office/drawing/2014/main" id="{06839B7F-0430-42ED-9FA1-CAC5917FE33F}"/>
                </a:ext>
              </a:extLst>
            </p:cNvPr>
            <p:cNvSpPr/>
            <p:nvPr/>
          </p:nvSpPr>
          <p:spPr>
            <a:xfrm flipH="1">
              <a:off x="3504333" y="4294307"/>
              <a:ext cx="363835" cy="155654"/>
            </a:xfrm>
            <a:custGeom>
              <a:avLst/>
              <a:gdLst/>
              <a:ahLst/>
              <a:cxnLst/>
              <a:rect l="l" t="t" r="r" b="b"/>
              <a:pathLst>
                <a:path w="25350" h="10845" extrusionOk="0">
                  <a:moveTo>
                    <a:pt x="1" y="0"/>
                  </a:moveTo>
                  <a:lnTo>
                    <a:pt x="1" y="10844"/>
                  </a:lnTo>
                  <a:lnTo>
                    <a:pt x="25349" y="10844"/>
                  </a:lnTo>
                  <a:lnTo>
                    <a:pt x="2534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569;p48">
              <a:extLst>
                <a:ext uri="{FF2B5EF4-FFF2-40B4-BE49-F238E27FC236}">
                  <a16:creationId xmlns:a16="http://schemas.microsoft.com/office/drawing/2014/main" id="{1681394F-36D3-425A-A0C6-19A20EE3FE5A}"/>
                </a:ext>
              </a:extLst>
            </p:cNvPr>
            <p:cNvSpPr/>
            <p:nvPr/>
          </p:nvSpPr>
          <p:spPr>
            <a:xfrm flipH="1">
              <a:off x="3819642" y="4294307"/>
              <a:ext cx="48526" cy="155654"/>
            </a:xfrm>
            <a:custGeom>
              <a:avLst/>
              <a:gdLst/>
              <a:ahLst/>
              <a:cxnLst/>
              <a:rect l="l" t="t" r="r" b="b"/>
              <a:pathLst>
                <a:path w="3381" h="10845" extrusionOk="0">
                  <a:moveTo>
                    <a:pt x="1" y="0"/>
                  </a:moveTo>
                  <a:lnTo>
                    <a:pt x="1" y="10844"/>
                  </a:lnTo>
                  <a:lnTo>
                    <a:pt x="3381" y="10844"/>
                  </a:lnTo>
                  <a:lnTo>
                    <a:pt x="338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570;p48">
              <a:extLst>
                <a:ext uri="{FF2B5EF4-FFF2-40B4-BE49-F238E27FC236}">
                  <a16:creationId xmlns:a16="http://schemas.microsoft.com/office/drawing/2014/main" id="{C2CED2EA-2A36-411D-A339-B61CF055F163}"/>
                </a:ext>
              </a:extLst>
            </p:cNvPr>
            <p:cNvSpPr/>
            <p:nvPr/>
          </p:nvSpPr>
          <p:spPr>
            <a:xfrm flipH="1">
              <a:off x="3759494" y="4319070"/>
              <a:ext cx="32365" cy="32352"/>
            </a:xfrm>
            <a:custGeom>
              <a:avLst/>
              <a:gdLst/>
              <a:ahLst/>
              <a:cxnLst/>
              <a:rect l="l" t="t" r="r" b="b"/>
              <a:pathLst>
                <a:path w="2255" h="2254" extrusionOk="0">
                  <a:moveTo>
                    <a:pt x="1127" y="1"/>
                  </a:moveTo>
                  <a:cubicBezTo>
                    <a:pt x="494" y="1"/>
                    <a:pt x="1" y="493"/>
                    <a:pt x="1" y="1127"/>
                  </a:cubicBezTo>
                  <a:cubicBezTo>
                    <a:pt x="1" y="1761"/>
                    <a:pt x="494" y="2254"/>
                    <a:pt x="1127" y="2254"/>
                  </a:cubicBezTo>
                  <a:cubicBezTo>
                    <a:pt x="1761" y="2254"/>
                    <a:pt x="2254" y="1761"/>
                    <a:pt x="2254" y="1127"/>
                  </a:cubicBezTo>
                  <a:cubicBezTo>
                    <a:pt x="2254" y="493"/>
                    <a:pt x="1761"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571;p48">
              <a:extLst>
                <a:ext uri="{FF2B5EF4-FFF2-40B4-BE49-F238E27FC236}">
                  <a16:creationId xmlns:a16="http://schemas.microsoft.com/office/drawing/2014/main" id="{C10E3233-4180-4AC0-B4C9-C5E28FD03C85}"/>
                </a:ext>
              </a:extLst>
            </p:cNvPr>
            <p:cNvSpPr/>
            <p:nvPr/>
          </p:nvSpPr>
          <p:spPr>
            <a:xfrm flipH="1">
              <a:off x="3751915" y="4319070"/>
              <a:ext cx="32867" cy="32352"/>
            </a:xfrm>
            <a:custGeom>
              <a:avLst/>
              <a:gdLst/>
              <a:ahLst/>
              <a:cxnLst/>
              <a:rect l="l" t="t" r="r" b="b"/>
              <a:pathLst>
                <a:path w="2290" h="2254" extrusionOk="0">
                  <a:moveTo>
                    <a:pt x="1163" y="1"/>
                  </a:moveTo>
                  <a:cubicBezTo>
                    <a:pt x="529" y="1"/>
                    <a:pt x="1" y="493"/>
                    <a:pt x="1" y="1127"/>
                  </a:cubicBezTo>
                  <a:cubicBezTo>
                    <a:pt x="1" y="1761"/>
                    <a:pt x="529" y="2254"/>
                    <a:pt x="1163" y="2254"/>
                  </a:cubicBezTo>
                  <a:cubicBezTo>
                    <a:pt x="1761" y="2254"/>
                    <a:pt x="2289" y="1761"/>
                    <a:pt x="2289" y="1127"/>
                  </a:cubicBezTo>
                  <a:cubicBezTo>
                    <a:pt x="2289" y="493"/>
                    <a:pt x="1761" y="1"/>
                    <a:pt x="11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572;p48">
              <a:extLst>
                <a:ext uri="{FF2B5EF4-FFF2-40B4-BE49-F238E27FC236}">
                  <a16:creationId xmlns:a16="http://schemas.microsoft.com/office/drawing/2014/main" id="{17321DA0-8D72-42DB-B1CB-C1166181A3D2}"/>
                </a:ext>
              </a:extLst>
            </p:cNvPr>
            <p:cNvSpPr/>
            <p:nvPr/>
          </p:nvSpPr>
          <p:spPr>
            <a:xfrm flipH="1">
              <a:off x="3717550" y="4319070"/>
              <a:ext cx="32351" cy="32352"/>
            </a:xfrm>
            <a:custGeom>
              <a:avLst/>
              <a:gdLst/>
              <a:ahLst/>
              <a:cxnLst/>
              <a:rect l="l" t="t" r="r" b="b"/>
              <a:pathLst>
                <a:path w="2254" h="2254" extrusionOk="0">
                  <a:moveTo>
                    <a:pt x="1127" y="1"/>
                  </a:moveTo>
                  <a:cubicBezTo>
                    <a:pt x="493" y="1"/>
                    <a:pt x="0" y="493"/>
                    <a:pt x="0" y="1127"/>
                  </a:cubicBezTo>
                  <a:cubicBezTo>
                    <a:pt x="0" y="1761"/>
                    <a:pt x="493" y="2254"/>
                    <a:pt x="1127" y="2254"/>
                  </a:cubicBezTo>
                  <a:cubicBezTo>
                    <a:pt x="1760" y="2254"/>
                    <a:pt x="2253" y="1761"/>
                    <a:pt x="2253" y="1127"/>
                  </a:cubicBezTo>
                  <a:cubicBezTo>
                    <a:pt x="2253" y="493"/>
                    <a:pt x="1760"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573;p48">
              <a:extLst>
                <a:ext uri="{FF2B5EF4-FFF2-40B4-BE49-F238E27FC236}">
                  <a16:creationId xmlns:a16="http://schemas.microsoft.com/office/drawing/2014/main" id="{81060EC7-FBFF-4D8E-8984-479F25A2F83A}"/>
                </a:ext>
              </a:extLst>
            </p:cNvPr>
            <p:cNvSpPr/>
            <p:nvPr/>
          </p:nvSpPr>
          <p:spPr>
            <a:xfrm flipH="1">
              <a:off x="3710473" y="4319070"/>
              <a:ext cx="32365" cy="32352"/>
            </a:xfrm>
            <a:custGeom>
              <a:avLst/>
              <a:gdLst/>
              <a:ahLst/>
              <a:cxnLst/>
              <a:rect l="l" t="t" r="r" b="b"/>
              <a:pathLst>
                <a:path w="2255" h="2254" extrusionOk="0">
                  <a:moveTo>
                    <a:pt x="1128" y="1"/>
                  </a:moveTo>
                  <a:cubicBezTo>
                    <a:pt x="494" y="1"/>
                    <a:pt x="1" y="493"/>
                    <a:pt x="1" y="1127"/>
                  </a:cubicBezTo>
                  <a:cubicBezTo>
                    <a:pt x="1" y="1761"/>
                    <a:pt x="494" y="2254"/>
                    <a:pt x="1128" y="2254"/>
                  </a:cubicBezTo>
                  <a:cubicBezTo>
                    <a:pt x="1761" y="2254"/>
                    <a:pt x="2254" y="1761"/>
                    <a:pt x="2254" y="1127"/>
                  </a:cubicBezTo>
                  <a:cubicBezTo>
                    <a:pt x="2254" y="493"/>
                    <a:pt x="1761" y="1"/>
                    <a:pt x="112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574;p48">
              <a:extLst>
                <a:ext uri="{FF2B5EF4-FFF2-40B4-BE49-F238E27FC236}">
                  <a16:creationId xmlns:a16="http://schemas.microsoft.com/office/drawing/2014/main" id="{EC71300D-ECC2-4353-AA42-61BD52182B01}"/>
                </a:ext>
              </a:extLst>
            </p:cNvPr>
            <p:cNvSpPr/>
            <p:nvPr/>
          </p:nvSpPr>
          <p:spPr>
            <a:xfrm flipH="1">
              <a:off x="3652865"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575;p48">
              <a:extLst>
                <a:ext uri="{FF2B5EF4-FFF2-40B4-BE49-F238E27FC236}">
                  <a16:creationId xmlns:a16="http://schemas.microsoft.com/office/drawing/2014/main" id="{E8E47F20-B6A3-493C-AC7E-ACCAD92ED793}"/>
                </a:ext>
              </a:extLst>
            </p:cNvPr>
            <p:cNvSpPr/>
            <p:nvPr/>
          </p:nvSpPr>
          <p:spPr>
            <a:xfrm flipH="1">
              <a:off x="3624056" y="4326649"/>
              <a:ext cx="7592" cy="106138"/>
            </a:xfrm>
            <a:custGeom>
              <a:avLst/>
              <a:gdLst/>
              <a:ahLst/>
              <a:cxnLst/>
              <a:rect l="l" t="t" r="r" b="b"/>
              <a:pathLst>
                <a:path w="529" h="7395" extrusionOk="0">
                  <a:moveTo>
                    <a:pt x="282" y="1"/>
                  </a:moveTo>
                  <a:cubicBezTo>
                    <a:pt x="141" y="1"/>
                    <a:pt x="0" y="106"/>
                    <a:pt x="36" y="247"/>
                  </a:cubicBezTo>
                  <a:lnTo>
                    <a:pt x="36" y="7148"/>
                  </a:lnTo>
                  <a:cubicBezTo>
                    <a:pt x="0" y="7253"/>
                    <a:pt x="141" y="7394"/>
                    <a:pt x="282" y="7394"/>
                  </a:cubicBezTo>
                  <a:cubicBezTo>
                    <a:pt x="388" y="7394"/>
                    <a:pt x="528" y="7253"/>
                    <a:pt x="528" y="7148"/>
                  </a:cubicBezTo>
                  <a:lnTo>
                    <a:pt x="528" y="247"/>
                  </a:lnTo>
                  <a:cubicBezTo>
                    <a:pt x="528" y="106"/>
                    <a:pt x="388" y="1"/>
                    <a:pt x="28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576;p48">
              <a:extLst>
                <a:ext uri="{FF2B5EF4-FFF2-40B4-BE49-F238E27FC236}">
                  <a16:creationId xmlns:a16="http://schemas.microsoft.com/office/drawing/2014/main" id="{0CFD9506-C528-408C-BE70-5D693B370503}"/>
                </a:ext>
              </a:extLst>
            </p:cNvPr>
            <p:cNvSpPr/>
            <p:nvPr/>
          </p:nvSpPr>
          <p:spPr>
            <a:xfrm flipH="1">
              <a:off x="3595748" y="4326649"/>
              <a:ext cx="7090" cy="106138"/>
            </a:xfrm>
            <a:custGeom>
              <a:avLst/>
              <a:gdLst/>
              <a:ahLst/>
              <a:cxnLst/>
              <a:rect l="l" t="t" r="r" b="b"/>
              <a:pathLst>
                <a:path w="494" h="7395" extrusionOk="0">
                  <a:moveTo>
                    <a:pt x="247" y="1"/>
                  </a:moveTo>
                  <a:cubicBezTo>
                    <a:pt x="106" y="1"/>
                    <a:pt x="0" y="106"/>
                    <a:pt x="0" y="247"/>
                  </a:cubicBezTo>
                  <a:lnTo>
                    <a:pt x="0" y="7148"/>
                  </a:lnTo>
                  <a:cubicBezTo>
                    <a:pt x="0" y="7253"/>
                    <a:pt x="106" y="7394"/>
                    <a:pt x="247" y="7394"/>
                  </a:cubicBezTo>
                  <a:cubicBezTo>
                    <a:pt x="387" y="7394"/>
                    <a:pt x="493" y="7253"/>
                    <a:pt x="493" y="7148"/>
                  </a:cubicBezTo>
                  <a:lnTo>
                    <a:pt x="493" y="247"/>
                  </a:lnTo>
                  <a:cubicBezTo>
                    <a:pt x="493" y="106"/>
                    <a:pt x="387"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577;p48">
              <a:extLst>
                <a:ext uri="{FF2B5EF4-FFF2-40B4-BE49-F238E27FC236}">
                  <a16:creationId xmlns:a16="http://schemas.microsoft.com/office/drawing/2014/main" id="{18532A95-EF86-49C9-9759-56D7372F3B7A}"/>
                </a:ext>
              </a:extLst>
            </p:cNvPr>
            <p:cNvSpPr/>
            <p:nvPr/>
          </p:nvSpPr>
          <p:spPr>
            <a:xfrm flipH="1">
              <a:off x="3566953" y="4326649"/>
              <a:ext cx="7090" cy="106138"/>
            </a:xfrm>
            <a:custGeom>
              <a:avLst/>
              <a:gdLst/>
              <a:ahLst/>
              <a:cxnLst/>
              <a:rect l="l" t="t" r="r" b="b"/>
              <a:pathLst>
                <a:path w="494" h="7395" extrusionOk="0">
                  <a:moveTo>
                    <a:pt x="247" y="1"/>
                  </a:moveTo>
                  <a:cubicBezTo>
                    <a:pt x="107" y="1"/>
                    <a:pt x="1" y="106"/>
                    <a:pt x="1" y="247"/>
                  </a:cubicBezTo>
                  <a:lnTo>
                    <a:pt x="1" y="7148"/>
                  </a:lnTo>
                  <a:cubicBezTo>
                    <a:pt x="1" y="7253"/>
                    <a:pt x="107"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578;p48">
              <a:extLst>
                <a:ext uri="{FF2B5EF4-FFF2-40B4-BE49-F238E27FC236}">
                  <a16:creationId xmlns:a16="http://schemas.microsoft.com/office/drawing/2014/main" id="{FC688A96-52EA-4C38-9193-152AAB8CFB82}"/>
                </a:ext>
              </a:extLst>
            </p:cNvPr>
            <p:cNvSpPr/>
            <p:nvPr/>
          </p:nvSpPr>
          <p:spPr>
            <a:xfrm flipH="1">
              <a:off x="3538144"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579;p48">
              <a:extLst>
                <a:ext uri="{FF2B5EF4-FFF2-40B4-BE49-F238E27FC236}">
                  <a16:creationId xmlns:a16="http://schemas.microsoft.com/office/drawing/2014/main" id="{E847D0E2-8717-4630-9EF0-142BC705A1FC}"/>
                </a:ext>
              </a:extLst>
            </p:cNvPr>
            <p:cNvSpPr/>
            <p:nvPr/>
          </p:nvSpPr>
          <p:spPr>
            <a:xfrm flipH="1">
              <a:off x="3515956" y="3692152"/>
              <a:ext cx="342607" cy="229628"/>
            </a:xfrm>
            <a:custGeom>
              <a:avLst/>
              <a:gdLst/>
              <a:ahLst/>
              <a:cxnLst/>
              <a:rect l="l" t="t" r="r" b="b"/>
              <a:pathLst>
                <a:path w="23871" h="15999" extrusionOk="0">
                  <a:moveTo>
                    <a:pt x="19025" y="0"/>
                  </a:moveTo>
                  <a:cubicBezTo>
                    <a:pt x="18795" y="0"/>
                    <a:pt x="18567" y="7"/>
                    <a:pt x="18343" y="17"/>
                  </a:cubicBezTo>
                  <a:cubicBezTo>
                    <a:pt x="12851" y="158"/>
                    <a:pt x="7464" y="1355"/>
                    <a:pt x="2395" y="3503"/>
                  </a:cubicBezTo>
                  <a:cubicBezTo>
                    <a:pt x="1585" y="3820"/>
                    <a:pt x="705" y="4277"/>
                    <a:pt x="317" y="5052"/>
                  </a:cubicBezTo>
                  <a:cubicBezTo>
                    <a:pt x="71" y="5650"/>
                    <a:pt x="1" y="6319"/>
                    <a:pt x="71" y="6953"/>
                  </a:cubicBezTo>
                  <a:lnTo>
                    <a:pt x="212" y="11600"/>
                  </a:lnTo>
                  <a:cubicBezTo>
                    <a:pt x="282" y="13149"/>
                    <a:pt x="494" y="14980"/>
                    <a:pt x="1867" y="15720"/>
                  </a:cubicBezTo>
                  <a:cubicBezTo>
                    <a:pt x="2230" y="15913"/>
                    <a:pt x="2627" y="15999"/>
                    <a:pt x="3031" y="15999"/>
                  </a:cubicBezTo>
                  <a:cubicBezTo>
                    <a:pt x="3802" y="15999"/>
                    <a:pt x="4600" y="15688"/>
                    <a:pt x="5246" y="15227"/>
                  </a:cubicBezTo>
                  <a:cubicBezTo>
                    <a:pt x="6197" y="14522"/>
                    <a:pt x="6866" y="13501"/>
                    <a:pt x="7605" y="12586"/>
                  </a:cubicBezTo>
                  <a:cubicBezTo>
                    <a:pt x="8380" y="11671"/>
                    <a:pt x="9260" y="10755"/>
                    <a:pt x="10422" y="10439"/>
                  </a:cubicBezTo>
                  <a:cubicBezTo>
                    <a:pt x="10741" y="10351"/>
                    <a:pt x="11065" y="10312"/>
                    <a:pt x="11392" y="10312"/>
                  </a:cubicBezTo>
                  <a:cubicBezTo>
                    <a:pt x="12507" y="10312"/>
                    <a:pt x="13647" y="10766"/>
                    <a:pt x="14682" y="11283"/>
                  </a:cubicBezTo>
                  <a:cubicBezTo>
                    <a:pt x="16653" y="12269"/>
                    <a:pt x="18554" y="13431"/>
                    <a:pt x="20315" y="14804"/>
                  </a:cubicBezTo>
                  <a:cubicBezTo>
                    <a:pt x="20862" y="15214"/>
                    <a:pt x="21536" y="15667"/>
                    <a:pt x="22173" y="15667"/>
                  </a:cubicBezTo>
                  <a:cubicBezTo>
                    <a:pt x="22356" y="15667"/>
                    <a:pt x="22536" y="15630"/>
                    <a:pt x="22709" y="15543"/>
                  </a:cubicBezTo>
                  <a:cubicBezTo>
                    <a:pt x="23413" y="15191"/>
                    <a:pt x="23554" y="14311"/>
                    <a:pt x="23589" y="13572"/>
                  </a:cubicBezTo>
                  <a:cubicBezTo>
                    <a:pt x="23835" y="10544"/>
                    <a:pt x="23871" y="7552"/>
                    <a:pt x="23659" y="4559"/>
                  </a:cubicBezTo>
                  <a:cubicBezTo>
                    <a:pt x="23554" y="3362"/>
                    <a:pt x="23413" y="2059"/>
                    <a:pt x="22603" y="1179"/>
                  </a:cubicBezTo>
                  <a:cubicBezTo>
                    <a:pt x="21733" y="219"/>
                    <a:pt x="20351" y="0"/>
                    <a:pt x="190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580;p48">
              <a:extLst>
                <a:ext uri="{FF2B5EF4-FFF2-40B4-BE49-F238E27FC236}">
                  <a16:creationId xmlns:a16="http://schemas.microsoft.com/office/drawing/2014/main" id="{1C1BC995-4669-4B7D-B6B1-7C43D7FC52D0}"/>
                </a:ext>
              </a:extLst>
            </p:cNvPr>
            <p:cNvSpPr/>
            <p:nvPr/>
          </p:nvSpPr>
          <p:spPr>
            <a:xfrm flipH="1">
              <a:off x="3546747" y="3704985"/>
              <a:ext cx="138974" cy="103626"/>
            </a:xfrm>
            <a:custGeom>
              <a:avLst/>
              <a:gdLst/>
              <a:ahLst/>
              <a:cxnLst/>
              <a:rect l="l" t="t" r="r" b="b"/>
              <a:pathLst>
                <a:path w="9683" h="7220" extrusionOk="0">
                  <a:moveTo>
                    <a:pt x="5189" y="1"/>
                  </a:moveTo>
                  <a:cubicBezTo>
                    <a:pt x="4701" y="1"/>
                    <a:pt x="4211" y="71"/>
                    <a:pt x="3732" y="215"/>
                  </a:cubicBezTo>
                  <a:cubicBezTo>
                    <a:pt x="2676" y="532"/>
                    <a:pt x="1690" y="1165"/>
                    <a:pt x="951" y="1975"/>
                  </a:cubicBezTo>
                  <a:cubicBezTo>
                    <a:pt x="388" y="2538"/>
                    <a:pt x="71" y="3243"/>
                    <a:pt x="0" y="4017"/>
                  </a:cubicBezTo>
                  <a:cubicBezTo>
                    <a:pt x="35" y="5003"/>
                    <a:pt x="528" y="5883"/>
                    <a:pt x="1338" y="6376"/>
                  </a:cubicBezTo>
                  <a:cubicBezTo>
                    <a:pt x="2148" y="6869"/>
                    <a:pt x="3098" y="7150"/>
                    <a:pt x="4049" y="7186"/>
                  </a:cubicBezTo>
                  <a:cubicBezTo>
                    <a:pt x="4275" y="7208"/>
                    <a:pt x="4503" y="7220"/>
                    <a:pt x="4731" y="7220"/>
                  </a:cubicBezTo>
                  <a:cubicBezTo>
                    <a:pt x="5568" y="7220"/>
                    <a:pt x="6408" y="7067"/>
                    <a:pt x="7182" y="6763"/>
                  </a:cubicBezTo>
                  <a:cubicBezTo>
                    <a:pt x="8203" y="6376"/>
                    <a:pt x="8978" y="5566"/>
                    <a:pt x="9330" y="4545"/>
                  </a:cubicBezTo>
                  <a:cubicBezTo>
                    <a:pt x="9682" y="3102"/>
                    <a:pt x="9119" y="1623"/>
                    <a:pt x="7887" y="778"/>
                  </a:cubicBezTo>
                  <a:cubicBezTo>
                    <a:pt x="7073" y="267"/>
                    <a:pt x="6137" y="1"/>
                    <a:pt x="5189"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581;p48">
              <a:extLst>
                <a:ext uri="{FF2B5EF4-FFF2-40B4-BE49-F238E27FC236}">
                  <a16:creationId xmlns:a16="http://schemas.microsoft.com/office/drawing/2014/main" id="{DF2FD820-8F1C-422F-B421-EBEF1E8E5D0B}"/>
                </a:ext>
              </a:extLst>
            </p:cNvPr>
            <p:cNvSpPr/>
            <p:nvPr/>
          </p:nvSpPr>
          <p:spPr>
            <a:xfrm flipH="1">
              <a:off x="3754580" y="3741146"/>
              <a:ext cx="97410" cy="87636"/>
            </a:xfrm>
            <a:custGeom>
              <a:avLst/>
              <a:gdLst/>
              <a:ahLst/>
              <a:cxnLst/>
              <a:rect l="l" t="t" r="r" b="b"/>
              <a:pathLst>
                <a:path w="6787" h="6106" extrusionOk="0">
                  <a:moveTo>
                    <a:pt x="3644" y="0"/>
                  </a:moveTo>
                  <a:cubicBezTo>
                    <a:pt x="3262" y="0"/>
                    <a:pt x="2861" y="93"/>
                    <a:pt x="2465" y="301"/>
                  </a:cubicBezTo>
                  <a:cubicBezTo>
                    <a:pt x="1585" y="724"/>
                    <a:pt x="880" y="1428"/>
                    <a:pt x="493" y="2343"/>
                  </a:cubicBezTo>
                  <a:cubicBezTo>
                    <a:pt x="141" y="3012"/>
                    <a:pt x="0" y="3786"/>
                    <a:pt x="106" y="4561"/>
                  </a:cubicBezTo>
                  <a:cubicBezTo>
                    <a:pt x="176" y="5054"/>
                    <a:pt x="493" y="5512"/>
                    <a:pt x="880" y="5793"/>
                  </a:cubicBezTo>
                  <a:cubicBezTo>
                    <a:pt x="1207" y="6017"/>
                    <a:pt x="1584" y="6106"/>
                    <a:pt x="1974" y="6106"/>
                  </a:cubicBezTo>
                  <a:cubicBezTo>
                    <a:pt x="2384" y="6106"/>
                    <a:pt x="2808" y="6008"/>
                    <a:pt x="3204" y="5864"/>
                  </a:cubicBezTo>
                  <a:cubicBezTo>
                    <a:pt x="4295" y="5547"/>
                    <a:pt x="5211" y="4772"/>
                    <a:pt x="5774" y="3751"/>
                  </a:cubicBezTo>
                  <a:cubicBezTo>
                    <a:pt x="6786" y="1959"/>
                    <a:pt x="5400" y="0"/>
                    <a:pt x="364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582;p48">
              <a:extLst>
                <a:ext uri="{FF2B5EF4-FFF2-40B4-BE49-F238E27FC236}">
                  <a16:creationId xmlns:a16="http://schemas.microsoft.com/office/drawing/2014/main" id="{B6D29980-414B-4E49-8EAC-1E7DC9E78193}"/>
                </a:ext>
              </a:extLst>
            </p:cNvPr>
            <p:cNvSpPr/>
            <p:nvPr/>
          </p:nvSpPr>
          <p:spPr>
            <a:xfrm flipH="1">
              <a:off x="3800432" y="3749959"/>
              <a:ext cx="23768" cy="20353"/>
            </a:xfrm>
            <a:custGeom>
              <a:avLst/>
              <a:gdLst/>
              <a:ahLst/>
              <a:cxnLst/>
              <a:rect l="l" t="t" r="r" b="b"/>
              <a:pathLst>
                <a:path w="1656" h="1418" extrusionOk="0">
                  <a:moveTo>
                    <a:pt x="1055" y="0"/>
                  </a:moveTo>
                  <a:cubicBezTo>
                    <a:pt x="1032" y="0"/>
                    <a:pt x="1009" y="1"/>
                    <a:pt x="986" y="4"/>
                  </a:cubicBezTo>
                  <a:cubicBezTo>
                    <a:pt x="670" y="39"/>
                    <a:pt x="388" y="215"/>
                    <a:pt x="212" y="497"/>
                  </a:cubicBezTo>
                  <a:cubicBezTo>
                    <a:pt x="71" y="638"/>
                    <a:pt x="1" y="849"/>
                    <a:pt x="36" y="1095"/>
                  </a:cubicBezTo>
                  <a:cubicBezTo>
                    <a:pt x="131" y="1285"/>
                    <a:pt x="310" y="1418"/>
                    <a:pt x="524" y="1418"/>
                  </a:cubicBezTo>
                  <a:cubicBezTo>
                    <a:pt x="549" y="1418"/>
                    <a:pt x="574" y="1416"/>
                    <a:pt x="599" y="1412"/>
                  </a:cubicBezTo>
                  <a:cubicBezTo>
                    <a:pt x="810" y="1412"/>
                    <a:pt x="1057" y="1307"/>
                    <a:pt x="1233" y="1166"/>
                  </a:cubicBezTo>
                  <a:cubicBezTo>
                    <a:pt x="1479" y="1025"/>
                    <a:pt x="1620" y="778"/>
                    <a:pt x="1655" y="532"/>
                  </a:cubicBezTo>
                  <a:cubicBezTo>
                    <a:pt x="1590" y="205"/>
                    <a:pt x="1343" y="0"/>
                    <a:pt x="105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583;p48">
              <a:extLst>
                <a:ext uri="{FF2B5EF4-FFF2-40B4-BE49-F238E27FC236}">
                  <a16:creationId xmlns:a16="http://schemas.microsoft.com/office/drawing/2014/main" id="{3E2FFC67-239A-4C6F-BB14-39F83E990AE4}"/>
                </a:ext>
              </a:extLst>
            </p:cNvPr>
            <p:cNvSpPr/>
            <p:nvPr/>
          </p:nvSpPr>
          <p:spPr>
            <a:xfrm flipH="1">
              <a:off x="3817112" y="3776243"/>
              <a:ext cx="23251" cy="20782"/>
            </a:xfrm>
            <a:custGeom>
              <a:avLst/>
              <a:gdLst/>
              <a:ahLst/>
              <a:cxnLst/>
              <a:rect l="l" t="t" r="r" b="b"/>
              <a:pathLst>
                <a:path w="1620" h="1448" extrusionOk="0">
                  <a:moveTo>
                    <a:pt x="1011" y="0"/>
                  </a:moveTo>
                  <a:cubicBezTo>
                    <a:pt x="991" y="0"/>
                    <a:pt x="971" y="1"/>
                    <a:pt x="951" y="4"/>
                  </a:cubicBezTo>
                  <a:cubicBezTo>
                    <a:pt x="634" y="39"/>
                    <a:pt x="352" y="215"/>
                    <a:pt x="211" y="497"/>
                  </a:cubicBezTo>
                  <a:cubicBezTo>
                    <a:pt x="35" y="637"/>
                    <a:pt x="0" y="884"/>
                    <a:pt x="35" y="1095"/>
                  </a:cubicBezTo>
                  <a:cubicBezTo>
                    <a:pt x="106" y="1306"/>
                    <a:pt x="352" y="1447"/>
                    <a:pt x="563" y="1447"/>
                  </a:cubicBezTo>
                  <a:cubicBezTo>
                    <a:pt x="810" y="1412"/>
                    <a:pt x="1021" y="1341"/>
                    <a:pt x="1197" y="1165"/>
                  </a:cubicBezTo>
                  <a:cubicBezTo>
                    <a:pt x="1444" y="1025"/>
                    <a:pt x="1620" y="778"/>
                    <a:pt x="1620" y="532"/>
                  </a:cubicBezTo>
                  <a:cubicBezTo>
                    <a:pt x="1587" y="235"/>
                    <a:pt x="1307" y="0"/>
                    <a:pt x="101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584;p48">
              <a:extLst>
                <a:ext uri="{FF2B5EF4-FFF2-40B4-BE49-F238E27FC236}">
                  <a16:creationId xmlns:a16="http://schemas.microsoft.com/office/drawing/2014/main" id="{205906BC-CA55-4DA4-935D-B9060F370731}"/>
                </a:ext>
              </a:extLst>
            </p:cNvPr>
            <p:cNvSpPr/>
            <p:nvPr/>
          </p:nvSpPr>
          <p:spPr>
            <a:xfrm flipH="1">
              <a:off x="3778197" y="3766625"/>
              <a:ext cx="23768" cy="20869"/>
            </a:xfrm>
            <a:custGeom>
              <a:avLst/>
              <a:gdLst/>
              <a:ahLst/>
              <a:cxnLst/>
              <a:rect l="l" t="t" r="r" b="b"/>
              <a:pathLst>
                <a:path w="1656" h="1454" extrusionOk="0">
                  <a:moveTo>
                    <a:pt x="1055" y="1"/>
                  </a:moveTo>
                  <a:cubicBezTo>
                    <a:pt x="1033" y="1"/>
                    <a:pt x="1010" y="2"/>
                    <a:pt x="987" y="5"/>
                  </a:cubicBezTo>
                  <a:cubicBezTo>
                    <a:pt x="670" y="40"/>
                    <a:pt x="388" y="216"/>
                    <a:pt x="212" y="498"/>
                  </a:cubicBezTo>
                  <a:cubicBezTo>
                    <a:pt x="71" y="674"/>
                    <a:pt x="1" y="885"/>
                    <a:pt x="36" y="1096"/>
                  </a:cubicBezTo>
                  <a:cubicBezTo>
                    <a:pt x="131" y="1317"/>
                    <a:pt x="311" y="1454"/>
                    <a:pt x="525" y="1454"/>
                  </a:cubicBezTo>
                  <a:cubicBezTo>
                    <a:pt x="549" y="1454"/>
                    <a:pt x="574" y="1452"/>
                    <a:pt x="599" y="1448"/>
                  </a:cubicBezTo>
                  <a:cubicBezTo>
                    <a:pt x="810" y="1448"/>
                    <a:pt x="1057" y="1343"/>
                    <a:pt x="1233" y="1202"/>
                  </a:cubicBezTo>
                  <a:cubicBezTo>
                    <a:pt x="1479" y="1061"/>
                    <a:pt x="1655" y="814"/>
                    <a:pt x="1655" y="498"/>
                  </a:cubicBezTo>
                  <a:cubicBezTo>
                    <a:pt x="1590" y="204"/>
                    <a:pt x="1343" y="1"/>
                    <a:pt x="10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585;p48">
              <a:extLst>
                <a:ext uri="{FF2B5EF4-FFF2-40B4-BE49-F238E27FC236}">
                  <a16:creationId xmlns:a16="http://schemas.microsoft.com/office/drawing/2014/main" id="{BB880A1B-4409-4CD4-A18E-79410A56AC90}"/>
                </a:ext>
              </a:extLst>
            </p:cNvPr>
            <p:cNvSpPr/>
            <p:nvPr/>
          </p:nvSpPr>
          <p:spPr>
            <a:xfrm flipH="1">
              <a:off x="3803461" y="3796454"/>
              <a:ext cx="23265" cy="20280"/>
            </a:xfrm>
            <a:custGeom>
              <a:avLst/>
              <a:gdLst/>
              <a:ahLst/>
              <a:cxnLst/>
              <a:rect l="l" t="t" r="r" b="b"/>
              <a:pathLst>
                <a:path w="1621" h="1413" extrusionOk="0">
                  <a:moveTo>
                    <a:pt x="1027" y="0"/>
                  </a:moveTo>
                  <a:cubicBezTo>
                    <a:pt x="1002" y="0"/>
                    <a:pt x="977" y="1"/>
                    <a:pt x="951" y="4"/>
                  </a:cubicBezTo>
                  <a:cubicBezTo>
                    <a:pt x="670" y="39"/>
                    <a:pt x="388" y="215"/>
                    <a:pt x="212" y="462"/>
                  </a:cubicBezTo>
                  <a:cubicBezTo>
                    <a:pt x="71" y="638"/>
                    <a:pt x="1" y="849"/>
                    <a:pt x="36" y="1060"/>
                  </a:cubicBezTo>
                  <a:cubicBezTo>
                    <a:pt x="141" y="1307"/>
                    <a:pt x="353" y="1412"/>
                    <a:pt x="599" y="1412"/>
                  </a:cubicBezTo>
                  <a:cubicBezTo>
                    <a:pt x="810" y="1412"/>
                    <a:pt x="1022" y="1307"/>
                    <a:pt x="1233" y="1166"/>
                  </a:cubicBezTo>
                  <a:cubicBezTo>
                    <a:pt x="1444" y="1025"/>
                    <a:pt x="1620" y="778"/>
                    <a:pt x="1620" y="497"/>
                  </a:cubicBezTo>
                  <a:cubicBezTo>
                    <a:pt x="1587" y="203"/>
                    <a:pt x="1343" y="0"/>
                    <a:pt x="10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586;p48">
              <a:extLst>
                <a:ext uri="{FF2B5EF4-FFF2-40B4-BE49-F238E27FC236}">
                  <a16:creationId xmlns:a16="http://schemas.microsoft.com/office/drawing/2014/main" id="{5E0C6948-4E73-4332-BA20-8A10A6270C29}"/>
                </a:ext>
              </a:extLst>
            </p:cNvPr>
            <p:cNvSpPr/>
            <p:nvPr/>
          </p:nvSpPr>
          <p:spPr>
            <a:xfrm flipH="1">
              <a:off x="3601825" y="3711560"/>
              <a:ext cx="33370" cy="23868"/>
            </a:xfrm>
            <a:custGeom>
              <a:avLst/>
              <a:gdLst/>
              <a:ahLst/>
              <a:cxnLst/>
              <a:rect l="l" t="t" r="r" b="b"/>
              <a:pathLst>
                <a:path w="2325" h="1663" extrusionOk="0">
                  <a:moveTo>
                    <a:pt x="1439" y="1"/>
                  </a:moveTo>
                  <a:cubicBezTo>
                    <a:pt x="1417" y="1"/>
                    <a:pt x="1396" y="1"/>
                    <a:pt x="1374" y="3"/>
                  </a:cubicBezTo>
                  <a:cubicBezTo>
                    <a:pt x="951" y="38"/>
                    <a:pt x="564" y="214"/>
                    <a:pt x="283" y="566"/>
                  </a:cubicBezTo>
                  <a:cubicBezTo>
                    <a:pt x="107" y="743"/>
                    <a:pt x="1" y="989"/>
                    <a:pt x="71" y="1271"/>
                  </a:cubicBezTo>
                  <a:cubicBezTo>
                    <a:pt x="200" y="1496"/>
                    <a:pt x="476" y="1662"/>
                    <a:pt x="764" y="1662"/>
                  </a:cubicBezTo>
                  <a:cubicBezTo>
                    <a:pt x="791" y="1662"/>
                    <a:pt x="819" y="1661"/>
                    <a:pt x="846" y="1658"/>
                  </a:cubicBezTo>
                  <a:cubicBezTo>
                    <a:pt x="1128" y="1658"/>
                    <a:pt x="1444" y="1552"/>
                    <a:pt x="1726" y="1376"/>
                  </a:cubicBezTo>
                  <a:cubicBezTo>
                    <a:pt x="2008" y="1200"/>
                    <a:pt x="2325" y="919"/>
                    <a:pt x="2289" y="602"/>
                  </a:cubicBezTo>
                  <a:cubicBezTo>
                    <a:pt x="2256" y="301"/>
                    <a:pt x="1842" y="1"/>
                    <a:pt x="143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587;p48">
              <a:extLst>
                <a:ext uri="{FF2B5EF4-FFF2-40B4-BE49-F238E27FC236}">
                  <a16:creationId xmlns:a16="http://schemas.microsoft.com/office/drawing/2014/main" id="{4CBF7AF1-7C99-4E19-95A1-F236DB4C9AC1}"/>
                </a:ext>
              </a:extLst>
            </p:cNvPr>
            <p:cNvSpPr/>
            <p:nvPr/>
          </p:nvSpPr>
          <p:spPr>
            <a:xfrm flipH="1">
              <a:off x="3625065" y="3742393"/>
              <a:ext cx="32867" cy="23868"/>
            </a:xfrm>
            <a:custGeom>
              <a:avLst/>
              <a:gdLst/>
              <a:ahLst/>
              <a:cxnLst/>
              <a:rect l="l" t="t" r="r" b="b"/>
              <a:pathLst>
                <a:path w="2290" h="1663" extrusionOk="0">
                  <a:moveTo>
                    <a:pt x="1404" y="0"/>
                  </a:moveTo>
                  <a:cubicBezTo>
                    <a:pt x="1382" y="0"/>
                    <a:pt x="1360" y="1"/>
                    <a:pt x="1338" y="3"/>
                  </a:cubicBezTo>
                  <a:cubicBezTo>
                    <a:pt x="916" y="38"/>
                    <a:pt x="529" y="249"/>
                    <a:pt x="282" y="566"/>
                  </a:cubicBezTo>
                  <a:cubicBezTo>
                    <a:pt x="71" y="742"/>
                    <a:pt x="1" y="989"/>
                    <a:pt x="36" y="1270"/>
                  </a:cubicBezTo>
                  <a:cubicBezTo>
                    <a:pt x="194" y="1523"/>
                    <a:pt x="438" y="1663"/>
                    <a:pt x="715" y="1663"/>
                  </a:cubicBezTo>
                  <a:cubicBezTo>
                    <a:pt x="747" y="1663"/>
                    <a:pt x="778" y="1661"/>
                    <a:pt x="810" y="1658"/>
                  </a:cubicBezTo>
                  <a:cubicBezTo>
                    <a:pt x="1127" y="1658"/>
                    <a:pt x="1444" y="1552"/>
                    <a:pt x="1691" y="1376"/>
                  </a:cubicBezTo>
                  <a:cubicBezTo>
                    <a:pt x="2007" y="1200"/>
                    <a:pt x="2289" y="953"/>
                    <a:pt x="2254" y="601"/>
                  </a:cubicBezTo>
                  <a:cubicBezTo>
                    <a:pt x="2254" y="301"/>
                    <a:pt x="1810" y="0"/>
                    <a:pt x="1404"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588;p48">
              <a:extLst>
                <a:ext uri="{FF2B5EF4-FFF2-40B4-BE49-F238E27FC236}">
                  <a16:creationId xmlns:a16="http://schemas.microsoft.com/office/drawing/2014/main" id="{BDF2E5AF-7AA3-43D3-AED4-0D366228525F}"/>
                </a:ext>
              </a:extLst>
            </p:cNvPr>
            <p:cNvSpPr/>
            <p:nvPr/>
          </p:nvSpPr>
          <p:spPr>
            <a:xfrm flipH="1">
              <a:off x="3570992" y="3731269"/>
              <a:ext cx="32867" cy="23885"/>
            </a:xfrm>
            <a:custGeom>
              <a:avLst/>
              <a:gdLst/>
              <a:ahLst/>
              <a:cxnLst/>
              <a:rect l="l" t="t" r="r" b="b"/>
              <a:pathLst>
                <a:path w="2290" h="1664" extrusionOk="0">
                  <a:moveTo>
                    <a:pt x="1409" y="1"/>
                  </a:moveTo>
                  <a:cubicBezTo>
                    <a:pt x="1386" y="1"/>
                    <a:pt x="1362" y="1"/>
                    <a:pt x="1339" y="3"/>
                  </a:cubicBezTo>
                  <a:cubicBezTo>
                    <a:pt x="951" y="38"/>
                    <a:pt x="564" y="250"/>
                    <a:pt x="282" y="567"/>
                  </a:cubicBezTo>
                  <a:cubicBezTo>
                    <a:pt x="71" y="743"/>
                    <a:pt x="1" y="989"/>
                    <a:pt x="71" y="1271"/>
                  </a:cubicBezTo>
                  <a:cubicBezTo>
                    <a:pt x="198" y="1524"/>
                    <a:pt x="438" y="1663"/>
                    <a:pt x="716" y="1663"/>
                  </a:cubicBezTo>
                  <a:cubicBezTo>
                    <a:pt x="747" y="1663"/>
                    <a:pt x="778" y="1662"/>
                    <a:pt x="810" y="1658"/>
                  </a:cubicBezTo>
                  <a:cubicBezTo>
                    <a:pt x="1127" y="1658"/>
                    <a:pt x="1444" y="1552"/>
                    <a:pt x="1691" y="1376"/>
                  </a:cubicBezTo>
                  <a:cubicBezTo>
                    <a:pt x="2007" y="1200"/>
                    <a:pt x="2289" y="954"/>
                    <a:pt x="2289" y="602"/>
                  </a:cubicBezTo>
                  <a:cubicBezTo>
                    <a:pt x="2256" y="301"/>
                    <a:pt x="1842" y="1"/>
                    <a:pt x="140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589;p48">
              <a:extLst>
                <a:ext uri="{FF2B5EF4-FFF2-40B4-BE49-F238E27FC236}">
                  <a16:creationId xmlns:a16="http://schemas.microsoft.com/office/drawing/2014/main" id="{6EDEA54C-0FDE-45EE-9455-12F5FA30511F}"/>
                </a:ext>
              </a:extLst>
            </p:cNvPr>
            <p:cNvSpPr/>
            <p:nvPr/>
          </p:nvSpPr>
          <p:spPr>
            <a:xfrm flipH="1">
              <a:off x="3605873" y="3765677"/>
              <a:ext cx="32853" cy="24327"/>
            </a:xfrm>
            <a:custGeom>
              <a:avLst/>
              <a:gdLst/>
              <a:ahLst/>
              <a:cxnLst/>
              <a:rect l="l" t="t" r="r" b="b"/>
              <a:pathLst>
                <a:path w="2289" h="1695" extrusionOk="0">
                  <a:moveTo>
                    <a:pt x="1338" y="0"/>
                  </a:moveTo>
                  <a:cubicBezTo>
                    <a:pt x="951" y="71"/>
                    <a:pt x="564" y="247"/>
                    <a:pt x="282" y="564"/>
                  </a:cubicBezTo>
                  <a:cubicBezTo>
                    <a:pt x="71" y="740"/>
                    <a:pt x="0" y="1021"/>
                    <a:pt x="71" y="1268"/>
                  </a:cubicBezTo>
                  <a:cubicBezTo>
                    <a:pt x="200" y="1525"/>
                    <a:pt x="446" y="1695"/>
                    <a:pt x="730" y="1695"/>
                  </a:cubicBezTo>
                  <a:cubicBezTo>
                    <a:pt x="757" y="1695"/>
                    <a:pt x="783" y="1693"/>
                    <a:pt x="810" y="1690"/>
                  </a:cubicBezTo>
                  <a:cubicBezTo>
                    <a:pt x="1127" y="1655"/>
                    <a:pt x="1444" y="1585"/>
                    <a:pt x="1690" y="1409"/>
                  </a:cubicBezTo>
                  <a:cubicBezTo>
                    <a:pt x="2007" y="1197"/>
                    <a:pt x="2289" y="951"/>
                    <a:pt x="2289" y="634"/>
                  </a:cubicBezTo>
                  <a:cubicBezTo>
                    <a:pt x="2254" y="317"/>
                    <a:pt x="1796" y="0"/>
                    <a:pt x="1338"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590;p48">
              <a:extLst>
                <a:ext uri="{FF2B5EF4-FFF2-40B4-BE49-F238E27FC236}">
                  <a16:creationId xmlns:a16="http://schemas.microsoft.com/office/drawing/2014/main" id="{45510C7C-4D1B-4F8F-8A9E-9BA367A2D7A0}"/>
                </a:ext>
              </a:extLst>
            </p:cNvPr>
            <p:cNvSpPr/>
            <p:nvPr/>
          </p:nvSpPr>
          <p:spPr>
            <a:xfrm flipH="1">
              <a:off x="3646319" y="3823283"/>
              <a:ext cx="207193" cy="78853"/>
            </a:xfrm>
            <a:custGeom>
              <a:avLst/>
              <a:gdLst/>
              <a:ahLst/>
              <a:cxnLst/>
              <a:rect l="l" t="t" r="r" b="b"/>
              <a:pathLst>
                <a:path w="14436" h="5494" extrusionOk="0">
                  <a:moveTo>
                    <a:pt x="9969" y="1"/>
                  </a:moveTo>
                  <a:cubicBezTo>
                    <a:pt x="9616" y="1"/>
                    <a:pt x="9260" y="48"/>
                    <a:pt x="8908" y="142"/>
                  </a:cubicBezTo>
                  <a:cubicBezTo>
                    <a:pt x="8028" y="494"/>
                    <a:pt x="7253" y="1022"/>
                    <a:pt x="6655" y="1761"/>
                  </a:cubicBezTo>
                  <a:cubicBezTo>
                    <a:pt x="6514" y="1902"/>
                    <a:pt x="6338" y="2078"/>
                    <a:pt x="6162" y="2219"/>
                  </a:cubicBezTo>
                  <a:cubicBezTo>
                    <a:pt x="4472" y="3803"/>
                    <a:pt x="2324" y="4789"/>
                    <a:pt x="1" y="5071"/>
                  </a:cubicBezTo>
                  <a:lnTo>
                    <a:pt x="71" y="5493"/>
                  </a:lnTo>
                  <a:cubicBezTo>
                    <a:pt x="2465" y="5247"/>
                    <a:pt x="4718" y="4190"/>
                    <a:pt x="6514" y="2536"/>
                  </a:cubicBezTo>
                  <a:cubicBezTo>
                    <a:pt x="6690" y="2395"/>
                    <a:pt x="6831" y="2219"/>
                    <a:pt x="7007" y="2078"/>
                  </a:cubicBezTo>
                  <a:cubicBezTo>
                    <a:pt x="7535" y="1409"/>
                    <a:pt x="8239" y="881"/>
                    <a:pt x="9014" y="564"/>
                  </a:cubicBezTo>
                  <a:cubicBezTo>
                    <a:pt x="9321" y="485"/>
                    <a:pt x="9631" y="445"/>
                    <a:pt x="9940" y="445"/>
                  </a:cubicBezTo>
                  <a:cubicBezTo>
                    <a:pt x="10586" y="445"/>
                    <a:pt x="11223" y="618"/>
                    <a:pt x="11795" y="951"/>
                  </a:cubicBezTo>
                  <a:cubicBezTo>
                    <a:pt x="12640" y="1480"/>
                    <a:pt x="13414" y="2113"/>
                    <a:pt x="14118" y="2853"/>
                  </a:cubicBezTo>
                  <a:lnTo>
                    <a:pt x="14435" y="2536"/>
                  </a:lnTo>
                  <a:cubicBezTo>
                    <a:pt x="13696" y="1761"/>
                    <a:pt x="12886" y="1092"/>
                    <a:pt x="12006" y="564"/>
                  </a:cubicBezTo>
                  <a:cubicBezTo>
                    <a:pt x="11372" y="189"/>
                    <a:pt x="10676" y="1"/>
                    <a:pt x="996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591;p48">
              <a:extLst>
                <a:ext uri="{FF2B5EF4-FFF2-40B4-BE49-F238E27FC236}">
                  <a16:creationId xmlns:a16="http://schemas.microsoft.com/office/drawing/2014/main" id="{6B270DC8-1C70-4C9F-9728-3AD1DDC46304}"/>
                </a:ext>
              </a:extLst>
            </p:cNvPr>
            <p:cNvSpPr/>
            <p:nvPr/>
          </p:nvSpPr>
          <p:spPr>
            <a:xfrm flipH="1">
              <a:off x="3525517" y="3691894"/>
              <a:ext cx="37403" cy="226383"/>
            </a:xfrm>
            <a:custGeom>
              <a:avLst/>
              <a:gdLst/>
              <a:ahLst/>
              <a:cxnLst/>
              <a:rect l="l" t="t" r="r" b="b"/>
              <a:pathLst>
                <a:path w="2606" h="15773" extrusionOk="0">
                  <a:moveTo>
                    <a:pt x="423" y="0"/>
                  </a:moveTo>
                  <a:lnTo>
                    <a:pt x="0" y="141"/>
                  </a:lnTo>
                  <a:cubicBezTo>
                    <a:pt x="1796" y="5140"/>
                    <a:pt x="2148" y="10527"/>
                    <a:pt x="1021" y="15702"/>
                  </a:cubicBezTo>
                  <a:lnTo>
                    <a:pt x="1479" y="15773"/>
                  </a:lnTo>
                  <a:cubicBezTo>
                    <a:pt x="2606" y="10527"/>
                    <a:pt x="2254" y="5070"/>
                    <a:pt x="42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592;p48">
              <a:extLst>
                <a:ext uri="{FF2B5EF4-FFF2-40B4-BE49-F238E27FC236}">
                  <a16:creationId xmlns:a16="http://schemas.microsoft.com/office/drawing/2014/main" id="{1DBC0A58-B4B4-43A1-9D9E-72E1547C3EAD}"/>
                </a:ext>
              </a:extLst>
            </p:cNvPr>
            <p:cNvSpPr/>
            <p:nvPr/>
          </p:nvSpPr>
          <p:spPr>
            <a:xfrm flipH="1">
              <a:off x="3546249" y="3555437"/>
              <a:ext cx="164236" cy="364844"/>
            </a:xfrm>
            <a:custGeom>
              <a:avLst/>
              <a:gdLst/>
              <a:ahLst/>
              <a:cxnLst/>
              <a:rect l="l" t="t" r="r" b="b"/>
              <a:pathLst>
                <a:path w="11443" h="25420" extrusionOk="0">
                  <a:moveTo>
                    <a:pt x="10421" y="0"/>
                  </a:moveTo>
                  <a:lnTo>
                    <a:pt x="1162" y="4260"/>
                  </a:lnTo>
                  <a:lnTo>
                    <a:pt x="845" y="7499"/>
                  </a:lnTo>
                  <a:cubicBezTo>
                    <a:pt x="704" y="13484"/>
                    <a:pt x="423" y="19434"/>
                    <a:pt x="0" y="25420"/>
                  </a:cubicBezTo>
                  <a:lnTo>
                    <a:pt x="11196" y="25420"/>
                  </a:lnTo>
                  <a:lnTo>
                    <a:pt x="11125" y="16160"/>
                  </a:lnTo>
                  <a:lnTo>
                    <a:pt x="1144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593;p48">
              <a:extLst>
                <a:ext uri="{FF2B5EF4-FFF2-40B4-BE49-F238E27FC236}">
                  <a16:creationId xmlns:a16="http://schemas.microsoft.com/office/drawing/2014/main" id="{8184FC81-4FDA-4DB4-AFF4-E7CB58096DD3}"/>
                </a:ext>
              </a:extLst>
            </p:cNvPr>
            <p:cNvSpPr/>
            <p:nvPr/>
          </p:nvSpPr>
          <p:spPr>
            <a:xfrm flipH="1">
              <a:off x="3558881" y="3555437"/>
              <a:ext cx="164752" cy="364844"/>
            </a:xfrm>
            <a:custGeom>
              <a:avLst/>
              <a:gdLst/>
              <a:ahLst/>
              <a:cxnLst/>
              <a:rect l="l" t="t" r="r" b="b"/>
              <a:pathLst>
                <a:path w="11479" h="25420" extrusionOk="0">
                  <a:moveTo>
                    <a:pt x="10457" y="0"/>
                  </a:moveTo>
                  <a:lnTo>
                    <a:pt x="1198" y="4260"/>
                  </a:lnTo>
                  <a:lnTo>
                    <a:pt x="881" y="7499"/>
                  </a:lnTo>
                  <a:cubicBezTo>
                    <a:pt x="740" y="13484"/>
                    <a:pt x="458" y="19434"/>
                    <a:pt x="1" y="25420"/>
                  </a:cubicBezTo>
                  <a:lnTo>
                    <a:pt x="11232" y="25420"/>
                  </a:lnTo>
                  <a:lnTo>
                    <a:pt x="11161" y="16160"/>
                  </a:lnTo>
                  <a:lnTo>
                    <a:pt x="1147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594;p48">
              <a:extLst>
                <a:ext uri="{FF2B5EF4-FFF2-40B4-BE49-F238E27FC236}">
                  <a16:creationId xmlns:a16="http://schemas.microsoft.com/office/drawing/2014/main" id="{22AE5457-7AC0-4C76-83A4-48F69D31D4BF}"/>
                </a:ext>
              </a:extLst>
            </p:cNvPr>
            <p:cNvSpPr/>
            <p:nvPr/>
          </p:nvSpPr>
          <p:spPr>
            <a:xfrm flipH="1">
              <a:off x="3575561" y="3555437"/>
              <a:ext cx="164752" cy="364844"/>
            </a:xfrm>
            <a:custGeom>
              <a:avLst/>
              <a:gdLst/>
              <a:ahLst/>
              <a:cxnLst/>
              <a:rect l="l" t="t" r="r" b="b"/>
              <a:pathLst>
                <a:path w="11479" h="25420" extrusionOk="0">
                  <a:moveTo>
                    <a:pt x="10457" y="0"/>
                  </a:moveTo>
                  <a:lnTo>
                    <a:pt x="1163" y="4260"/>
                  </a:lnTo>
                  <a:lnTo>
                    <a:pt x="846" y="7499"/>
                  </a:lnTo>
                  <a:cubicBezTo>
                    <a:pt x="740" y="13484"/>
                    <a:pt x="423" y="19434"/>
                    <a:pt x="1" y="25420"/>
                  </a:cubicBezTo>
                  <a:lnTo>
                    <a:pt x="11197" y="25420"/>
                  </a:lnTo>
                  <a:lnTo>
                    <a:pt x="11126" y="16160"/>
                  </a:lnTo>
                  <a:lnTo>
                    <a:pt x="1147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595;p48">
              <a:extLst>
                <a:ext uri="{FF2B5EF4-FFF2-40B4-BE49-F238E27FC236}">
                  <a16:creationId xmlns:a16="http://schemas.microsoft.com/office/drawing/2014/main" id="{64510AF7-00BE-4446-9B8D-BD35EA8FA8B4}"/>
                </a:ext>
              </a:extLst>
            </p:cNvPr>
            <p:cNvSpPr/>
            <p:nvPr/>
          </p:nvSpPr>
          <p:spPr>
            <a:xfrm flipH="1">
              <a:off x="3589212" y="3553915"/>
              <a:ext cx="164738" cy="366365"/>
            </a:xfrm>
            <a:custGeom>
              <a:avLst/>
              <a:gdLst/>
              <a:ahLst/>
              <a:cxnLst/>
              <a:rect l="l" t="t" r="r" b="b"/>
              <a:pathLst>
                <a:path w="11478" h="25526" extrusionOk="0">
                  <a:moveTo>
                    <a:pt x="11478" y="1"/>
                  </a:moveTo>
                  <a:lnTo>
                    <a:pt x="1162" y="4754"/>
                  </a:lnTo>
                  <a:lnTo>
                    <a:pt x="845" y="7993"/>
                  </a:lnTo>
                  <a:cubicBezTo>
                    <a:pt x="704" y="13837"/>
                    <a:pt x="458" y="19681"/>
                    <a:pt x="0" y="25526"/>
                  </a:cubicBezTo>
                  <a:lnTo>
                    <a:pt x="11196" y="25526"/>
                  </a:lnTo>
                  <a:lnTo>
                    <a:pt x="11126" y="16653"/>
                  </a:lnTo>
                  <a:lnTo>
                    <a:pt x="1147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596;p48">
              <a:extLst>
                <a:ext uri="{FF2B5EF4-FFF2-40B4-BE49-F238E27FC236}">
                  <a16:creationId xmlns:a16="http://schemas.microsoft.com/office/drawing/2014/main" id="{31DE1B1E-57C5-4067-A20E-B9512DDAF434}"/>
                </a:ext>
              </a:extLst>
            </p:cNvPr>
            <p:cNvSpPr/>
            <p:nvPr/>
          </p:nvSpPr>
          <p:spPr>
            <a:xfrm flipH="1">
              <a:off x="3621539" y="2516795"/>
              <a:ext cx="74805" cy="55172"/>
            </a:xfrm>
            <a:custGeom>
              <a:avLst/>
              <a:gdLst/>
              <a:ahLst/>
              <a:cxnLst/>
              <a:rect l="l" t="t" r="r" b="b"/>
              <a:pathLst>
                <a:path w="5212" h="3844" extrusionOk="0">
                  <a:moveTo>
                    <a:pt x="2008" y="428"/>
                  </a:moveTo>
                  <a:cubicBezTo>
                    <a:pt x="2325" y="428"/>
                    <a:pt x="2641" y="463"/>
                    <a:pt x="2958" y="534"/>
                  </a:cubicBezTo>
                  <a:cubicBezTo>
                    <a:pt x="3522" y="675"/>
                    <a:pt x="4050" y="991"/>
                    <a:pt x="4402" y="1449"/>
                  </a:cubicBezTo>
                  <a:cubicBezTo>
                    <a:pt x="4719" y="1907"/>
                    <a:pt x="4754" y="2541"/>
                    <a:pt x="4507" y="3033"/>
                  </a:cubicBezTo>
                  <a:cubicBezTo>
                    <a:pt x="4402" y="3209"/>
                    <a:pt x="4190" y="3350"/>
                    <a:pt x="3979" y="3385"/>
                  </a:cubicBezTo>
                  <a:lnTo>
                    <a:pt x="3944" y="3632"/>
                  </a:lnTo>
                  <a:lnTo>
                    <a:pt x="3944" y="3385"/>
                  </a:lnTo>
                  <a:cubicBezTo>
                    <a:pt x="3803" y="3385"/>
                    <a:pt x="3627" y="3315"/>
                    <a:pt x="3486" y="3245"/>
                  </a:cubicBezTo>
                  <a:cubicBezTo>
                    <a:pt x="2501" y="2752"/>
                    <a:pt x="1620" y="2118"/>
                    <a:pt x="846" y="1379"/>
                  </a:cubicBezTo>
                  <a:cubicBezTo>
                    <a:pt x="670" y="1203"/>
                    <a:pt x="494" y="921"/>
                    <a:pt x="529" y="780"/>
                  </a:cubicBezTo>
                  <a:cubicBezTo>
                    <a:pt x="599" y="639"/>
                    <a:pt x="775" y="534"/>
                    <a:pt x="1128" y="499"/>
                  </a:cubicBezTo>
                  <a:cubicBezTo>
                    <a:pt x="1409" y="463"/>
                    <a:pt x="1726" y="428"/>
                    <a:pt x="2008" y="428"/>
                  </a:cubicBezTo>
                  <a:close/>
                  <a:moveTo>
                    <a:pt x="1985" y="1"/>
                  </a:moveTo>
                  <a:cubicBezTo>
                    <a:pt x="1678" y="1"/>
                    <a:pt x="1368" y="27"/>
                    <a:pt x="1057" y="76"/>
                  </a:cubicBezTo>
                  <a:cubicBezTo>
                    <a:pt x="881" y="111"/>
                    <a:pt x="283" y="182"/>
                    <a:pt x="107" y="639"/>
                  </a:cubicBezTo>
                  <a:cubicBezTo>
                    <a:pt x="1" y="956"/>
                    <a:pt x="142" y="1308"/>
                    <a:pt x="529" y="1696"/>
                  </a:cubicBezTo>
                  <a:cubicBezTo>
                    <a:pt x="1339" y="2470"/>
                    <a:pt x="2254" y="3139"/>
                    <a:pt x="3275" y="3632"/>
                  </a:cubicBezTo>
                  <a:cubicBezTo>
                    <a:pt x="3486" y="3773"/>
                    <a:pt x="3698" y="3843"/>
                    <a:pt x="3944" y="3843"/>
                  </a:cubicBezTo>
                  <a:lnTo>
                    <a:pt x="3979" y="3843"/>
                  </a:lnTo>
                  <a:cubicBezTo>
                    <a:pt x="4331" y="3808"/>
                    <a:pt x="4683" y="3597"/>
                    <a:pt x="4859" y="3280"/>
                  </a:cubicBezTo>
                  <a:cubicBezTo>
                    <a:pt x="5211" y="2611"/>
                    <a:pt x="5141" y="1836"/>
                    <a:pt x="4754" y="1238"/>
                  </a:cubicBezTo>
                  <a:cubicBezTo>
                    <a:pt x="4331" y="639"/>
                    <a:pt x="3733" y="252"/>
                    <a:pt x="3029" y="111"/>
                  </a:cubicBezTo>
                  <a:cubicBezTo>
                    <a:pt x="2689" y="36"/>
                    <a:pt x="2339" y="1"/>
                    <a:pt x="198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597;p48">
              <a:extLst>
                <a:ext uri="{FF2B5EF4-FFF2-40B4-BE49-F238E27FC236}">
                  <a16:creationId xmlns:a16="http://schemas.microsoft.com/office/drawing/2014/main" id="{925881F1-B70A-4E2D-8E84-5593AF072AB1}"/>
                </a:ext>
              </a:extLst>
            </p:cNvPr>
            <p:cNvSpPr/>
            <p:nvPr/>
          </p:nvSpPr>
          <p:spPr>
            <a:xfrm flipH="1">
              <a:off x="3775313" y="2608336"/>
              <a:ext cx="31202" cy="26438"/>
            </a:xfrm>
            <a:custGeom>
              <a:avLst/>
              <a:gdLst/>
              <a:ahLst/>
              <a:cxnLst/>
              <a:rect l="l" t="t" r="r" b="b"/>
              <a:pathLst>
                <a:path w="2174" h="1842" extrusionOk="0">
                  <a:moveTo>
                    <a:pt x="959" y="0"/>
                  </a:moveTo>
                  <a:cubicBezTo>
                    <a:pt x="945" y="0"/>
                    <a:pt x="931" y="0"/>
                    <a:pt x="916" y="1"/>
                  </a:cubicBezTo>
                  <a:cubicBezTo>
                    <a:pt x="423" y="1"/>
                    <a:pt x="36" y="388"/>
                    <a:pt x="1" y="881"/>
                  </a:cubicBezTo>
                  <a:cubicBezTo>
                    <a:pt x="1" y="1461"/>
                    <a:pt x="465" y="1842"/>
                    <a:pt x="950" y="1842"/>
                  </a:cubicBezTo>
                  <a:cubicBezTo>
                    <a:pt x="1171" y="1842"/>
                    <a:pt x="1397" y="1762"/>
                    <a:pt x="1585" y="1585"/>
                  </a:cubicBezTo>
                  <a:cubicBezTo>
                    <a:pt x="2174" y="997"/>
                    <a:pt x="1775" y="0"/>
                    <a:pt x="95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598;p48">
              <a:extLst>
                <a:ext uri="{FF2B5EF4-FFF2-40B4-BE49-F238E27FC236}">
                  <a16:creationId xmlns:a16="http://schemas.microsoft.com/office/drawing/2014/main" id="{2F0F387E-925D-4FBA-AEAF-C98A39B5E45F}"/>
                </a:ext>
              </a:extLst>
            </p:cNvPr>
            <p:cNvSpPr/>
            <p:nvPr/>
          </p:nvSpPr>
          <p:spPr>
            <a:xfrm flipH="1">
              <a:off x="3515913" y="2601703"/>
              <a:ext cx="27801" cy="28676"/>
            </a:xfrm>
            <a:custGeom>
              <a:avLst/>
              <a:gdLst/>
              <a:ahLst/>
              <a:cxnLst/>
              <a:rect l="l" t="t" r="r" b="b"/>
              <a:pathLst>
                <a:path w="1937" h="1998" extrusionOk="0">
                  <a:moveTo>
                    <a:pt x="1108" y="1"/>
                  </a:moveTo>
                  <a:cubicBezTo>
                    <a:pt x="792" y="1"/>
                    <a:pt x="510" y="170"/>
                    <a:pt x="317" y="428"/>
                  </a:cubicBezTo>
                  <a:cubicBezTo>
                    <a:pt x="106" y="639"/>
                    <a:pt x="0" y="956"/>
                    <a:pt x="35" y="1273"/>
                  </a:cubicBezTo>
                  <a:cubicBezTo>
                    <a:pt x="127" y="1702"/>
                    <a:pt x="512" y="1997"/>
                    <a:pt x="936" y="1997"/>
                  </a:cubicBezTo>
                  <a:cubicBezTo>
                    <a:pt x="999" y="1997"/>
                    <a:pt x="1063" y="1991"/>
                    <a:pt x="1127" y="1977"/>
                  </a:cubicBezTo>
                  <a:cubicBezTo>
                    <a:pt x="1620" y="1836"/>
                    <a:pt x="1937" y="1378"/>
                    <a:pt x="1901" y="886"/>
                  </a:cubicBezTo>
                  <a:cubicBezTo>
                    <a:pt x="1901" y="463"/>
                    <a:pt x="1585" y="76"/>
                    <a:pt x="1197" y="5"/>
                  </a:cubicBezTo>
                  <a:cubicBezTo>
                    <a:pt x="1167" y="2"/>
                    <a:pt x="1138" y="1"/>
                    <a:pt x="110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599;p48">
              <a:extLst>
                <a:ext uri="{FF2B5EF4-FFF2-40B4-BE49-F238E27FC236}">
                  <a16:creationId xmlns:a16="http://schemas.microsoft.com/office/drawing/2014/main" id="{7F69AFFE-075A-47EF-9C4B-394BD46F1F1D}"/>
                </a:ext>
              </a:extLst>
            </p:cNvPr>
            <p:cNvSpPr/>
            <p:nvPr/>
          </p:nvSpPr>
          <p:spPr>
            <a:xfrm flipH="1">
              <a:off x="2021035" y="4531333"/>
              <a:ext cx="140998" cy="133278"/>
            </a:xfrm>
            <a:custGeom>
              <a:avLst/>
              <a:gdLst/>
              <a:ahLst/>
              <a:cxnLst/>
              <a:rect l="l" t="t" r="r" b="b"/>
              <a:pathLst>
                <a:path w="9824" h="9286" extrusionOk="0">
                  <a:moveTo>
                    <a:pt x="1620" y="0"/>
                  </a:moveTo>
                  <a:cubicBezTo>
                    <a:pt x="1233" y="2641"/>
                    <a:pt x="670" y="5281"/>
                    <a:pt x="1" y="7851"/>
                  </a:cubicBezTo>
                  <a:cubicBezTo>
                    <a:pt x="1815" y="8808"/>
                    <a:pt x="3835" y="9286"/>
                    <a:pt x="5857" y="9286"/>
                  </a:cubicBezTo>
                  <a:cubicBezTo>
                    <a:pt x="6738" y="9286"/>
                    <a:pt x="7620" y="9195"/>
                    <a:pt x="8486" y="9013"/>
                  </a:cubicBezTo>
                  <a:cubicBezTo>
                    <a:pt x="8169" y="6408"/>
                    <a:pt x="8627" y="3767"/>
                    <a:pt x="9824" y="1444"/>
                  </a:cubicBezTo>
                  <a:lnTo>
                    <a:pt x="9824" y="1444"/>
                  </a:lnTo>
                  <a:cubicBezTo>
                    <a:pt x="9647" y="1448"/>
                    <a:pt x="9471" y="1450"/>
                    <a:pt x="9295" y="1450"/>
                  </a:cubicBezTo>
                  <a:cubicBezTo>
                    <a:pt x="6659" y="1450"/>
                    <a:pt x="4063" y="957"/>
                    <a:pt x="162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600;p48">
              <a:extLst>
                <a:ext uri="{FF2B5EF4-FFF2-40B4-BE49-F238E27FC236}">
                  <a16:creationId xmlns:a16="http://schemas.microsoft.com/office/drawing/2014/main" id="{93DD5549-AB10-4CF1-8DC5-D899CDC87976}"/>
                </a:ext>
              </a:extLst>
            </p:cNvPr>
            <p:cNvSpPr/>
            <p:nvPr/>
          </p:nvSpPr>
          <p:spPr>
            <a:xfrm flipH="1">
              <a:off x="2016004" y="4614332"/>
              <a:ext cx="286017" cy="115610"/>
            </a:xfrm>
            <a:custGeom>
              <a:avLst/>
              <a:gdLst/>
              <a:ahLst/>
              <a:cxnLst/>
              <a:rect l="l" t="t" r="r" b="b"/>
              <a:pathLst>
                <a:path w="19928" h="8055" extrusionOk="0">
                  <a:moveTo>
                    <a:pt x="8242" y="1"/>
                  </a:moveTo>
                  <a:cubicBezTo>
                    <a:pt x="7940" y="1"/>
                    <a:pt x="7641" y="112"/>
                    <a:pt x="7394" y="309"/>
                  </a:cubicBezTo>
                  <a:cubicBezTo>
                    <a:pt x="7112" y="591"/>
                    <a:pt x="6831" y="943"/>
                    <a:pt x="6584" y="1295"/>
                  </a:cubicBezTo>
                  <a:cubicBezTo>
                    <a:pt x="5775" y="2386"/>
                    <a:pt x="4754" y="2879"/>
                    <a:pt x="3451" y="3266"/>
                  </a:cubicBezTo>
                  <a:cubicBezTo>
                    <a:pt x="2571" y="3513"/>
                    <a:pt x="1409" y="3900"/>
                    <a:pt x="775" y="4534"/>
                  </a:cubicBezTo>
                  <a:cubicBezTo>
                    <a:pt x="1" y="5308"/>
                    <a:pt x="1" y="6717"/>
                    <a:pt x="282" y="7949"/>
                  </a:cubicBezTo>
                  <a:lnTo>
                    <a:pt x="2008" y="8055"/>
                  </a:lnTo>
                  <a:lnTo>
                    <a:pt x="19611" y="8019"/>
                  </a:lnTo>
                  <a:cubicBezTo>
                    <a:pt x="19928" y="6294"/>
                    <a:pt x="19752" y="4499"/>
                    <a:pt x="19188" y="2844"/>
                  </a:cubicBezTo>
                  <a:cubicBezTo>
                    <a:pt x="19012" y="2351"/>
                    <a:pt x="18801" y="1330"/>
                    <a:pt x="18414" y="1048"/>
                  </a:cubicBezTo>
                  <a:cubicBezTo>
                    <a:pt x="18151" y="546"/>
                    <a:pt x="17617" y="328"/>
                    <a:pt x="17082" y="328"/>
                  </a:cubicBezTo>
                  <a:cubicBezTo>
                    <a:pt x="16755" y="328"/>
                    <a:pt x="16427" y="409"/>
                    <a:pt x="16161" y="556"/>
                  </a:cubicBezTo>
                  <a:cubicBezTo>
                    <a:pt x="15492" y="943"/>
                    <a:pt x="15034" y="1647"/>
                    <a:pt x="14365" y="2069"/>
                  </a:cubicBezTo>
                  <a:cubicBezTo>
                    <a:pt x="13913" y="2383"/>
                    <a:pt x="13362" y="2532"/>
                    <a:pt x="12786" y="2532"/>
                  </a:cubicBezTo>
                  <a:cubicBezTo>
                    <a:pt x="11748" y="2532"/>
                    <a:pt x="10629" y="2050"/>
                    <a:pt x="9859" y="1189"/>
                  </a:cubicBezTo>
                  <a:cubicBezTo>
                    <a:pt x="9471" y="767"/>
                    <a:pt x="9154" y="274"/>
                    <a:pt x="8626" y="63"/>
                  </a:cubicBezTo>
                  <a:cubicBezTo>
                    <a:pt x="8500" y="21"/>
                    <a:pt x="8371" y="1"/>
                    <a:pt x="824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601;p48">
              <a:extLst>
                <a:ext uri="{FF2B5EF4-FFF2-40B4-BE49-F238E27FC236}">
                  <a16:creationId xmlns:a16="http://schemas.microsoft.com/office/drawing/2014/main" id="{081E5678-5A2B-42B0-9ABB-8EA1F225DC91}"/>
                </a:ext>
              </a:extLst>
            </p:cNvPr>
            <p:cNvSpPr/>
            <p:nvPr/>
          </p:nvSpPr>
          <p:spPr>
            <a:xfrm flipH="1">
              <a:off x="1442977" y="3752528"/>
              <a:ext cx="723091" cy="855072"/>
            </a:xfrm>
            <a:custGeom>
              <a:avLst/>
              <a:gdLst/>
              <a:ahLst/>
              <a:cxnLst/>
              <a:rect l="l" t="t" r="r" b="b"/>
              <a:pathLst>
                <a:path w="50381" h="59576" extrusionOk="0">
                  <a:moveTo>
                    <a:pt x="31545" y="1"/>
                  </a:moveTo>
                  <a:cubicBezTo>
                    <a:pt x="31405" y="952"/>
                    <a:pt x="31299" y="1937"/>
                    <a:pt x="31158" y="2923"/>
                  </a:cubicBezTo>
                  <a:lnTo>
                    <a:pt x="34855" y="3310"/>
                  </a:lnTo>
                  <a:cubicBezTo>
                    <a:pt x="25314" y="4155"/>
                    <a:pt x="16090" y="6937"/>
                    <a:pt x="7711" y="11478"/>
                  </a:cubicBezTo>
                  <a:cubicBezTo>
                    <a:pt x="6126" y="12358"/>
                    <a:pt x="4472" y="13379"/>
                    <a:pt x="3662" y="15105"/>
                  </a:cubicBezTo>
                  <a:cubicBezTo>
                    <a:pt x="2993" y="16407"/>
                    <a:pt x="2887" y="18027"/>
                    <a:pt x="2782" y="19576"/>
                  </a:cubicBezTo>
                  <a:cubicBezTo>
                    <a:pt x="1831" y="32497"/>
                    <a:pt x="916" y="45382"/>
                    <a:pt x="0" y="58303"/>
                  </a:cubicBezTo>
                  <a:cubicBezTo>
                    <a:pt x="3465" y="58875"/>
                    <a:pt x="3909" y="59575"/>
                    <a:pt x="7072" y="59575"/>
                  </a:cubicBezTo>
                  <a:cubicBezTo>
                    <a:pt x="7220" y="59575"/>
                    <a:pt x="7374" y="59574"/>
                    <a:pt x="7534" y="59571"/>
                  </a:cubicBezTo>
                  <a:cubicBezTo>
                    <a:pt x="8450" y="59571"/>
                    <a:pt x="10950" y="59395"/>
                    <a:pt x="11583" y="58796"/>
                  </a:cubicBezTo>
                  <a:cubicBezTo>
                    <a:pt x="12393" y="58021"/>
                    <a:pt x="12323" y="56367"/>
                    <a:pt x="12323" y="55099"/>
                  </a:cubicBezTo>
                  <a:cubicBezTo>
                    <a:pt x="12393" y="50699"/>
                    <a:pt x="13132" y="47600"/>
                    <a:pt x="14153" y="43481"/>
                  </a:cubicBezTo>
                  <a:cubicBezTo>
                    <a:pt x="14857" y="40665"/>
                    <a:pt x="15632" y="38200"/>
                    <a:pt x="16054" y="35278"/>
                  </a:cubicBezTo>
                  <a:cubicBezTo>
                    <a:pt x="16477" y="32356"/>
                    <a:pt x="16301" y="28976"/>
                    <a:pt x="15315" y="23836"/>
                  </a:cubicBezTo>
                  <a:cubicBezTo>
                    <a:pt x="17500" y="22703"/>
                    <a:pt x="20273" y="22381"/>
                    <a:pt x="23179" y="22381"/>
                  </a:cubicBezTo>
                  <a:cubicBezTo>
                    <a:pt x="26594" y="22381"/>
                    <a:pt x="30192" y="22825"/>
                    <a:pt x="33235" y="22920"/>
                  </a:cubicBezTo>
                  <a:cubicBezTo>
                    <a:pt x="33626" y="22930"/>
                    <a:pt x="34019" y="22936"/>
                    <a:pt x="34412" y="22936"/>
                  </a:cubicBezTo>
                  <a:cubicBezTo>
                    <a:pt x="39698" y="22936"/>
                    <a:pt x="45169" y="21969"/>
                    <a:pt x="47987" y="17710"/>
                  </a:cubicBezTo>
                  <a:cubicBezTo>
                    <a:pt x="50346" y="14189"/>
                    <a:pt x="50381" y="9225"/>
                    <a:pt x="50310" y="4507"/>
                  </a:cubicBezTo>
                  <a:lnTo>
                    <a:pt x="3154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602;p48">
              <a:extLst>
                <a:ext uri="{FF2B5EF4-FFF2-40B4-BE49-F238E27FC236}">
                  <a16:creationId xmlns:a16="http://schemas.microsoft.com/office/drawing/2014/main" id="{29BEFA4E-4D9A-4E0E-8FF6-5A64C89F4DC7}"/>
                </a:ext>
              </a:extLst>
            </p:cNvPr>
            <p:cNvSpPr/>
            <p:nvPr/>
          </p:nvSpPr>
          <p:spPr>
            <a:xfrm flipH="1">
              <a:off x="2090253" y="4100244"/>
              <a:ext cx="42971" cy="495710"/>
            </a:xfrm>
            <a:custGeom>
              <a:avLst/>
              <a:gdLst/>
              <a:ahLst/>
              <a:cxnLst/>
              <a:rect l="l" t="t" r="r" b="b"/>
              <a:pathLst>
                <a:path w="2994" h="34538" extrusionOk="0">
                  <a:moveTo>
                    <a:pt x="2571" y="0"/>
                  </a:moveTo>
                  <a:cubicBezTo>
                    <a:pt x="2747" y="11548"/>
                    <a:pt x="1867" y="23096"/>
                    <a:pt x="1" y="34467"/>
                  </a:cubicBezTo>
                  <a:lnTo>
                    <a:pt x="247" y="34538"/>
                  </a:lnTo>
                  <a:cubicBezTo>
                    <a:pt x="2113" y="23131"/>
                    <a:pt x="2993" y="11548"/>
                    <a:pt x="28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603;p48">
              <a:extLst>
                <a:ext uri="{FF2B5EF4-FFF2-40B4-BE49-F238E27FC236}">
                  <a16:creationId xmlns:a16="http://schemas.microsoft.com/office/drawing/2014/main" id="{355B4CE4-A479-4E0D-BE7C-26B56F88F89F}"/>
                </a:ext>
              </a:extLst>
            </p:cNvPr>
            <p:cNvSpPr/>
            <p:nvPr/>
          </p:nvSpPr>
          <p:spPr>
            <a:xfrm flipH="1">
              <a:off x="1442971" y="3753045"/>
              <a:ext cx="690254" cy="852458"/>
            </a:xfrm>
            <a:custGeom>
              <a:avLst/>
              <a:gdLst/>
              <a:ahLst/>
              <a:cxnLst/>
              <a:rect l="l" t="t" r="r" b="b"/>
              <a:pathLst>
                <a:path w="48093" h="59394" extrusionOk="0">
                  <a:moveTo>
                    <a:pt x="29293" y="0"/>
                  </a:moveTo>
                  <a:cubicBezTo>
                    <a:pt x="29152" y="951"/>
                    <a:pt x="29011" y="1937"/>
                    <a:pt x="28870" y="2922"/>
                  </a:cubicBezTo>
                  <a:lnTo>
                    <a:pt x="32567" y="3274"/>
                  </a:lnTo>
                  <a:cubicBezTo>
                    <a:pt x="23061" y="4119"/>
                    <a:pt x="13802" y="6901"/>
                    <a:pt x="5423" y="11442"/>
                  </a:cubicBezTo>
                  <a:cubicBezTo>
                    <a:pt x="3838" y="12322"/>
                    <a:pt x="2219" y="13343"/>
                    <a:pt x="1374" y="15069"/>
                  </a:cubicBezTo>
                  <a:cubicBezTo>
                    <a:pt x="705" y="16371"/>
                    <a:pt x="599" y="17991"/>
                    <a:pt x="494" y="19540"/>
                  </a:cubicBezTo>
                  <a:lnTo>
                    <a:pt x="1" y="26194"/>
                  </a:lnTo>
                  <a:cubicBezTo>
                    <a:pt x="15456" y="28306"/>
                    <a:pt x="9683" y="44748"/>
                    <a:pt x="7394" y="59394"/>
                  </a:cubicBezTo>
                  <a:cubicBezTo>
                    <a:pt x="8204" y="59253"/>
                    <a:pt x="8978" y="59077"/>
                    <a:pt x="9295" y="58760"/>
                  </a:cubicBezTo>
                  <a:cubicBezTo>
                    <a:pt x="10105" y="57985"/>
                    <a:pt x="10035" y="56366"/>
                    <a:pt x="10035" y="55099"/>
                  </a:cubicBezTo>
                  <a:cubicBezTo>
                    <a:pt x="10105" y="50663"/>
                    <a:pt x="10844" y="47564"/>
                    <a:pt x="11865" y="43480"/>
                  </a:cubicBezTo>
                  <a:cubicBezTo>
                    <a:pt x="12569" y="40629"/>
                    <a:pt x="13379" y="38235"/>
                    <a:pt x="13802" y="35277"/>
                  </a:cubicBezTo>
                  <a:cubicBezTo>
                    <a:pt x="14224" y="32320"/>
                    <a:pt x="14048" y="28975"/>
                    <a:pt x="13027" y="23835"/>
                  </a:cubicBezTo>
                  <a:cubicBezTo>
                    <a:pt x="15212" y="22702"/>
                    <a:pt x="17985" y="22380"/>
                    <a:pt x="20891" y="22380"/>
                  </a:cubicBezTo>
                  <a:cubicBezTo>
                    <a:pt x="24306" y="22380"/>
                    <a:pt x="27904" y="22825"/>
                    <a:pt x="30947" y="22920"/>
                  </a:cubicBezTo>
                  <a:cubicBezTo>
                    <a:pt x="31338" y="22929"/>
                    <a:pt x="31731" y="22935"/>
                    <a:pt x="32125" y="22935"/>
                  </a:cubicBezTo>
                  <a:cubicBezTo>
                    <a:pt x="37410" y="22935"/>
                    <a:pt x="42883" y="21969"/>
                    <a:pt x="45734" y="17709"/>
                  </a:cubicBezTo>
                  <a:cubicBezTo>
                    <a:pt x="48058" y="14188"/>
                    <a:pt x="48093" y="9224"/>
                    <a:pt x="48058" y="4507"/>
                  </a:cubicBezTo>
                  <a:lnTo>
                    <a:pt x="2929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604;p48">
              <a:extLst>
                <a:ext uri="{FF2B5EF4-FFF2-40B4-BE49-F238E27FC236}">
                  <a16:creationId xmlns:a16="http://schemas.microsoft.com/office/drawing/2014/main" id="{71C88878-6C78-4756-95CF-D514EE5F9CD8}"/>
                </a:ext>
              </a:extLst>
            </p:cNvPr>
            <p:cNvSpPr/>
            <p:nvPr/>
          </p:nvSpPr>
          <p:spPr>
            <a:xfrm flipH="1">
              <a:off x="2593125" y="4576307"/>
              <a:ext cx="175861" cy="151004"/>
            </a:xfrm>
            <a:custGeom>
              <a:avLst/>
              <a:gdLst/>
              <a:ahLst/>
              <a:cxnLst/>
              <a:rect l="l" t="t" r="r" b="b"/>
              <a:pathLst>
                <a:path w="12253" h="10521" extrusionOk="0">
                  <a:moveTo>
                    <a:pt x="3205" y="1"/>
                  </a:moveTo>
                  <a:cubicBezTo>
                    <a:pt x="2430" y="3064"/>
                    <a:pt x="1374" y="6056"/>
                    <a:pt x="1" y="8873"/>
                  </a:cubicBezTo>
                  <a:cubicBezTo>
                    <a:pt x="1964" y="9963"/>
                    <a:pt x="4160" y="10520"/>
                    <a:pt x="6384" y="10520"/>
                  </a:cubicBezTo>
                  <a:cubicBezTo>
                    <a:pt x="7390" y="10520"/>
                    <a:pt x="8402" y="10406"/>
                    <a:pt x="9401" y="10175"/>
                  </a:cubicBezTo>
                  <a:cubicBezTo>
                    <a:pt x="9507" y="7113"/>
                    <a:pt x="10492" y="4155"/>
                    <a:pt x="12253" y="1620"/>
                  </a:cubicBezTo>
                  <a:lnTo>
                    <a:pt x="12253" y="1620"/>
                  </a:lnTo>
                  <a:cubicBezTo>
                    <a:pt x="12080" y="1624"/>
                    <a:pt x="11908" y="1626"/>
                    <a:pt x="11735" y="1626"/>
                  </a:cubicBezTo>
                  <a:cubicBezTo>
                    <a:pt x="8814" y="1626"/>
                    <a:pt x="5931" y="1065"/>
                    <a:pt x="320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605;p48">
              <a:extLst>
                <a:ext uri="{FF2B5EF4-FFF2-40B4-BE49-F238E27FC236}">
                  <a16:creationId xmlns:a16="http://schemas.microsoft.com/office/drawing/2014/main" id="{D01BC52E-2059-447D-BD04-8E00B25EE807}"/>
                </a:ext>
              </a:extLst>
            </p:cNvPr>
            <p:cNvSpPr/>
            <p:nvPr/>
          </p:nvSpPr>
          <p:spPr>
            <a:xfrm flipH="1">
              <a:off x="2596178" y="4669613"/>
              <a:ext cx="343612" cy="131082"/>
            </a:xfrm>
            <a:custGeom>
              <a:avLst/>
              <a:gdLst/>
              <a:ahLst/>
              <a:cxnLst/>
              <a:rect l="l" t="t" r="r" b="b"/>
              <a:pathLst>
                <a:path w="23941" h="9133" extrusionOk="0">
                  <a:moveTo>
                    <a:pt x="10967" y="1"/>
                  </a:moveTo>
                  <a:cubicBezTo>
                    <a:pt x="10604" y="1"/>
                    <a:pt x="10251" y="126"/>
                    <a:pt x="9964" y="366"/>
                  </a:cubicBezTo>
                  <a:cubicBezTo>
                    <a:pt x="9541" y="683"/>
                    <a:pt x="9154" y="1070"/>
                    <a:pt x="8802" y="1457"/>
                  </a:cubicBezTo>
                  <a:cubicBezTo>
                    <a:pt x="7605" y="2690"/>
                    <a:pt x="6126" y="3570"/>
                    <a:pt x="4471" y="4028"/>
                  </a:cubicBezTo>
                  <a:cubicBezTo>
                    <a:pt x="3380" y="4309"/>
                    <a:pt x="2183" y="4415"/>
                    <a:pt x="1303" y="5154"/>
                  </a:cubicBezTo>
                  <a:cubicBezTo>
                    <a:pt x="247" y="6034"/>
                    <a:pt x="0" y="7619"/>
                    <a:pt x="106" y="8992"/>
                  </a:cubicBezTo>
                  <a:lnTo>
                    <a:pt x="2148" y="9133"/>
                  </a:lnTo>
                  <a:lnTo>
                    <a:pt x="23166" y="9097"/>
                  </a:lnTo>
                  <a:cubicBezTo>
                    <a:pt x="23800" y="7196"/>
                    <a:pt x="23941" y="5189"/>
                    <a:pt x="23553" y="3218"/>
                  </a:cubicBezTo>
                  <a:cubicBezTo>
                    <a:pt x="23448" y="2690"/>
                    <a:pt x="23377" y="1528"/>
                    <a:pt x="22920" y="1211"/>
                  </a:cubicBezTo>
                  <a:cubicBezTo>
                    <a:pt x="22678" y="639"/>
                    <a:pt x="22079" y="383"/>
                    <a:pt x="21449" y="383"/>
                  </a:cubicBezTo>
                  <a:cubicBezTo>
                    <a:pt x="21070" y="383"/>
                    <a:pt x="20680" y="476"/>
                    <a:pt x="20349" y="648"/>
                  </a:cubicBezTo>
                  <a:cubicBezTo>
                    <a:pt x="19469" y="1070"/>
                    <a:pt x="18800" y="1880"/>
                    <a:pt x="17955" y="2373"/>
                  </a:cubicBezTo>
                  <a:cubicBezTo>
                    <a:pt x="17313" y="2713"/>
                    <a:pt x="16622" y="2877"/>
                    <a:pt x="15940" y="2877"/>
                  </a:cubicBezTo>
                  <a:cubicBezTo>
                    <a:pt x="14716" y="2877"/>
                    <a:pt x="13524" y="2347"/>
                    <a:pt x="12710" y="1352"/>
                  </a:cubicBezTo>
                  <a:cubicBezTo>
                    <a:pt x="12322" y="894"/>
                    <a:pt x="12041" y="296"/>
                    <a:pt x="11477" y="84"/>
                  </a:cubicBezTo>
                  <a:cubicBezTo>
                    <a:pt x="11309" y="28"/>
                    <a:pt x="11137" y="1"/>
                    <a:pt x="1096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606;p48">
              <a:extLst>
                <a:ext uri="{FF2B5EF4-FFF2-40B4-BE49-F238E27FC236}">
                  <a16:creationId xmlns:a16="http://schemas.microsoft.com/office/drawing/2014/main" id="{FE4CF0C4-9505-4BFF-AE98-55827F64B525}"/>
                </a:ext>
              </a:extLst>
            </p:cNvPr>
            <p:cNvSpPr/>
            <p:nvPr/>
          </p:nvSpPr>
          <p:spPr>
            <a:xfrm flipH="1">
              <a:off x="1726022" y="3683294"/>
              <a:ext cx="1051046" cy="961122"/>
            </a:xfrm>
            <a:custGeom>
              <a:avLst/>
              <a:gdLst/>
              <a:ahLst/>
              <a:cxnLst/>
              <a:rect l="l" t="t" r="r" b="b"/>
              <a:pathLst>
                <a:path w="73231" h="66965" extrusionOk="0">
                  <a:moveTo>
                    <a:pt x="50874" y="1"/>
                  </a:moveTo>
                  <a:lnTo>
                    <a:pt x="49783" y="3310"/>
                  </a:lnTo>
                  <a:lnTo>
                    <a:pt x="48902" y="3909"/>
                  </a:lnTo>
                  <a:cubicBezTo>
                    <a:pt x="36756" y="4894"/>
                    <a:pt x="30102" y="7816"/>
                    <a:pt x="19012" y="12886"/>
                  </a:cubicBezTo>
                  <a:cubicBezTo>
                    <a:pt x="16829" y="13872"/>
                    <a:pt x="14611" y="14999"/>
                    <a:pt x="13238" y="16935"/>
                  </a:cubicBezTo>
                  <a:cubicBezTo>
                    <a:pt x="12182" y="18414"/>
                    <a:pt x="11689" y="20209"/>
                    <a:pt x="11267" y="21970"/>
                  </a:cubicBezTo>
                  <a:cubicBezTo>
                    <a:pt x="7500" y="36510"/>
                    <a:pt x="3768" y="51015"/>
                    <a:pt x="1" y="65555"/>
                  </a:cubicBezTo>
                  <a:cubicBezTo>
                    <a:pt x="4309" y="66176"/>
                    <a:pt x="4636" y="66965"/>
                    <a:pt x="8809" y="66965"/>
                  </a:cubicBezTo>
                  <a:cubicBezTo>
                    <a:pt x="8899" y="66965"/>
                    <a:pt x="8990" y="66964"/>
                    <a:pt x="9084" y="66964"/>
                  </a:cubicBezTo>
                  <a:cubicBezTo>
                    <a:pt x="10246" y="66964"/>
                    <a:pt x="13344" y="66788"/>
                    <a:pt x="14259" y="66084"/>
                  </a:cubicBezTo>
                  <a:cubicBezTo>
                    <a:pt x="15421" y="65203"/>
                    <a:pt x="15667" y="63373"/>
                    <a:pt x="15949" y="61964"/>
                  </a:cubicBezTo>
                  <a:cubicBezTo>
                    <a:pt x="16900" y="56965"/>
                    <a:pt x="18449" y="53515"/>
                    <a:pt x="20561" y="48903"/>
                  </a:cubicBezTo>
                  <a:cubicBezTo>
                    <a:pt x="22005" y="45699"/>
                    <a:pt x="23448" y="42988"/>
                    <a:pt x="24575" y="39643"/>
                  </a:cubicBezTo>
                  <a:cubicBezTo>
                    <a:pt x="25701" y="36334"/>
                    <a:pt x="26124" y="32567"/>
                    <a:pt x="25948" y="26793"/>
                  </a:cubicBezTo>
                  <a:cubicBezTo>
                    <a:pt x="28873" y="25516"/>
                    <a:pt x="32362" y="25152"/>
                    <a:pt x="35955" y="25152"/>
                  </a:cubicBezTo>
                  <a:cubicBezTo>
                    <a:pt x="40190" y="25152"/>
                    <a:pt x="44568" y="25658"/>
                    <a:pt x="48339" y="25772"/>
                  </a:cubicBezTo>
                  <a:cubicBezTo>
                    <a:pt x="48846" y="25785"/>
                    <a:pt x="49357" y="25792"/>
                    <a:pt x="49870" y="25792"/>
                  </a:cubicBezTo>
                  <a:cubicBezTo>
                    <a:pt x="56386" y="25792"/>
                    <a:pt x="63330" y="24660"/>
                    <a:pt x="67703" y="19928"/>
                  </a:cubicBezTo>
                  <a:cubicBezTo>
                    <a:pt x="71294" y="15949"/>
                    <a:pt x="72350" y="10387"/>
                    <a:pt x="73230" y="5106"/>
                  </a:cubicBezTo>
                  <a:lnTo>
                    <a:pt x="5087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607;p48">
              <a:extLst>
                <a:ext uri="{FF2B5EF4-FFF2-40B4-BE49-F238E27FC236}">
                  <a16:creationId xmlns:a16="http://schemas.microsoft.com/office/drawing/2014/main" id="{4014C0FA-B1F7-451B-A346-279A9A48FDB3}"/>
                </a:ext>
              </a:extLst>
            </p:cNvPr>
            <p:cNvSpPr/>
            <p:nvPr/>
          </p:nvSpPr>
          <p:spPr>
            <a:xfrm flipH="1">
              <a:off x="1726000" y="3735344"/>
              <a:ext cx="906029" cy="908563"/>
            </a:xfrm>
            <a:custGeom>
              <a:avLst/>
              <a:gdLst/>
              <a:ahLst/>
              <a:cxnLst/>
              <a:rect l="l" t="t" r="r" b="b"/>
              <a:pathLst>
                <a:path w="63127" h="63303" extrusionOk="0">
                  <a:moveTo>
                    <a:pt x="56683" y="1"/>
                  </a:moveTo>
                  <a:cubicBezTo>
                    <a:pt x="46473" y="14541"/>
                    <a:pt x="25737" y="14788"/>
                    <a:pt x="10070" y="18872"/>
                  </a:cubicBezTo>
                  <a:cubicBezTo>
                    <a:pt x="12957" y="24681"/>
                    <a:pt x="10809" y="30455"/>
                    <a:pt x="9331" y="36229"/>
                  </a:cubicBezTo>
                  <a:cubicBezTo>
                    <a:pt x="6937" y="45382"/>
                    <a:pt x="1339" y="54184"/>
                    <a:pt x="1" y="63302"/>
                  </a:cubicBezTo>
                  <a:cubicBezTo>
                    <a:pt x="1409" y="63232"/>
                    <a:pt x="3451" y="62986"/>
                    <a:pt x="4155" y="62458"/>
                  </a:cubicBezTo>
                  <a:cubicBezTo>
                    <a:pt x="5317" y="61613"/>
                    <a:pt x="5563" y="59747"/>
                    <a:pt x="5810" y="58338"/>
                  </a:cubicBezTo>
                  <a:cubicBezTo>
                    <a:pt x="6761" y="53339"/>
                    <a:pt x="8345" y="49889"/>
                    <a:pt x="10422" y="45277"/>
                  </a:cubicBezTo>
                  <a:cubicBezTo>
                    <a:pt x="11865" y="42073"/>
                    <a:pt x="13344" y="39362"/>
                    <a:pt x="14436" y="36017"/>
                  </a:cubicBezTo>
                  <a:cubicBezTo>
                    <a:pt x="15562" y="32708"/>
                    <a:pt x="16020" y="28941"/>
                    <a:pt x="15809" y="23167"/>
                  </a:cubicBezTo>
                  <a:cubicBezTo>
                    <a:pt x="18750" y="21890"/>
                    <a:pt x="22241" y="21526"/>
                    <a:pt x="25830" y="21526"/>
                  </a:cubicBezTo>
                  <a:cubicBezTo>
                    <a:pt x="30061" y="21526"/>
                    <a:pt x="34429" y="22032"/>
                    <a:pt x="38200" y="22146"/>
                  </a:cubicBezTo>
                  <a:cubicBezTo>
                    <a:pt x="38722" y="22159"/>
                    <a:pt x="39247" y="22166"/>
                    <a:pt x="39775" y="22166"/>
                  </a:cubicBezTo>
                  <a:cubicBezTo>
                    <a:pt x="46303" y="22166"/>
                    <a:pt x="53199" y="21057"/>
                    <a:pt x="57564" y="16302"/>
                  </a:cubicBezTo>
                  <a:cubicBezTo>
                    <a:pt x="61190" y="12358"/>
                    <a:pt x="62246" y="6761"/>
                    <a:pt x="63126" y="1480"/>
                  </a:cubicBezTo>
                  <a:lnTo>
                    <a:pt x="5668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608;p48">
              <a:extLst>
                <a:ext uri="{FF2B5EF4-FFF2-40B4-BE49-F238E27FC236}">
                  <a16:creationId xmlns:a16="http://schemas.microsoft.com/office/drawing/2014/main" id="{7B0EACCD-5D9D-4A30-ADBB-3F991CE01E17}"/>
                </a:ext>
              </a:extLst>
            </p:cNvPr>
            <p:cNvSpPr/>
            <p:nvPr/>
          </p:nvSpPr>
          <p:spPr>
            <a:xfrm flipH="1">
              <a:off x="2058997" y="3859671"/>
              <a:ext cx="606378" cy="782232"/>
            </a:xfrm>
            <a:custGeom>
              <a:avLst/>
              <a:gdLst/>
              <a:ahLst/>
              <a:cxnLst/>
              <a:rect l="l" t="t" r="r" b="b"/>
              <a:pathLst>
                <a:path w="42249" h="54501" extrusionOk="0">
                  <a:moveTo>
                    <a:pt x="42142" y="1"/>
                  </a:moveTo>
                  <a:cubicBezTo>
                    <a:pt x="33306" y="3873"/>
                    <a:pt x="23905" y="6408"/>
                    <a:pt x="14329" y="7465"/>
                  </a:cubicBezTo>
                  <a:cubicBezTo>
                    <a:pt x="13308" y="7570"/>
                    <a:pt x="12076" y="7711"/>
                    <a:pt x="11302" y="8556"/>
                  </a:cubicBezTo>
                  <a:cubicBezTo>
                    <a:pt x="10809" y="9154"/>
                    <a:pt x="10703" y="9999"/>
                    <a:pt x="11090" y="10704"/>
                  </a:cubicBezTo>
                  <a:cubicBezTo>
                    <a:pt x="11126" y="10774"/>
                    <a:pt x="11126" y="10844"/>
                    <a:pt x="11055" y="10880"/>
                  </a:cubicBezTo>
                  <a:cubicBezTo>
                    <a:pt x="11034" y="10921"/>
                    <a:pt x="10990" y="10938"/>
                    <a:pt x="10949" y="10938"/>
                  </a:cubicBezTo>
                  <a:cubicBezTo>
                    <a:pt x="10920" y="10938"/>
                    <a:pt x="10894" y="10929"/>
                    <a:pt x="10879" y="10915"/>
                  </a:cubicBezTo>
                  <a:lnTo>
                    <a:pt x="10703" y="10809"/>
                  </a:lnTo>
                  <a:cubicBezTo>
                    <a:pt x="10492" y="10704"/>
                    <a:pt x="10281" y="10598"/>
                    <a:pt x="10034" y="10528"/>
                  </a:cubicBezTo>
                  <a:cubicBezTo>
                    <a:pt x="10002" y="10523"/>
                    <a:pt x="9971" y="10521"/>
                    <a:pt x="9940" y="10521"/>
                  </a:cubicBezTo>
                  <a:cubicBezTo>
                    <a:pt x="9734" y="10521"/>
                    <a:pt x="9558" y="10621"/>
                    <a:pt x="9436" y="10774"/>
                  </a:cubicBezTo>
                  <a:cubicBezTo>
                    <a:pt x="9295" y="10985"/>
                    <a:pt x="9295" y="11267"/>
                    <a:pt x="9436" y="11443"/>
                  </a:cubicBezTo>
                  <a:lnTo>
                    <a:pt x="10140" y="12464"/>
                  </a:lnTo>
                  <a:cubicBezTo>
                    <a:pt x="10210" y="12605"/>
                    <a:pt x="10245" y="12781"/>
                    <a:pt x="10175" y="12957"/>
                  </a:cubicBezTo>
                  <a:cubicBezTo>
                    <a:pt x="10105" y="13062"/>
                    <a:pt x="9999" y="13168"/>
                    <a:pt x="9858" y="13203"/>
                  </a:cubicBezTo>
                  <a:cubicBezTo>
                    <a:pt x="9612" y="13238"/>
                    <a:pt x="9400" y="13450"/>
                    <a:pt x="9365" y="13696"/>
                  </a:cubicBezTo>
                  <a:cubicBezTo>
                    <a:pt x="9295" y="14189"/>
                    <a:pt x="9365" y="14717"/>
                    <a:pt x="9612" y="15140"/>
                  </a:cubicBezTo>
                  <a:cubicBezTo>
                    <a:pt x="10809" y="17674"/>
                    <a:pt x="10421" y="20491"/>
                    <a:pt x="9893" y="22427"/>
                  </a:cubicBezTo>
                  <a:cubicBezTo>
                    <a:pt x="9330" y="24293"/>
                    <a:pt x="8626" y="26124"/>
                    <a:pt x="7746" y="27884"/>
                  </a:cubicBezTo>
                  <a:lnTo>
                    <a:pt x="7253" y="28905"/>
                  </a:lnTo>
                  <a:cubicBezTo>
                    <a:pt x="3591" y="37003"/>
                    <a:pt x="1127" y="45629"/>
                    <a:pt x="0" y="54430"/>
                  </a:cubicBezTo>
                  <a:lnTo>
                    <a:pt x="282" y="54501"/>
                  </a:lnTo>
                  <a:cubicBezTo>
                    <a:pt x="1408" y="45699"/>
                    <a:pt x="3838" y="37109"/>
                    <a:pt x="7534" y="29046"/>
                  </a:cubicBezTo>
                  <a:lnTo>
                    <a:pt x="7992" y="27990"/>
                  </a:lnTo>
                  <a:cubicBezTo>
                    <a:pt x="8872" y="26230"/>
                    <a:pt x="9612" y="24399"/>
                    <a:pt x="10175" y="22498"/>
                  </a:cubicBezTo>
                  <a:cubicBezTo>
                    <a:pt x="10703" y="20526"/>
                    <a:pt x="11090" y="17639"/>
                    <a:pt x="9858" y="15034"/>
                  </a:cubicBezTo>
                  <a:cubicBezTo>
                    <a:pt x="9647" y="14647"/>
                    <a:pt x="9576" y="14189"/>
                    <a:pt x="9682" y="13767"/>
                  </a:cubicBezTo>
                  <a:cubicBezTo>
                    <a:pt x="9752" y="13485"/>
                    <a:pt x="9823" y="13485"/>
                    <a:pt x="9893" y="13485"/>
                  </a:cubicBezTo>
                  <a:cubicBezTo>
                    <a:pt x="10140" y="13450"/>
                    <a:pt x="10351" y="13309"/>
                    <a:pt x="10457" y="13062"/>
                  </a:cubicBezTo>
                  <a:cubicBezTo>
                    <a:pt x="10562" y="12816"/>
                    <a:pt x="10527" y="12534"/>
                    <a:pt x="10386" y="12288"/>
                  </a:cubicBezTo>
                  <a:lnTo>
                    <a:pt x="9682" y="11302"/>
                  </a:lnTo>
                  <a:cubicBezTo>
                    <a:pt x="9612" y="11196"/>
                    <a:pt x="9612" y="11056"/>
                    <a:pt x="9682" y="10950"/>
                  </a:cubicBezTo>
                  <a:cubicBezTo>
                    <a:pt x="9752" y="10844"/>
                    <a:pt x="9858" y="10809"/>
                    <a:pt x="9964" y="10809"/>
                  </a:cubicBezTo>
                  <a:cubicBezTo>
                    <a:pt x="10175" y="10880"/>
                    <a:pt x="10386" y="10950"/>
                    <a:pt x="10562" y="11091"/>
                  </a:cubicBezTo>
                  <a:lnTo>
                    <a:pt x="10738" y="11196"/>
                  </a:lnTo>
                  <a:cubicBezTo>
                    <a:pt x="10797" y="11220"/>
                    <a:pt x="10859" y="11232"/>
                    <a:pt x="10922" y="11232"/>
                  </a:cubicBezTo>
                  <a:cubicBezTo>
                    <a:pt x="11047" y="11232"/>
                    <a:pt x="11172" y="11185"/>
                    <a:pt x="11266" y="11091"/>
                  </a:cubicBezTo>
                  <a:cubicBezTo>
                    <a:pt x="11407" y="10950"/>
                    <a:pt x="11442" y="10739"/>
                    <a:pt x="11337" y="10563"/>
                  </a:cubicBezTo>
                  <a:cubicBezTo>
                    <a:pt x="11020" y="9964"/>
                    <a:pt x="11090" y="9260"/>
                    <a:pt x="11513" y="8732"/>
                  </a:cubicBezTo>
                  <a:cubicBezTo>
                    <a:pt x="12217" y="7993"/>
                    <a:pt x="13414" y="7852"/>
                    <a:pt x="14329" y="7746"/>
                  </a:cubicBezTo>
                  <a:cubicBezTo>
                    <a:pt x="23976" y="6690"/>
                    <a:pt x="33376" y="4155"/>
                    <a:pt x="42248" y="282"/>
                  </a:cubicBezTo>
                  <a:lnTo>
                    <a:pt x="421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609;p48">
              <a:extLst>
                <a:ext uri="{FF2B5EF4-FFF2-40B4-BE49-F238E27FC236}">
                  <a16:creationId xmlns:a16="http://schemas.microsoft.com/office/drawing/2014/main" id="{E5C2C5DC-85F9-4694-8558-F92F8C35C696}"/>
                </a:ext>
              </a:extLst>
            </p:cNvPr>
            <p:cNvSpPr/>
            <p:nvPr/>
          </p:nvSpPr>
          <p:spPr>
            <a:xfrm flipH="1">
              <a:off x="1426722" y="2864568"/>
              <a:ext cx="194046" cy="206692"/>
            </a:xfrm>
            <a:custGeom>
              <a:avLst/>
              <a:gdLst/>
              <a:ahLst/>
              <a:cxnLst/>
              <a:rect l="l" t="t" r="r" b="b"/>
              <a:pathLst>
                <a:path w="13520" h="14401" extrusionOk="0">
                  <a:moveTo>
                    <a:pt x="458" y="1"/>
                  </a:moveTo>
                  <a:cubicBezTo>
                    <a:pt x="282" y="4789"/>
                    <a:pt x="141" y="9577"/>
                    <a:pt x="0" y="14400"/>
                  </a:cubicBezTo>
                  <a:cubicBezTo>
                    <a:pt x="4331" y="13274"/>
                    <a:pt x="9083" y="12957"/>
                    <a:pt x="13519" y="12464"/>
                  </a:cubicBezTo>
                  <a:cubicBezTo>
                    <a:pt x="11477" y="8943"/>
                    <a:pt x="10034" y="4402"/>
                    <a:pt x="9964" y="282"/>
                  </a:cubicBezTo>
                  <a:cubicBezTo>
                    <a:pt x="8780" y="375"/>
                    <a:pt x="7592" y="422"/>
                    <a:pt x="6405" y="422"/>
                  </a:cubicBezTo>
                  <a:cubicBezTo>
                    <a:pt x="4412" y="422"/>
                    <a:pt x="2421" y="288"/>
                    <a:pt x="458"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610;p48">
              <a:extLst>
                <a:ext uri="{FF2B5EF4-FFF2-40B4-BE49-F238E27FC236}">
                  <a16:creationId xmlns:a16="http://schemas.microsoft.com/office/drawing/2014/main" id="{56E18483-7E54-45CC-BBF7-640C0F973824}"/>
                </a:ext>
              </a:extLst>
            </p:cNvPr>
            <p:cNvSpPr/>
            <p:nvPr/>
          </p:nvSpPr>
          <p:spPr>
            <a:xfrm flipH="1">
              <a:off x="1484350" y="2689009"/>
              <a:ext cx="243560" cy="311624"/>
            </a:xfrm>
            <a:custGeom>
              <a:avLst/>
              <a:gdLst/>
              <a:ahLst/>
              <a:cxnLst/>
              <a:rect l="l" t="t" r="r" b="b"/>
              <a:pathLst>
                <a:path w="16970" h="21712" extrusionOk="0">
                  <a:moveTo>
                    <a:pt x="8860" y="1"/>
                  </a:moveTo>
                  <a:cubicBezTo>
                    <a:pt x="8019" y="1"/>
                    <a:pt x="7165" y="105"/>
                    <a:pt x="6338" y="225"/>
                  </a:cubicBezTo>
                  <a:cubicBezTo>
                    <a:pt x="5352" y="331"/>
                    <a:pt x="4366" y="542"/>
                    <a:pt x="3451" y="894"/>
                  </a:cubicBezTo>
                  <a:cubicBezTo>
                    <a:pt x="2500" y="1246"/>
                    <a:pt x="1725" y="1915"/>
                    <a:pt x="1197" y="2760"/>
                  </a:cubicBezTo>
                  <a:lnTo>
                    <a:pt x="352" y="3746"/>
                  </a:lnTo>
                  <a:cubicBezTo>
                    <a:pt x="176" y="5260"/>
                    <a:pt x="0" y="6809"/>
                    <a:pt x="599" y="8217"/>
                  </a:cubicBezTo>
                  <a:cubicBezTo>
                    <a:pt x="845" y="8675"/>
                    <a:pt x="1057" y="9133"/>
                    <a:pt x="1162" y="9626"/>
                  </a:cubicBezTo>
                  <a:cubicBezTo>
                    <a:pt x="1268" y="10259"/>
                    <a:pt x="1021" y="10893"/>
                    <a:pt x="916" y="11527"/>
                  </a:cubicBezTo>
                  <a:cubicBezTo>
                    <a:pt x="704" y="12829"/>
                    <a:pt x="1197" y="14202"/>
                    <a:pt x="1690" y="15470"/>
                  </a:cubicBezTo>
                  <a:lnTo>
                    <a:pt x="3451" y="20188"/>
                  </a:lnTo>
                  <a:cubicBezTo>
                    <a:pt x="3556" y="20645"/>
                    <a:pt x="3803" y="21032"/>
                    <a:pt x="4155" y="21385"/>
                  </a:cubicBezTo>
                  <a:cubicBezTo>
                    <a:pt x="4467" y="21634"/>
                    <a:pt x="4864" y="21712"/>
                    <a:pt x="5275" y="21712"/>
                  </a:cubicBezTo>
                  <a:cubicBezTo>
                    <a:pt x="5561" y="21712"/>
                    <a:pt x="5852" y="21674"/>
                    <a:pt x="6126" y="21631"/>
                  </a:cubicBezTo>
                  <a:cubicBezTo>
                    <a:pt x="7605" y="21420"/>
                    <a:pt x="9048" y="21138"/>
                    <a:pt x="10492" y="20786"/>
                  </a:cubicBezTo>
                  <a:cubicBezTo>
                    <a:pt x="12428" y="20293"/>
                    <a:pt x="14435" y="19624"/>
                    <a:pt x="15667" y="18040"/>
                  </a:cubicBezTo>
                  <a:cubicBezTo>
                    <a:pt x="16794" y="16596"/>
                    <a:pt x="16970" y="14660"/>
                    <a:pt x="16935" y="12794"/>
                  </a:cubicBezTo>
                  <a:cubicBezTo>
                    <a:pt x="16864" y="10576"/>
                    <a:pt x="16477" y="8358"/>
                    <a:pt x="15808" y="6210"/>
                  </a:cubicBezTo>
                  <a:cubicBezTo>
                    <a:pt x="15456" y="5013"/>
                    <a:pt x="14928" y="3852"/>
                    <a:pt x="14224" y="2831"/>
                  </a:cubicBezTo>
                  <a:cubicBezTo>
                    <a:pt x="13555" y="1774"/>
                    <a:pt x="12569" y="965"/>
                    <a:pt x="11407" y="437"/>
                  </a:cubicBezTo>
                  <a:cubicBezTo>
                    <a:pt x="10599" y="113"/>
                    <a:pt x="9736" y="1"/>
                    <a:pt x="8860"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611;p48">
              <a:extLst>
                <a:ext uri="{FF2B5EF4-FFF2-40B4-BE49-F238E27FC236}">
                  <a16:creationId xmlns:a16="http://schemas.microsoft.com/office/drawing/2014/main" id="{B6D8BC68-6467-4BF1-BCCB-9DECEC856805}"/>
                </a:ext>
              </a:extLst>
            </p:cNvPr>
            <p:cNvSpPr/>
            <p:nvPr/>
          </p:nvSpPr>
          <p:spPr>
            <a:xfrm flipH="1">
              <a:off x="1427249" y="2627542"/>
              <a:ext cx="354735" cy="335032"/>
            </a:xfrm>
            <a:custGeom>
              <a:avLst/>
              <a:gdLst/>
              <a:ahLst/>
              <a:cxnLst/>
              <a:rect l="l" t="t" r="r" b="b"/>
              <a:pathLst>
                <a:path w="24716" h="23343" extrusionOk="0">
                  <a:moveTo>
                    <a:pt x="5211" y="1"/>
                  </a:moveTo>
                  <a:cubicBezTo>
                    <a:pt x="5105" y="987"/>
                    <a:pt x="5457" y="1937"/>
                    <a:pt x="6126" y="2641"/>
                  </a:cubicBezTo>
                  <a:lnTo>
                    <a:pt x="3943" y="2712"/>
                  </a:lnTo>
                  <a:cubicBezTo>
                    <a:pt x="3239" y="2712"/>
                    <a:pt x="2324" y="2571"/>
                    <a:pt x="1831" y="1902"/>
                  </a:cubicBezTo>
                  <a:lnTo>
                    <a:pt x="1831" y="1902"/>
                  </a:lnTo>
                  <a:cubicBezTo>
                    <a:pt x="1690" y="2536"/>
                    <a:pt x="2042" y="3170"/>
                    <a:pt x="2676" y="3381"/>
                  </a:cubicBezTo>
                  <a:cubicBezTo>
                    <a:pt x="1655" y="3381"/>
                    <a:pt x="810" y="2641"/>
                    <a:pt x="634" y="1691"/>
                  </a:cubicBezTo>
                  <a:lnTo>
                    <a:pt x="634" y="1691"/>
                  </a:lnTo>
                  <a:cubicBezTo>
                    <a:pt x="71" y="3134"/>
                    <a:pt x="564" y="4824"/>
                    <a:pt x="1831" y="5740"/>
                  </a:cubicBezTo>
                  <a:cubicBezTo>
                    <a:pt x="1056" y="5493"/>
                    <a:pt x="423" y="5000"/>
                    <a:pt x="0" y="4296"/>
                  </a:cubicBezTo>
                  <a:lnTo>
                    <a:pt x="0" y="4296"/>
                  </a:lnTo>
                  <a:cubicBezTo>
                    <a:pt x="317" y="6232"/>
                    <a:pt x="1761" y="7852"/>
                    <a:pt x="3556" y="8767"/>
                  </a:cubicBezTo>
                  <a:lnTo>
                    <a:pt x="3556" y="8803"/>
                  </a:lnTo>
                  <a:cubicBezTo>
                    <a:pt x="4155" y="9507"/>
                    <a:pt x="4964" y="9964"/>
                    <a:pt x="5880" y="10140"/>
                  </a:cubicBezTo>
                  <a:cubicBezTo>
                    <a:pt x="7042" y="10352"/>
                    <a:pt x="7992" y="11232"/>
                    <a:pt x="8309" y="12394"/>
                  </a:cubicBezTo>
                  <a:cubicBezTo>
                    <a:pt x="8908" y="14753"/>
                    <a:pt x="9752" y="17076"/>
                    <a:pt x="11478" y="18625"/>
                  </a:cubicBezTo>
                  <a:cubicBezTo>
                    <a:pt x="13942" y="20914"/>
                    <a:pt x="18625" y="20808"/>
                    <a:pt x="21511" y="23343"/>
                  </a:cubicBezTo>
                  <a:cubicBezTo>
                    <a:pt x="22180" y="20280"/>
                    <a:pt x="22955" y="18168"/>
                    <a:pt x="23729" y="15105"/>
                  </a:cubicBezTo>
                  <a:cubicBezTo>
                    <a:pt x="24046" y="13767"/>
                    <a:pt x="24715" y="12112"/>
                    <a:pt x="24469" y="10739"/>
                  </a:cubicBezTo>
                  <a:cubicBezTo>
                    <a:pt x="24082" y="8345"/>
                    <a:pt x="23272" y="5986"/>
                    <a:pt x="22040" y="3874"/>
                  </a:cubicBezTo>
                  <a:cubicBezTo>
                    <a:pt x="21723" y="3205"/>
                    <a:pt x="21230" y="2641"/>
                    <a:pt x="20666" y="2184"/>
                  </a:cubicBezTo>
                  <a:cubicBezTo>
                    <a:pt x="19822" y="1550"/>
                    <a:pt x="18730" y="1480"/>
                    <a:pt x="17709" y="1409"/>
                  </a:cubicBezTo>
                  <a:cubicBezTo>
                    <a:pt x="16696" y="1369"/>
                    <a:pt x="15683" y="1274"/>
                    <a:pt x="14676" y="1274"/>
                  </a:cubicBezTo>
                  <a:cubicBezTo>
                    <a:pt x="13898" y="1274"/>
                    <a:pt x="13125" y="1331"/>
                    <a:pt x="12358" y="1515"/>
                  </a:cubicBezTo>
                  <a:cubicBezTo>
                    <a:pt x="11442" y="1374"/>
                    <a:pt x="10562" y="1092"/>
                    <a:pt x="9717" y="635"/>
                  </a:cubicBezTo>
                  <a:lnTo>
                    <a:pt x="9717" y="635"/>
                  </a:lnTo>
                  <a:cubicBezTo>
                    <a:pt x="9823" y="1022"/>
                    <a:pt x="10034" y="1409"/>
                    <a:pt x="10386" y="1656"/>
                  </a:cubicBezTo>
                  <a:cubicBezTo>
                    <a:pt x="9612" y="1656"/>
                    <a:pt x="8872" y="1374"/>
                    <a:pt x="8344" y="846"/>
                  </a:cubicBezTo>
                  <a:lnTo>
                    <a:pt x="8344" y="846"/>
                  </a:lnTo>
                  <a:cubicBezTo>
                    <a:pt x="8344" y="1409"/>
                    <a:pt x="8555" y="1937"/>
                    <a:pt x="8978" y="2360"/>
                  </a:cubicBezTo>
                  <a:cubicBezTo>
                    <a:pt x="8872" y="2360"/>
                    <a:pt x="8767" y="2395"/>
                    <a:pt x="8661" y="2395"/>
                  </a:cubicBezTo>
                  <a:lnTo>
                    <a:pt x="8520" y="2395"/>
                  </a:lnTo>
                  <a:cubicBezTo>
                    <a:pt x="7112" y="2184"/>
                    <a:pt x="5880" y="1268"/>
                    <a:pt x="52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612;p48">
              <a:extLst>
                <a:ext uri="{FF2B5EF4-FFF2-40B4-BE49-F238E27FC236}">
                  <a16:creationId xmlns:a16="http://schemas.microsoft.com/office/drawing/2014/main" id="{62956DB3-C9D9-430C-AFCA-27BE43F6FC38}"/>
                </a:ext>
              </a:extLst>
            </p:cNvPr>
            <p:cNvSpPr/>
            <p:nvPr/>
          </p:nvSpPr>
          <p:spPr>
            <a:xfrm flipH="1">
              <a:off x="1597022" y="2805011"/>
              <a:ext cx="65706" cy="112625"/>
            </a:xfrm>
            <a:custGeom>
              <a:avLst/>
              <a:gdLst/>
              <a:ahLst/>
              <a:cxnLst/>
              <a:rect l="l" t="t" r="r" b="b"/>
              <a:pathLst>
                <a:path w="4578" h="7847" extrusionOk="0">
                  <a:moveTo>
                    <a:pt x="2343" y="1"/>
                  </a:moveTo>
                  <a:cubicBezTo>
                    <a:pt x="2133" y="1"/>
                    <a:pt x="1920" y="55"/>
                    <a:pt x="1726" y="171"/>
                  </a:cubicBezTo>
                  <a:cubicBezTo>
                    <a:pt x="1233" y="524"/>
                    <a:pt x="1163" y="1157"/>
                    <a:pt x="1057" y="1721"/>
                  </a:cubicBezTo>
                  <a:cubicBezTo>
                    <a:pt x="954" y="2303"/>
                    <a:pt x="585" y="2919"/>
                    <a:pt x="46" y="2919"/>
                  </a:cubicBezTo>
                  <a:cubicBezTo>
                    <a:pt x="31" y="2919"/>
                    <a:pt x="16" y="2919"/>
                    <a:pt x="1" y="2918"/>
                  </a:cubicBezTo>
                  <a:lnTo>
                    <a:pt x="1" y="2918"/>
                  </a:lnTo>
                  <a:lnTo>
                    <a:pt x="1620" y="7776"/>
                  </a:lnTo>
                  <a:cubicBezTo>
                    <a:pt x="1773" y="7823"/>
                    <a:pt x="1937" y="7847"/>
                    <a:pt x="2104" y="7847"/>
                  </a:cubicBezTo>
                  <a:cubicBezTo>
                    <a:pt x="2438" y="7847"/>
                    <a:pt x="2782" y="7753"/>
                    <a:pt x="3064" y="7565"/>
                  </a:cubicBezTo>
                  <a:cubicBezTo>
                    <a:pt x="3486" y="7248"/>
                    <a:pt x="3803" y="6861"/>
                    <a:pt x="3979" y="6403"/>
                  </a:cubicBezTo>
                  <a:cubicBezTo>
                    <a:pt x="4578" y="5030"/>
                    <a:pt x="4367" y="3481"/>
                    <a:pt x="4050" y="2073"/>
                  </a:cubicBezTo>
                  <a:cubicBezTo>
                    <a:pt x="3944" y="1474"/>
                    <a:pt x="3698" y="911"/>
                    <a:pt x="3310" y="453"/>
                  </a:cubicBezTo>
                  <a:cubicBezTo>
                    <a:pt x="3065" y="163"/>
                    <a:pt x="2707" y="1"/>
                    <a:pt x="2343"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613;p48">
              <a:extLst>
                <a:ext uri="{FF2B5EF4-FFF2-40B4-BE49-F238E27FC236}">
                  <a16:creationId xmlns:a16="http://schemas.microsoft.com/office/drawing/2014/main" id="{924A8A68-27DF-4D2C-826D-5752CFCA07EB}"/>
                </a:ext>
              </a:extLst>
            </p:cNvPr>
            <p:cNvSpPr/>
            <p:nvPr/>
          </p:nvSpPr>
          <p:spPr>
            <a:xfrm flipH="1">
              <a:off x="1381247" y="2999072"/>
              <a:ext cx="291069" cy="91914"/>
            </a:xfrm>
            <a:custGeom>
              <a:avLst/>
              <a:gdLst/>
              <a:ahLst/>
              <a:cxnLst/>
              <a:rect l="l" t="t" r="r" b="b"/>
              <a:pathLst>
                <a:path w="20280" h="6404" extrusionOk="0">
                  <a:moveTo>
                    <a:pt x="11535" y="1"/>
                  </a:moveTo>
                  <a:cubicBezTo>
                    <a:pt x="7538" y="1"/>
                    <a:pt x="3762" y="1846"/>
                    <a:pt x="0" y="4397"/>
                  </a:cubicBezTo>
                  <a:cubicBezTo>
                    <a:pt x="282" y="5664"/>
                    <a:pt x="599" y="5136"/>
                    <a:pt x="915" y="6403"/>
                  </a:cubicBezTo>
                  <a:cubicBezTo>
                    <a:pt x="5912" y="5745"/>
                    <a:pt x="10951" y="5407"/>
                    <a:pt x="15999" y="5407"/>
                  </a:cubicBezTo>
                  <a:cubicBezTo>
                    <a:pt x="17425" y="5407"/>
                    <a:pt x="18852" y="5434"/>
                    <a:pt x="20279" y="5488"/>
                  </a:cubicBezTo>
                  <a:cubicBezTo>
                    <a:pt x="19962" y="3446"/>
                    <a:pt x="19504" y="4749"/>
                    <a:pt x="19751" y="2707"/>
                  </a:cubicBezTo>
                  <a:cubicBezTo>
                    <a:pt x="16877" y="796"/>
                    <a:pt x="14158" y="1"/>
                    <a:pt x="1153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614;p48">
              <a:extLst>
                <a:ext uri="{FF2B5EF4-FFF2-40B4-BE49-F238E27FC236}">
                  <a16:creationId xmlns:a16="http://schemas.microsoft.com/office/drawing/2014/main" id="{DAF40221-3C0A-4ED9-9D8D-4E15DC8E9B52}"/>
                </a:ext>
              </a:extLst>
            </p:cNvPr>
            <p:cNvSpPr/>
            <p:nvPr/>
          </p:nvSpPr>
          <p:spPr>
            <a:xfrm flipH="1">
              <a:off x="1413077" y="3030050"/>
              <a:ext cx="225894" cy="38192"/>
            </a:xfrm>
            <a:custGeom>
              <a:avLst/>
              <a:gdLst/>
              <a:ahLst/>
              <a:cxnLst/>
              <a:rect l="l" t="t" r="r" b="b"/>
              <a:pathLst>
                <a:path w="15739" h="2661" extrusionOk="0">
                  <a:moveTo>
                    <a:pt x="9731" y="1"/>
                  </a:moveTo>
                  <a:cubicBezTo>
                    <a:pt x="9088" y="1"/>
                    <a:pt x="8447" y="44"/>
                    <a:pt x="7817" y="126"/>
                  </a:cubicBezTo>
                  <a:cubicBezTo>
                    <a:pt x="5106" y="514"/>
                    <a:pt x="2536" y="1535"/>
                    <a:pt x="1" y="2555"/>
                  </a:cubicBezTo>
                  <a:cubicBezTo>
                    <a:pt x="1292" y="2625"/>
                    <a:pt x="2586" y="2660"/>
                    <a:pt x="3880" y="2660"/>
                  </a:cubicBezTo>
                  <a:cubicBezTo>
                    <a:pt x="7843" y="2660"/>
                    <a:pt x="11810" y="2330"/>
                    <a:pt x="15738" y="1640"/>
                  </a:cubicBezTo>
                  <a:cubicBezTo>
                    <a:pt x="13982" y="478"/>
                    <a:pt x="11852" y="1"/>
                    <a:pt x="97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615;p48">
              <a:extLst>
                <a:ext uri="{FF2B5EF4-FFF2-40B4-BE49-F238E27FC236}">
                  <a16:creationId xmlns:a16="http://schemas.microsoft.com/office/drawing/2014/main" id="{6F4A2D93-5468-4176-9E3B-A668943AAF9F}"/>
                </a:ext>
              </a:extLst>
            </p:cNvPr>
            <p:cNvSpPr/>
            <p:nvPr/>
          </p:nvSpPr>
          <p:spPr>
            <a:xfrm flipH="1">
              <a:off x="1263076" y="3050864"/>
              <a:ext cx="861550" cy="966276"/>
            </a:xfrm>
            <a:custGeom>
              <a:avLst/>
              <a:gdLst/>
              <a:ahLst/>
              <a:cxnLst/>
              <a:rect l="l" t="t" r="r" b="b"/>
              <a:pathLst>
                <a:path w="60028" h="67324" extrusionOk="0">
                  <a:moveTo>
                    <a:pt x="45461" y="0"/>
                  </a:moveTo>
                  <a:cubicBezTo>
                    <a:pt x="44987" y="0"/>
                    <a:pt x="44513" y="7"/>
                    <a:pt x="44044" y="14"/>
                  </a:cubicBezTo>
                  <a:cubicBezTo>
                    <a:pt x="40417" y="85"/>
                    <a:pt x="36756" y="120"/>
                    <a:pt x="33200" y="894"/>
                  </a:cubicBezTo>
                  <a:cubicBezTo>
                    <a:pt x="29644" y="1634"/>
                    <a:pt x="26159" y="3077"/>
                    <a:pt x="23518" y="5612"/>
                  </a:cubicBezTo>
                  <a:cubicBezTo>
                    <a:pt x="20314" y="8675"/>
                    <a:pt x="18695" y="13005"/>
                    <a:pt x="17639" y="17301"/>
                  </a:cubicBezTo>
                  <a:cubicBezTo>
                    <a:pt x="16583" y="21596"/>
                    <a:pt x="15984" y="26032"/>
                    <a:pt x="14435" y="30151"/>
                  </a:cubicBezTo>
                  <a:cubicBezTo>
                    <a:pt x="12815" y="34411"/>
                    <a:pt x="10245" y="38249"/>
                    <a:pt x="6901" y="41311"/>
                  </a:cubicBezTo>
                  <a:cubicBezTo>
                    <a:pt x="6126" y="42016"/>
                    <a:pt x="5316" y="42720"/>
                    <a:pt x="4612" y="43494"/>
                  </a:cubicBezTo>
                  <a:lnTo>
                    <a:pt x="0" y="47332"/>
                  </a:lnTo>
                  <a:cubicBezTo>
                    <a:pt x="1268" y="50712"/>
                    <a:pt x="2535" y="54056"/>
                    <a:pt x="4331" y="57154"/>
                  </a:cubicBezTo>
                  <a:cubicBezTo>
                    <a:pt x="6161" y="60253"/>
                    <a:pt x="8555" y="63104"/>
                    <a:pt x="11689" y="64900"/>
                  </a:cubicBezTo>
                  <a:cubicBezTo>
                    <a:pt x="14636" y="66619"/>
                    <a:pt x="18091" y="67323"/>
                    <a:pt x="21546" y="67323"/>
                  </a:cubicBezTo>
                  <a:cubicBezTo>
                    <a:pt x="22548" y="67323"/>
                    <a:pt x="23550" y="67264"/>
                    <a:pt x="24539" y="67153"/>
                  </a:cubicBezTo>
                  <a:cubicBezTo>
                    <a:pt x="28975" y="66660"/>
                    <a:pt x="33200" y="65252"/>
                    <a:pt x="37425" y="63844"/>
                  </a:cubicBezTo>
                  <a:cubicBezTo>
                    <a:pt x="38727" y="63421"/>
                    <a:pt x="40171" y="62893"/>
                    <a:pt x="41016" y="61767"/>
                  </a:cubicBezTo>
                  <a:cubicBezTo>
                    <a:pt x="41368" y="61238"/>
                    <a:pt x="41650" y="60675"/>
                    <a:pt x="41861" y="60041"/>
                  </a:cubicBezTo>
                  <a:lnTo>
                    <a:pt x="43903" y="54725"/>
                  </a:lnTo>
                  <a:cubicBezTo>
                    <a:pt x="45100" y="52965"/>
                    <a:pt x="46156" y="51099"/>
                    <a:pt x="47107" y="49198"/>
                  </a:cubicBezTo>
                  <a:cubicBezTo>
                    <a:pt x="52071" y="39481"/>
                    <a:pt x="54817" y="34446"/>
                    <a:pt x="57950" y="23990"/>
                  </a:cubicBezTo>
                  <a:cubicBezTo>
                    <a:pt x="59006" y="20469"/>
                    <a:pt x="60027" y="11245"/>
                    <a:pt x="58373" y="7971"/>
                  </a:cubicBezTo>
                  <a:cubicBezTo>
                    <a:pt x="57281" y="5929"/>
                    <a:pt x="57422" y="4521"/>
                    <a:pt x="55591" y="3147"/>
                  </a:cubicBezTo>
                  <a:cubicBezTo>
                    <a:pt x="54253" y="2162"/>
                    <a:pt x="52740" y="1352"/>
                    <a:pt x="51155" y="824"/>
                  </a:cubicBezTo>
                  <a:cubicBezTo>
                    <a:pt x="49372" y="116"/>
                    <a:pt x="47407" y="0"/>
                    <a:pt x="4546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616;p48">
              <a:extLst>
                <a:ext uri="{FF2B5EF4-FFF2-40B4-BE49-F238E27FC236}">
                  <a16:creationId xmlns:a16="http://schemas.microsoft.com/office/drawing/2014/main" id="{5EFCE2F3-9185-4767-83E7-99BDAE785839}"/>
                </a:ext>
              </a:extLst>
            </p:cNvPr>
            <p:cNvSpPr/>
            <p:nvPr/>
          </p:nvSpPr>
          <p:spPr>
            <a:xfrm flipH="1">
              <a:off x="1779991" y="3335089"/>
              <a:ext cx="317849" cy="498752"/>
            </a:xfrm>
            <a:custGeom>
              <a:avLst/>
              <a:gdLst/>
              <a:ahLst/>
              <a:cxnLst/>
              <a:rect l="l" t="t" r="r" b="b"/>
              <a:pathLst>
                <a:path w="22146" h="34750" extrusionOk="0">
                  <a:moveTo>
                    <a:pt x="21863" y="0"/>
                  </a:moveTo>
                  <a:cubicBezTo>
                    <a:pt x="20103" y="5528"/>
                    <a:pt x="17568" y="12675"/>
                    <a:pt x="13801" y="19188"/>
                  </a:cubicBezTo>
                  <a:cubicBezTo>
                    <a:pt x="9964" y="25772"/>
                    <a:pt x="5316" y="30912"/>
                    <a:pt x="0" y="34503"/>
                  </a:cubicBezTo>
                  <a:lnTo>
                    <a:pt x="176" y="34749"/>
                  </a:lnTo>
                  <a:cubicBezTo>
                    <a:pt x="5528" y="31158"/>
                    <a:pt x="10175" y="25983"/>
                    <a:pt x="14048" y="19329"/>
                  </a:cubicBezTo>
                  <a:cubicBezTo>
                    <a:pt x="17850" y="12780"/>
                    <a:pt x="20350" y="5633"/>
                    <a:pt x="22145" y="106"/>
                  </a:cubicBezTo>
                  <a:lnTo>
                    <a:pt x="2186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617;p48">
              <a:extLst>
                <a:ext uri="{FF2B5EF4-FFF2-40B4-BE49-F238E27FC236}">
                  <a16:creationId xmlns:a16="http://schemas.microsoft.com/office/drawing/2014/main" id="{765A6820-039A-431E-B342-0949F987FBF8}"/>
                </a:ext>
              </a:extLst>
            </p:cNvPr>
            <p:cNvSpPr/>
            <p:nvPr/>
          </p:nvSpPr>
          <p:spPr>
            <a:xfrm flipH="1">
              <a:off x="1271649" y="3211208"/>
              <a:ext cx="685202" cy="814396"/>
            </a:xfrm>
            <a:custGeom>
              <a:avLst/>
              <a:gdLst/>
              <a:ahLst/>
              <a:cxnLst/>
              <a:rect l="l" t="t" r="r" b="b"/>
              <a:pathLst>
                <a:path w="47741" h="56742" extrusionOk="0">
                  <a:moveTo>
                    <a:pt x="31385" y="1"/>
                  </a:moveTo>
                  <a:cubicBezTo>
                    <a:pt x="31110" y="1"/>
                    <a:pt x="30835" y="2"/>
                    <a:pt x="30560" y="5"/>
                  </a:cubicBezTo>
                  <a:cubicBezTo>
                    <a:pt x="27145" y="40"/>
                    <a:pt x="23484" y="392"/>
                    <a:pt x="20773" y="2539"/>
                  </a:cubicBezTo>
                  <a:cubicBezTo>
                    <a:pt x="17534" y="5039"/>
                    <a:pt x="16513" y="9405"/>
                    <a:pt x="15492" y="13383"/>
                  </a:cubicBezTo>
                  <a:cubicBezTo>
                    <a:pt x="12217" y="26374"/>
                    <a:pt x="7218" y="38908"/>
                    <a:pt x="635" y="50597"/>
                  </a:cubicBezTo>
                  <a:cubicBezTo>
                    <a:pt x="318" y="51160"/>
                    <a:pt x="1" y="51758"/>
                    <a:pt x="142" y="52392"/>
                  </a:cubicBezTo>
                  <a:cubicBezTo>
                    <a:pt x="282" y="53026"/>
                    <a:pt x="881" y="53484"/>
                    <a:pt x="1409" y="53836"/>
                  </a:cubicBezTo>
                  <a:cubicBezTo>
                    <a:pt x="4657" y="55820"/>
                    <a:pt x="8423" y="56742"/>
                    <a:pt x="12223" y="56742"/>
                  </a:cubicBezTo>
                  <a:cubicBezTo>
                    <a:pt x="15838" y="56742"/>
                    <a:pt x="19483" y="55908"/>
                    <a:pt x="22744" y="54364"/>
                  </a:cubicBezTo>
                  <a:cubicBezTo>
                    <a:pt x="29469" y="51230"/>
                    <a:pt x="34644" y="45386"/>
                    <a:pt x="38165" y="38873"/>
                  </a:cubicBezTo>
                  <a:cubicBezTo>
                    <a:pt x="41685" y="32324"/>
                    <a:pt x="43657" y="25072"/>
                    <a:pt x="45206" y="17819"/>
                  </a:cubicBezTo>
                  <a:cubicBezTo>
                    <a:pt x="45945" y="14475"/>
                    <a:pt x="46579" y="11095"/>
                    <a:pt x="47178" y="7750"/>
                  </a:cubicBezTo>
                  <a:cubicBezTo>
                    <a:pt x="47494" y="6060"/>
                    <a:pt x="47741" y="4159"/>
                    <a:pt x="46790" y="2751"/>
                  </a:cubicBezTo>
                  <a:cubicBezTo>
                    <a:pt x="45804" y="1342"/>
                    <a:pt x="43868" y="920"/>
                    <a:pt x="42108" y="674"/>
                  </a:cubicBezTo>
                  <a:cubicBezTo>
                    <a:pt x="38543" y="216"/>
                    <a:pt x="34978" y="1"/>
                    <a:pt x="3138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618;p48">
              <a:extLst>
                <a:ext uri="{FF2B5EF4-FFF2-40B4-BE49-F238E27FC236}">
                  <a16:creationId xmlns:a16="http://schemas.microsoft.com/office/drawing/2014/main" id="{AAF90FE4-7A28-4798-B9AA-CA86E418E9D2}"/>
                </a:ext>
              </a:extLst>
            </p:cNvPr>
            <p:cNvSpPr/>
            <p:nvPr/>
          </p:nvSpPr>
          <p:spPr>
            <a:xfrm flipH="1">
              <a:off x="1756758" y="3107164"/>
              <a:ext cx="367868" cy="658426"/>
            </a:xfrm>
            <a:custGeom>
              <a:avLst/>
              <a:gdLst/>
              <a:ahLst/>
              <a:cxnLst/>
              <a:rect l="l" t="t" r="r" b="b"/>
              <a:pathLst>
                <a:path w="25631" h="45875" extrusionOk="0">
                  <a:moveTo>
                    <a:pt x="25631" y="0"/>
                  </a:moveTo>
                  <a:lnTo>
                    <a:pt x="25631" y="0"/>
                  </a:lnTo>
                  <a:cubicBezTo>
                    <a:pt x="24856" y="493"/>
                    <a:pt x="24152" y="1056"/>
                    <a:pt x="23518" y="1690"/>
                  </a:cubicBezTo>
                  <a:cubicBezTo>
                    <a:pt x="20314" y="4753"/>
                    <a:pt x="18695" y="9083"/>
                    <a:pt x="17639" y="13379"/>
                  </a:cubicBezTo>
                  <a:cubicBezTo>
                    <a:pt x="16583" y="17674"/>
                    <a:pt x="15984" y="22110"/>
                    <a:pt x="14435" y="26229"/>
                  </a:cubicBezTo>
                  <a:cubicBezTo>
                    <a:pt x="12815" y="30489"/>
                    <a:pt x="10245" y="34327"/>
                    <a:pt x="6901" y="37389"/>
                  </a:cubicBezTo>
                  <a:cubicBezTo>
                    <a:pt x="6126" y="38094"/>
                    <a:pt x="5316" y="38798"/>
                    <a:pt x="4612" y="39572"/>
                  </a:cubicBezTo>
                  <a:lnTo>
                    <a:pt x="0" y="43410"/>
                  </a:lnTo>
                  <a:cubicBezTo>
                    <a:pt x="282" y="44255"/>
                    <a:pt x="599" y="45065"/>
                    <a:pt x="916" y="45874"/>
                  </a:cubicBezTo>
                  <a:cubicBezTo>
                    <a:pt x="17111" y="37636"/>
                    <a:pt x="15949" y="14540"/>
                    <a:pt x="25631" y="0"/>
                  </a:cubicBezTo>
                  <a:close/>
                </a:path>
              </a:pathLst>
            </a:custGeom>
            <a:solidFill>
              <a:srgbClr val="85C3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619;p48">
              <a:extLst>
                <a:ext uri="{FF2B5EF4-FFF2-40B4-BE49-F238E27FC236}">
                  <a16:creationId xmlns:a16="http://schemas.microsoft.com/office/drawing/2014/main" id="{242A064E-860E-4502-BF62-F21C68E02DF7}"/>
                </a:ext>
              </a:extLst>
            </p:cNvPr>
            <p:cNvSpPr/>
            <p:nvPr/>
          </p:nvSpPr>
          <p:spPr>
            <a:xfrm flipH="1">
              <a:off x="1753768" y="3222892"/>
              <a:ext cx="645273" cy="428009"/>
            </a:xfrm>
            <a:custGeom>
              <a:avLst/>
              <a:gdLst/>
              <a:ahLst/>
              <a:cxnLst/>
              <a:rect l="l" t="t" r="r" b="b"/>
              <a:pathLst>
                <a:path w="44959" h="29821" extrusionOk="0">
                  <a:moveTo>
                    <a:pt x="34397" y="0"/>
                  </a:moveTo>
                  <a:cubicBezTo>
                    <a:pt x="30595" y="3556"/>
                    <a:pt x="24609" y="16583"/>
                    <a:pt x="19434" y="17709"/>
                  </a:cubicBezTo>
                  <a:cubicBezTo>
                    <a:pt x="17744" y="18061"/>
                    <a:pt x="16512" y="18836"/>
                    <a:pt x="14787" y="18942"/>
                  </a:cubicBezTo>
                  <a:cubicBezTo>
                    <a:pt x="7253" y="19364"/>
                    <a:pt x="8274" y="19786"/>
                    <a:pt x="704" y="20209"/>
                  </a:cubicBezTo>
                  <a:lnTo>
                    <a:pt x="0" y="26124"/>
                  </a:lnTo>
                  <a:cubicBezTo>
                    <a:pt x="12111" y="26863"/>
                    <a:pt x="12111" y="29116"/>
                    <a:pt x="24222" y="29820"/>
                  </a:cubicBezTo>
                  <a:cubicBezTo>
                    <a:pt x="29151" y="25596"/>
                    <a:pt x="40488" y="14153"/>
                    <a:pt x="44959" y="6267"/>
                  </a:cubicBezTo>
                  <a:lnTo>
                    <a:pt x="34397" y="0"/>
                  </a:ln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620;p48">
              <a:extLst>
                <a:ext uri="{FF2B5EF4-FFF2-40B4-BE49-F238E27FC236}">
                  <a16:creationId xmlns:a16="http://schemas.microsoft.com/office/drawing/2014/main" id="{14AF8AF0-F6D6-4346-9F2B-BB69974FBBCA}"/>
                </a:ext>
              </a:extLst>
            </p:cNvPr>
            <p:cNvSpPr/>
            <p:nvPr/>
          </p:nvSpPr>
          <p:spPr>
            <a:xfrm flipH="1">
              <a:off x="2338432" y="3494643"/>
              <a:ext cx="276917" cy="113729"/>
            </a:xfrm>
            <a:custGeom>
              <a:avLst/>
              <a:gdLst/>
              <a:ahLst/>
              <a:cxnLst/>
              <a:rect l="l" t="t" r="r" b="b"/>
              <a:pathLst>
                <a:path w="19294" h="7924" extrusionOk="0">
                  <a:moveTo>
                    <a:pt x="11690" y="0"/>
                  </a:moveTo>
                  <a:cubicBezTo>
                    <a:pt x="11585" y="0"/>
                    <a:pt x="11479" y="4"/>
                    <a:pt x="11372" y="11"/>
                  </a:cubicBezTo>
                  <a:cubicBezTo>
                    <a:pt x="10598" y="81"/>
                    <a:pt x="9859" y="257"/>
                    <a:pt x="9154" y="503"/>
                  </a:cubicBezTo>
                  <a:cubicBezTo>
                    <a:pt x="7817" y="855"/>
                    <a:pt x="6514" y="1419"/>
                    <a:pt x="5317" y="2158"/>
                  </a:cubicBezTo>
                  <a:cubicBezTo>
                    <a:pt x="3381" y="3531"/>
                    <a:pt x="2148" y="5890"/>
                    <a:pt x="1" y="6876"/>
                  </a:cubicBezTo>
                  <a:cubicBezTo>
                    <a:pt x="381" y="7170"/>
                    <a:pt x="846" y="7285"/>
                    <a:pt x="1329" y="7285"/>
                  </a:cubicBezTo>
                  <a:cubicBezTo>
                    <a:pt x="1830" y="7285"/>
                    <a:pt x="2351" y="7161"/>
                    <a:pt x="2817" y="6981"/>
                  </a:cubicBezTo>
                  <a:cubicBezTo>
                    <a:pt x="3768" y="6594"/>
                    <a:pt x="4648" y="6101"/>
                    <a:pt x="5634" y="6031"/>
                  </a:cubicBezTo>
                  <a:cubicBezTo>
                    <a:pt x="5688" y="6028"/>
                    <a:pt x="5742" y="6026"/>
                    <a:pt x="5796" y="6026"/>
                  </a:cubicBezTo>
                  <a:cubicBezTo>
                    <a:pt x="7001" y="6026"/>
                    <a:pt x="8114" y="6756"/>
                    <a:pt x="9260" y="7228"/>
                  </a:cubicBezTo>
                  <a:cubicBezTo>
                    <a:pt x="10301" y="7695"/>
                    <a:pt x="11416" y="7923"/>
                    <a:pt x="12529" y="7923"/>
                  </a:cubicBezTo>
                  <a:cubicBezTo>
                    <a:pt x="13599" y="7923"/>
                    <a:pt x="14667" y="7712"/>
                    <a:pt x="15668" y="7298"/>
                  </a:cubicBezTo>
                  <a:cubicBezTo>
                    <a:pt x="17710" y="6348"/>
                    <a:pt x="19118" y="4411"/>
                    <a:pt x="19294" y="2158"/>
                  </a:cubicBezTo>
                  <a:cubicBezTo>
                    <a:pt x="16654" y="2023"/>
                    <a:pt x="14307" y="0"/>
                    <a:pt x="11690" y="0"/>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621;p48">
              <a:extLst>
                <a:ext uri="{FF2B5EF4-FFF2-40B4-BE49-F238E27FC236}">
                  <a16:creationId xmlns:a16="http://schemas.microsoft.com/office/drawing/2014/main" id="{4A0A4F52-CC4B-494B-A84D-7C97B7F8B219}"/>
                </a:ext>
              </a:extLst>
            </p:cNvPr>
            <p:cNvSpPr/>
            <p:nvPr/>
          </p:nvSpPr>
          <p:spPr>
            <a:xfrm flipH="1">
              <a:off x="1741139" y="3268369"/>
              <a:ext cx="657902" cy="383043"/>
            </a:xfrm>
            <a:custGeom>
              <a:avLst/>
              <a:gdLst/>
              <a:ahLst/>
              <a:cxnLst/>
              <a:rect l="l" t="t" r="r" b="b"/>
              <a:pathLst>
                <a:path w="45839" h="26688" extrusionOk="0">
                  <a:moveTo>
                    <a:pt x="39607" y="1"/>
                  </a:moveTo>
                  <a:cubicBezTo>
                    <a:pt x="30170" y="9861"/>
                    <a:pt x="29822" y="22044"/>
                    <a:pt x="14392" y="22044"/>
                  </a:cubicBezTo>
                  <a:cubicBezTo>
                    <a:pt x="11805" y="22044"/>
                    <a:pt x="8794" y="21702"/>
                    <a:pt x="5246" y="20949"/>
                  </a:cubicBezTo>
                  <a:cubicBezTo>
                    <a:pt x="4771" y="20851"/>
                    <a:pt x="4246" y="20796"/>
                    <a:pt x="3718" y="20796"/>
                  </a:cubicBezTo>
                  <a:cubicBezTo>
                    <a:pt x="1975" y="20796"/>
                    <a:pt x="189" y="21389"/>
                    <a:pt x="0" y="22956"/>
                  </a:cubicBezTo>
                  <a:lnTo>
                    <a:pt x="0" y="22991"/>
                  </a:lnTo>
                  <a:cubicBezTo>
                    <a:pt x="12111" y="23695"/>
                    <a:pt x="12076" y="25983"/>
                    <a:pt x="24222" y="26688"/>
                  </a:cubicBezTo>
                  <a:cubicBezTo>
                    <a:pt x="31193" y="22920"/>
                    <a:pt x="41403" y="11232"/>
                    <a:pt x="45839" y="3346"/>
                  </a:cubicBezTo>
                  <a:lnTo>
                    <a:pt x="39607" y="1"/>
                  </a:lnTo>
                  <a:close/>
                </a:path>
              </a:pathLst>
            </a:custGeom>
            <a:solidFill>
              <a:srgbClr val="D885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622;p48">
              <a:extLst>
                <a:ext uri="{FF2B5EF4-FFF2-40B4-BE49-F238E27FC236}">
                  <a16:creationId xmlns:a16="http://schemas.microsoft.com/office/drawing/2014/main" id="{13CC101B-4127-4A45-B175-E70E8265735F}"/>
                </a:ext>
              </a:extLst>
            </p:cNvPr>
            <p:cNvSpPr/>
            <p:nvPr/>
          </p:nvSpPr>
          <p:spPr>
            <a:xfrm flipH="1">
              <a:off x="1632929" y="3087957"/>
              <a:ext cx="313817" cy="300157"/>
            </a:xfrm>
            <a:custGeom>
              <a:avLst/>
              <a:gdLst/>
              <a:ahLst/>
              <a:cxnLst/>
              <a:rect l="l" t="t" r="r" b="b"/>
              <a:pathLst>
                <a:path w="21865" h="20913" extrusionOk="0">
                  <a:moveTo>
                    <a:pt x="16442" y="0"/>
                  </a:moveTo>
                  <a:cubicBezTo>
                    <a:pt x="11866" y="247"/>
                    <a:pt x="10880" y="1232"/>
                    <a:pt x="8521" y="2641"/>
                  </a:cubicBezTo>
                  <a:cubicBezTo>
                    <a:pt x="5388" y="4542"/>
                    <a:pt x="3662" y="7218"/>
                    <a:pt x="1022" y="10069"/>
                  </a:cubicBezTo>
                  <a:cubicBezTo>
                    <a:pt x="635" y="10492"/>
                    <a:pt x="283" y="10949"/>
                    <a:pt x="1" y="11478"/>
                  </a:cubicBezTo>
                  <a:cubicBezTo>
                    <a:pt x="4014" y="14294"/>
                    <a:pt x="7817" y="17463"/>
                    <a:pt x="11373" y="20913"/>
                  </a:cubicBezTo>
                  <a:cubicBezTo>
                    <a:pt x="12781" y="19399"/>
                    <a:pt x="14224" y="17885"/>
                    <a:pt x="15668" y="16512"/>
                  </a:cubicBezTo>
                  <a:cubicBezTo>
                    <a:pt x="17393" y="14752"/>
                    <a:pt x="18872" y="12815"/>
                    <a:pt x="20104" y="10703"/>
                  </a:cubicBezTo>
                  <a:cubicBezTo>
                    <a:pt x="21266" y="8731"/>
                    <a:pt x="21864" y="6337"/>
                    <a:pt x="21230" y="4155"/>
                  </a:cubicBezTo>
                  <a:cubicBezTo>
                    <a:pt x="20596" y="2085"/>
                    <a:pt x="19582" y="301"/>
                    <a:pt x="17529" y="301"/>
                  </a:cubicBezTo>
                  <a:cubicBezTo>
                    <a:pt x="17416" y="301"/>
                    <a:pt x="17301" y="306"/>
                    <a:pt x="17182" y="317"/>
                  </a:cubicBezTo>
                  <a:lnTo>
                    <a:pt x="164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623;p48">
              <a:extLst>
                <a:ext uri="{FF2B5EF4-FFF2-40B4-BE49-F238E27FC236}">
                  <a16:creationId xmlns:a16="http://schemas.microsoft.com/office/drawing/2014/main" id="{B7DDE0E8-3022-4BF2-90D5-54B1DB7F3FE5}"/>
                </a:ext>
              </a:extLst>
            </p:cNvPr>
            <p:cNvSpPr/>
            <p:nvPr/>
          </p:nvSpPr>
          <p:spPr>
            <a:xfrm flipH="1">
              <a:off x="2263615" y="4634930"/>
              <a:ext cx="162212" cy="139321"/>
            </a:xfrm>
            <a:custGeom>
              <a:avLst/>
              <a:gdLst/>
              <a:ahLst/>
              <a:cxnLst/>
              <a:rect l="l" t="t" r="r" b="b"/>
              <a:pathLst>
                <a:path w="11302" h="9707" extrusionOk="0">
                  <a:moveTo>
                    <a:pt x="6443" y="1"/>
                  </a:moveTo>
                  <a:cubicBezTo>
                    <a:pt x="2148" y="1"/>
                    <a:pt x="0" y="5211"/>
                    <a:pt x="3028" y="8274"/>
                  </a:cubicBezTo>
                  <a:cubicBezTo>
                    <a:pt x="4018" y="9264"/>
                    <a:pt x="5232" y="9706"/>
                    <a:pt x="6422" y="9706"/>
                  </a:cubicBezTo>
                  <a:cubicBezTo>
                    <a:pt x="8914" y="9706"/>
                    <a:pt x="11301" y="7767"/>
                    <a:pt x="11301" y="4859"/>
                  </a:cubicBezTo>
                  <a:cubicBezTo>
                    <a:pt x="11301" y="2184"/>
                    <a:pt x="9119" y="1"/>
                    <a:pt x="644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624;p48">
              <a:extLst>
                <a:ext uri="{FF2B5EF4-FFF2-40B4-BE49-F238E27FC236}">
                  <a16:creationId xmlns:a16="http://schemas.microsoft.com/office/drawing/2014/main" id="{733DC776-ED79-4110-96C1-3BE22353DA18}"/>
                </a:ext>
              </a:extLst>
            </p:cNvPr>
            <p:cNvSpPr/>
            <p:nvPr/>
          </p:nvSpPr>
          <p:spPr>
            <a:xfrm flipH="1">
              <a:off x="998668" y="4636954"/>
              <a:ext cx="162728" cy="139306"/>
            </a:xfrm>
            <a:custGeom>
              <a:avLst/>
              <a:gdLst/>
              <a:ahLst/>
              <a:cxnLst/>
              <a:rect l="l" t="t" r="r" b="b"/>
              <a:pathLst>
                <a:path w="11338" h="9706" extrusionOk="0">
                  <a:moveTo>
                    <a:pt x="6479" y="1"/>
                  </a:moveTo>
                  <a:cubicBezTo>
                    <a:pt x="2184" y="1"/>
                    <a:pt x="1" y="5211"/>
                    <a:pt x="3064" y="8274"/>
                  </a:cubicBezTo>
                  <a:cubicBezTo>
                    <a:pt x="4054" y="9264"/>
                    <a:pt x="5268" y="9706"/>
                    <a:pt x="6458" y="9706"/>
                  </a:cubicBezTo>
                  <a:cubicBezTo>
                    <a:pt x="8950" y="9706"/>
                    <a:pt x="11337" y="7766"/>
                    <a:pt x="11337" y="4859"/>
                  </a:cubicBezTo>
                  <a:cubicBezTo>
                    <a:pt x="11337" y="2183"/>
                    <a:pt x="9155" y="1"/>
                    <a:pt x="64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625;p48">
              <a:extLst>
                <a:ext uri="{FF2B5EF4-FFF2-40B4-BE49-F238E27FC236}">
                  <a16:creationId xmlns:a16="http://schemas.microsoft.com/office/drawing/2014/main" id="{9A9C32D7-D2C6-4DFA-87EF-B19DC928E901}"/>
                </a:ext>
              </a:extLst>
            </p:cNvPr>
            <p:cNvSpPr/>
            <p:nvPr/>
          </p:nvSpPr>
          <p:spPr>
            <a:xfrm flipH="1">
              <a:off x="1030496" y="4668794"/>
              <a:ext cx="88440" cy="75839"/>
            </a:xfrm>
            <a:custGeom>
              <a:avLst/>
              <a:gdLst/>
              <a:ahLst/>
              <a:cxnLst/>
              <a:rect l="l" t="t" r="r" b="b"/>
              <a:pathLst>
                <a:path w="6162" h="5284" extrusionOk="0">
                  <a:moveTo>
                    <a:pt x="3521" y="1"/>
                  </a:moveTo>
                  <a:cubicBezTo>
                    <a:pt x="1162" y="1"/>
                    <a:pt x="0" y="2852"/>
                    <a:pt x="1655" y="4507"/>
                  </a:cubicBezTo>
                  <a:cubicBezTo>
                    <a:pt x="2191" y="5043"/>
                    <a:pt x="2852" y="5284"/>
                    <a:pt x="3502" y="5284"/>
                  </a:cubicBezTo>
                  <a:cubicBezTo>
                    <a:pt x="4858" y="5284"/>
                    <a:pt x="6161" y="4236"/>
                    <a:pt x="6161" y="2641"/>
                  </a:cubicBezTo>
                  <a:cubicBezTo>
                    <a:pt x="6161" y="1162"/>
                    <a:pt x="5000" y="1"/>
                    <a:pt x="352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626;p48">
              <a:extLst>
                <a:ext uri="{FF2B5EF4-FFF2-40B4-BE49-F238E27FC236}">
                  <a16:creationId xmlns:a16="http://schemas.microsoft.com/office/drawing/2014/main" id="{4B4A83BC-3FF5-4839-8A21-C508E045D629}"/>
                </a:ext>
              </a:extLst>
            </p:cNvPr>
            <p:cNvSpPr/>
            <p:nvPr/>
          </p:nvSpPr>
          <p:spPr>
            <a:xfrm flipH="1">
              <a:off x="2328797" y="4668794"/>
              <a:ext cx="44981" cy="75810"/>
            </a:xfrm>
            <a:custGeom>
              <a:avLst/>
              <a:gdLst/>
              <a:ahLst/>
              <a:cxnLst/>
              <a:rect l="l" t="t" r="r" b="b"/>
              <a:pathLst>
                <a:path w="3134" h="5282" extrusionOk="0">
                  <a:moveTo>
                    <a:pt x="1549" y="1"/>
                  </a:moveTo>
                  <a:cubicBezTo>
                    <a:pt x="669" y="1"/>
                    <a:pt x="0" y="1198"/>
                    <a:pt x="0" y="2641"/>
                  </a:cubicBezTo>
                  <a:cubicBezTo>
                    <a:pt x="0" y="4085"/>
                    <a:pt x="705" y="5282"/>
                    <a:pt x="1549" y="5282"/>
                  </a:cubicBezTo>
                  <a:cubicBezTo>
                    <a:pt x="2430" y="5282"/>
                    <a:pt x="3134" y="4120"/>
                    <a:pt x="3134" y="2641"/>
                  </a:cubicBezTo>
                  <a:cubicBezTo>
                    <a:pt x="3134" y="1162"/>
                    <a:pt x="2430" y="1"/>
                    <a:pt x="15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627;p48">
              <a:extLst>
                <a:ext uri="{FF2B5EF4-FFF2-40B4-BE49-F238E27FC236}">
                  <a16:creationId xmlns:a16="http://schemas.microsoft.com/office/drawing/2014/main" id="{44383EE8-5008-4EF6-9026-E3EBB5D0CD8A}"/>
                </a:ext>
              </a:extLst>
            </p:cNvPr>
            <p:cNvSpPr/>
            <p:nvPr/>
          </p:nvSpPr>
          <p:spPr>
            <a:xfrm flipH="1">
              <a:off x="1045325" y="3883930"/>
              <a:ext cx="1313797" cy="909567"/>
            </a:xfrm>
            <a:custGeom>
              <a:avLst/>
              <a:gdLst/>
              <a:ahLst/>
              <a:cxnLst/>
              <a:rect l="l" t="t" r="r" b="b"/>
              <a:pathLst>
                <a:path w="91538" h="63373" extrusionOk="0">
                  <a:moveTo>
                    <a:pt x="43833" y="1"/>
                  </a:moveTo>
                  <a:lnTo>
                    <a:pt x="43833" y="15456"/>
                  </a:lnTo>
                  <a:lnTo>
                    <a:pt x="42812" y="15456"/>
                  </a:lnTo>
                  <a:lnTo>
                    <a:pt x="42812" y="42319"/>
                  </a:lnTo>
                  <a:lnTo>
                    <a:pt x="41791" y="42319"/>
                  </a:lnTo>
                  <a:cubicBezTo>
                    <a:pt x="41791" y="42319"/>
                    <a:pt x="38587" y="46509"/>
                    <a:pt x="30806" y="47424"/>
                  </a:cubicBezTo>
                  <a:cubicBezTo>
                    <a:pt x="24363" y="48199"/>
                    <a:pt x="7640" y="49572"/>
                    <a:pt x="1937" y="50029"/>
                  </a:cubicBezTo>
                  <a:cubicBezTo>
                    <a:pt x="845" y="50135"/>
                    <a:pt x="0" y="51050"/>
                    <a:pt x="0" y="52142"/>
                  </a:cubicBezTo>
                  <a:lnTo>
                    <a:pt x="0" y="53304"/>
                  </a:lnTo>
                  <a:lnTo>
                    <a:pt x="40136" y="50029"/>
                  </a:lnTo>
                  <a:lnTo>
                    <a:pt x="40136" y="50029"/>
                  </a:lnTo>
                  <a:cubicBezTo>
                    <a:pt x="39397" y="50663"/>
                    <a:pt x="38622" y="51226"/>
                    <a:pt x="37847" y="51790"/>
                  </a:cubicBezTo>
                  <a:cubicBezTo>
                    <a:pt x="37143" y="52177"/>
                    <a:pt x="36545" y="52705"/>
                    <a:pt x="36017" y="53304"/>
                  </a:cubicBezTo>
                  <a:cubicBezTo>
                    <a:pt x="35770" y="53620"/>
                    <a:pt x="35594" y="53972"/>
                    <a:pt x="35489" y="54325"/>
                  </a:cubicBezTo>
                  <a:lnTo>
                    <a:pt x="33130" y="54325"/>
                  </a:lnTo>
                  <a:lnTo>
                    <a:pt x="33130" y="63373"/>
                  </a:lnTo>
                  <a:lnTo>
                    <a:pt x="41051" y="63373"/>
                  </a:lnTo>
                  <a:lnTo>
                    <a:pt x="41051" y="54325"/>
                  </a:lnTo>
                  <a:lnTo>
                    <a:pt x="38552" y="54325"/>
                  </a:lnTo>
                  <a:cubicBezTo>
                    <a:pt x="38587" y="54078"/>
                    <a:pt x="38622" y="53867"/>
                    <a:pt x="38657" y="53620"/>
                  </a:cubicBezTo>
                  <a:cubicBezTo>
                    <a:pt x="41791" y="53127"/>
                    <a:pt x="44748" y="51754"/>
                    <a:pt x="47107" y="49642"/>
                  </a:cubicBezTo>
                  <a:lnTo>
                    <a:pt x="91537" y="53268"/>
                  </a:lnTo>
                  <a:lnTo>
                    <a:pt x="91537" y="52142"/>
                  </a:lnTo>
                  <a:cubicBezTo>
                    <a:pt x="91537" y="51050"/>
                    <a:pt x="90692" y="50100"/>
                    <a:pt x="89566" y="50029"/>
                  </a:cubicBezTo>
                  <a:cubicBezTo>
                    <a:pt x="83898" y="49572"/>
                    <a:pt x="67139" y="48199"/>
                    <a:pt x="60732" y="47424"/>
                  </a:cubicBezTo>
                  <a:cubicBezTo>
                    <a:pt x="52916" y="46509"/>
                    <a:pt x="49677" y="42319"/>
                    <a:pt x="49677" y="42319"/>
                  </a:cubicBezTo>
                  <a:lnTo>
                    <a:pt x="48691" y="42319"/>
                  </a:lnTo>
                  <a:lnTo>
                    <a:pt x="48691" y="15456"/>
                  </a:lnTo>
                  <a:lnTo>
                    <a:pt x="47670" y="15456"/>
                  </a:lnTo>
                  <a:lnTo>
                    <a:pt x="476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628;p48">
              <a:extLst>
                <a:ext uri="{FF2B5EF4-FFF2-40B4-BE49-F238E27FC236}">
                  <a16:creationId xmlns:a16="http://schemas.microsoft.com/office/drawing/2014/main" id="{BEAD5975-4577-4B60-A574-C096F67E9269}"/>
                </a:ext>
              </a:extLst>
            </p:cNvPr>
            <p:cNvSpPr/>
            <p:nvPr/>
          </p:nvSpPr>
          <p:spPr>
            <a:xfrm flipH="1">
              <a:off x="1660184" y="3883930"/>
              <a:ext cx="84909" cy="513407"/>
            </a:xfrm>
            <a:custGeom>
              <a:avLst/>
              <a:gdLst/>
              <a:ahLst/>
              <a:cxnLst/>
              <a:rect l="l" t="t" r="r" b="b"/>
              <a:pathLst>
                <a:path w="5916" h="35771" extrusionOk="0">
                  <a:moveTo>
                    <a:pt x="1021" y="1"/>
                  </a:moveTo>
                  <a:lnTo>
                    <a:pt x="1021" y="15456"/>
                  </a:lnTo>
                  <a:lnTo>
                    <a:pt x="0" y="15456"/>
                  </a:lnTo>
                  <a:lnTo>
                    <a:pt x="0" y="35771"/>
                  </a:lnTo>
                  <a:lnTo>
                    <a:pt x="5915" y="35771"/>
                  </a:lnTo>
                  <a:lnTo>
                    <a:pt x="5915" y="15456"/>
                  </a:lnTo>
                  <a:lnTo>
                    <a:pt x="4894" y="15456"/>
                  </a:lnTo>
                  <a:lnTo>
                    <a:pt x="489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629;p48">
              <a:extLst>
                <a:ext uri="{FF2B5EF4-FFF2-40B4-BE49-F238E27FC236}">
                  <a16:creationId xmlns:a16="http://schemas.microsoft.com/office/drawing/2014/main" id="{BA4F4623-CEFA-4EFD-A20A-D31FD39EA0C3}"/>
                </a:ext>
              </a:extLst>
            </p:cNvPr>
            <p:cNvSpPr/>
            <p:nvPr/>
          </p:nvSpPr>
          <p:spPr>
            <a:xfrm flipH="1">
              <a:off x="1056468" y="3935104"/>
              <a:ext cx="1445681" cy="344318"/>
            </a:xfrm>
            <a:custGeom>
              <a:avLst/>
              <a:gdLst/>
              <a:ahLst/>
              <a:cxnLst/>
              <a:rect l="l" t="t" r="r" b="b"/>
              <a:pathLst>
                <a:path w="100727" h="23990" extrusionOk="0">
                  <a:moveTo>
                    <a:pt x="19423" y="1"/>
                  </a:moveTo>
                  <a:cubicBezTo>
                    <a:pt x="16703" y="1"/>
                    <a:pt x="13637" y="474"/>
                    <a:pt x="9612" y="1717"/>
                  </a:cubicBezTo>
                  <a:cubicBezTo>
                    <a:pt x="8274" y="2139"/>
                    <a:pt x="6866" y="2632"/>
                    <a:pt x="5810" y="3583"/>
                  </a:cubicBezTo>
                  <a:cubicBezTo>
                    <a:pt x="4719" y="4533"/>
                    <a:pt x="4050" y="6047"/>
                    <a:pt x="4472" y="7420"/>
                  </a:cubicBezTo>
                  <a:lnTo>
                    <a:pt x="494" y="8089"/>
                  </a:lnTo>
                  <a:cubicBezTo>
                    <a:pt x="1" y="8969"/>
                    <a:pt x="388" y="10131"/>
                    <a:pt x="1092" y="10870"/>
                  </a:cubicBezTo>
                  <a:cubicBezTo>
                    <a:pt x="1867" y="11539"/>
                    <a:pt x="2782" y="12032"/>
                    <a:pt x="3733" y="12349"/>
                  </a:cubicBezTo>
                  <a:cubicBezTo>
                    <a:pt x="15386" y="16820"/>
                    <a:pt x="27145" y="21362"/>
                    <a:pt x="39503" y="23052"/>
                  </a:cubicBezTo>
                  <a:cubicBezTo>
                    <a:pt x="44820" y="23792"/>
                    <a:pt x="50194" y="23989"/>
                    <a:pt x="55571" y="23989"/>
                  </a:cubicBezTo>
                  <a:cubicBezTo>
                    <a:pt x="58632" y="23989"/>
                    <a:pt x="61694" y="23925"/>
                    <a:pt x="64746" y="23862"/>
                  </a:cubicBezTo>
                  <a:lnTo>
                    <a:pt x="88897" y="23369"/>
                  </a:lnTo>
                  <a:cubicBezTo>
                    <a:pt x="91221" y="23334"/>
                    <a:pt x="93615" y="23263"/>
                    <a:pt x="95798" y="22453"/>
                  </a:cubicBezTo>
                  <a:cubicBezTo>
                    <a:pt x="97981" y="21608"/>
                    <a:pt x="99917" y="19813"/>
                    <a:pt x="100304" y="17524"/>
                  </a:cubicBezTo>
                  <a:cubicBezTo>
                    <a:pt x="100727" y="14954"/>
                    <a:pt x="99002" y="12384"/>
                    <a:pt x="96784" y="11011"/>
                  </a:cubicBezTo>
                  <a:cubicBezTo>
                    <a:pt x="94530" y="9603"/>
                    <a:pt x="91890" y="9110"/>
                    <a:pt x="89285" y="8617"/>
                  </a:cubicBezTo>
                  <a:cubicBezTo>
                    <a:pt x="76047" y="6012"/>
                    <a:pt x="52212" y="5836"/>
                    <a:pt x="38869" y="3723"/>
                  </a:cubicBezTo>
                  <a:cubicBezTo>
                    <a:pt x="29717" y="2295"/>
                    <a:pt x="25411" y="1"/>
                    <a:pt x="19423"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630;p48">
              <a:extLst>
                <a:ext uri="{FF2B5EF4-FFF2-40B4-BE49-F238E27FC236}">
                  <a16:creationId xmlns:a16="http://schemas.microsoft.com/office/drawing/2014/main" id="{ED73F965-EF5D-4271-B848-9B167956050F}"/>
                </a:ext>
              </a:extLst>
            </p:cNvPr>
            <p:cNvSpPr/>
            <p:nvPr/>
          </p:nvSpPr>
          <p:spPr>
            <a:xfrm flipH="1">
              <a:off x="1148826" y="2730465"/>
              <a:ext cx="638727" cy="821313"/>
            </a:xfrm>
            <a:custGeom>
              <a:avLst/>
              <a:gdLst/>
              <a:ahLst/>
              <a:cxnLst/>
              <a:rect l="l" t="t" r="r" b="b"/>
              <a:pathLst>
                <a:path w="44503" h="57224" extrusionOk="0">
                  <a:moveTo>
                    <a:pt x="39612" y="1"/>
                  </a:moveTo>
                  <a:cubicBezTo>
                    <a:pt x="36582" y="1"/>
                    <a:pt x="33604" y="1401"/>
                    <a:pt x="31440" y="3534"/>
                  </a:cubicBezTo>
                  <a:cubicBezTo>
                    <a:pt x="29011" y="5963"/>
                    <a:pt x="27497" y="9202"/>
                    <a:pt x="26688" y="12547"/>
                  </a:cubicBezTo>
                  <a:cubicBezTo>
                    <a:pt x="25878" y="15821"/>
                    <a:pt x="25596" y="19377"/>
                    <a:pt x="23730" y="22158"/>
                  </a:cubicBezTo>
                  <a:cubicBezTo>
                    <a:pt x="21231" y="25890"/>
                    <a:pt x="16583" y="27369"/>
                    <a:pt x="12323" y="28777"/>
                  </a:cubicBezTo>
                  <a:cubicBezTo>
                    <a:pt x="8063" y="30185"/>
                    <a:pt x="3451" y="32157"/>
                    <a:pt x="1620" y="36241"/>
                  </a:cubicBezTo>
                  <a:cubicBezTo>
                    <a:pt x="1" y="39867"/>
                    <a:pt x="1128" y="44162"/>
                    <a:pt x="3134" y="47612"/>
                  </a:cubicBezTo>
                  <a:cubicBezTo>
                    <a:pt x="5141" y="51028"/>
                    <a:pt x="7993" y="53914"/>
                    <a:pt x="10140" y="57224"/>
                  </a:cubicBezTo>
                  <a:cubicBezTo>
                    <a:pt x="16055" y="50887"/>
                    <a:pt x="27216" y="51556"/>
                    <a:pt x="32673" y="44831"/>
                  </a:cubicBezTo>
                  <a:cubicBezTo>
                    <a:pt x="34891" y="42120"/>
                    <a:pt x="35771" y="38564"/>
                    <a:pt x="36088" y="35079"/>
                  </a:cubicBezTo>
                  <a:cubicBezTo>
                    <a:pt x="36369" y="31593"/>
                    <a:pt x="36088" y="28108"/>
                    <a:pt x="36299" y="24623"/>
                  </a:cubicBezTo>
                  <a:cubicBezTo>
                    <a:pt x="36721" y="16384"/>
                    <a:pt x="39573" y="8498"/>
                    <a:pt x="44502" y="1879"/>
                  </a:cubicBezTo>
                  <a:lnTo>
                    <a:pt x="40876" y="83"/>
                  </a:lnTo>
                  <a:cubicBezTo>
                    <a:pt x="40455" y="28"/>
                    <a:pt x="40033" y="1"/>
                    <a:pt x="396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631;p48">
              <a:extLst>
                <a:ext uri="{FF2B5EF4-FFF2-40B4-BE49-F238E27FC236}">
                  <a16:creationId xmlns:a16="http://schemas.microsoft.com/office/drawing/2014/main" id="{34218641-2F41-4524-B94F-8C0311AF65CB}"/>
                </a:ext>
              </a:extLst>
            </p:cNvPr>
            <p:cNvSpPr/>
            <p:nvPr/>
          </p:nvSpPr>
          <p:spPr>
            <a:xfrm flipH="1">
              <a:off x="1140242" y="2738920"/>
              <a:ext cx="638714" cy="821457"/>
            </a:xfrm>
            <a:custGeom>
              <a:avLst/>
              <a:gdLst/>
              <a:ahLst/>
              <a:cxnLst/>
              <a:rect l="l" t="t" r="r" b="b"/>
              <a:pathLst>
                <a:path w="44502" h="57234" extrusionOk="0">
                  <a:moveTo>
                    <a:pt x="39533" y="0"/>
                  </a:moveTo>
                  <a:cubicBezTo>
                    <a:pt x="36545" y="0"/>
                    <a:pt x="33591" y="1419"/>
                    <a:pt x="31440" y="3508"/>
                  </a:cubicBezTo>
                  <a:cubicBezTo>
                    <a:pt x="28975" y="5937"/>
                    <a:pt x="27497" y="9212"/>
                    <a:pt x="26652" y="12556"/>
                  </a:cubicBezTo>
                  <a:cubicBezTo>
                    <a:pt x="25842" y="15830"/>
                    <a:pt x="25596" y="19351"/>
                    <a:pt x="23730" y="22168"/>
                  </a:cubicBezTo>
                  <a:cubicBezTo>
                    <a:pt x="21230" y="25864"/>
                    <a:pt x="16548" y="27343"/>
                    <a:pt x="12288" y="28751"/>
                  </a:cubicBezTo>
                  <a:cubicBezTo>
                    <a:pt x="8028" y="30159"/>
                    <a:pt x="3416" y="32166"/>
                    <a:pt x="1620" y="36250"/>
                  </a:cubicBezTo>
                  <a:cubicBezTo>
                    <a:pt x="0" y="39877"/>
                    <a:pt x="1127" y="44172"/>
                    <a:pt x="3134" y="47587"/>
                  </a:cubicBezTo>
                  <a:cubicBezTo>
                    <a:pt x="5141" y="51037"/>
                    <a:pt x="7957" y="53889"/>
                    <a:pt x="10105" y="57233"/>
                  </a:cubicBezTo>
                  <a:cubicBezTo>
                    <a:pt x="16019" y="50896"/>
                    <a:pt x="27215" y="51565"/>
                    <a:pt x="32672" y="44841"/>
                  </a:cubicBezTo>
                  <a:cubicBezTo>
                    <a:pt x="34855" y="42130"/>
                    <a:pt x="35735" y="38574"/>
                    <a:pt x="36052" y="35088"/>
                  </a:cubicBezTo>
                  <a:cubicBezTo>
                    <a:pt x="36369" y="31603"/>
                    <a:pt x="36087" y="28082"/>
                    <a:pt x="36263" y="24597"/>
                  </a:cubicBezTo>
                  <a:cubicBezTo>
                    <a:pt x="36721" y="16394"/>
                    <a:pt x="39573" y="8472"/>
                    <a:pt x="44502" y="1889"/>
                  </a:cubicBezTo>
                  <a:lnTo>
                    <a:pt x="40840" y="93"/>
                  </a:lnTo>
                  <a:cubicBezTo>
                    <a:pt x="40405" y="30"/>
                    <a:pt x="39968" y="0"/>
                    <a:pt x="3953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632;p48">
              <a:extLst>
                <a:ext uri="{FF2B5EF4-FFF2-40B4-BE49-F238E27FC236}">
                  <a16:creationId xmlns:a16="http://schemas.microsoft.com/office/drawing/2014/main" id="{9CB0779F-FB1E-4EB1-BF4D-84688DF056FB}"/>
                </a:ext>
              </a:extLst>
            </p:cNvPr>
            <p:cNvSpPr/>
            <p:nvPr/>
          </p:nvSpPr>
          <p:spPr>
            <a:xfrm flipH="1">
              <a:off x="946248" y="3118588"/>
              <a:ext cx="1082866" cy="1212837"/>
            </a:xfrm>
            <a:custGeom>
              <a:avLst/>
              <a:gdLst/>
              <a:ahLst/>
              <a:cxnLst/>
              <a:rect l="l" t="t" r="r" b="b"/>
              <a:pathLst>
                <a:path w="75448" h="84503" extrusionOk="0">
                  <a:moveTo>
                    <a:pt x="64212" y="1"/>
                  </a:moveTo>
                  <a:cubicBezTo>
                    <a:pt x="60441" y="1"/>
                    <a:pt x="56678" y="111"/>
                    <a:pt x="52916" y="331"/>
                  </a:cubicBezTo>
                  <a:cubicBezTo>
                    <a:pt x="48937" y="577"/>
                    <a:pt x="44818" y="1000"/>
                    <a:pt x="41262" y="3077"/>
                  </a:cubicBezTo>
                  <a:cubicBezTo>
                    <a:pt x="37214" y="5471"/>
                    <a:pt x="34327" y="9801"/>
                    <a:pt x="31792" y="14167"/>
                  </a:cubicBezTo>
                  <a:cubicBezTo>
                    <a:pt x="21335" y="32228"/>
                    <a:pt x="15069" y="53422"/>
                    <a:pt x="3134" y="70216"/>
                  </a:cubicBezTo>
                  <a:cubicBezTo>
                    <a:pt x="1655" y="72293"/>
                    <a:pt x="0" y="74722"/>
                    <a:pt x="388" y="77363"/>
                  </a:cubicBezTo>
                  <a:cubicBezTo>
                    <a:pt x="880" y="80391"/>
                    <a:pt x="3803" y="81940"/>
                    <a:pt x="6373" y="82679"/>
                  </a:cubicBezTo>
                  <a:cubicBezTo>
                    <a:pt x="11257" y="84107"/>
                    <a:pt x="16298" y="84502"/>
                    <a:pt x="21359" y="84502"/>
                  </a:cubicBezTo>
                  <a:cubicBezTo>
                    <a:pt x="24287" y="84502"/>
                    <a:pt x="27221" y="84370"/>
                    <a:pt x="30137" y="84228"/>
                  </a:cubicBezTo>
                  <a:cubicBezTo>
                    <a:pt x="39396" y="83735"/>
                    <a:pt x="48691" y="83172"/>
                    <a:pt x="57950" y="82468"/>
                  </a:cubicBezTo>
                  <a:cubicBezTo>
                    <a:pt x="60309" y="82292"/>
                    <a:pt x="62809" y="82080"/>
                    <a:pt x="64675" y="80391"/>
                  </a:cubicBezTo>
                  <a:cubicBezTo>
                    <a:pt x="66541" y="78736"/>
                    <a:pt x="67350" y="76131"/>
                    <a:pt x="68054" y="73596"/>
                  </a:cubicBezTo>
                  <a:cubicBezTo>
                    <a:pt x="74110" y="51768"/>
                    <a:pt x="74779" y="28496"/>
                    <a:pt x="75413" y="5576"/>
                  </a:cubicBezTo>
                  <a:cubicBezTo>
                    <a:pt x="75448" y="4098"/>
                    <a:pt x="75413" y="2443"/>
                    <a:pt x="74568" y="1387"/>
                  </a:cubicBezTo>
                  <a:cubicBezTo>
                    <a:pt x="73688" y="295"/>
                    <a:pt x="72279" y="155"/>
                    <a:pt x="71012" y="119"/>
                  </a:cubicBezTo>
                  <a:cubicBezTo>
                    <a:pt x="68741" y="40"/>
                    <a:pt x="66475" y="1"/>
                    <a:pt x="642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633;p48">
              <a:extLst>
                <a:ext uri="{FF2B5EF4-FFF2-40B4-BE49-F238E27FC236}">
                  <a16:creationId xmlns:a16="http://schemas.microsoft.com/office/drawing/2014/main" id="{FB2C3BF0-E56B-4A43-A0A9-25A60B92E370}"/>
                </a:ext>
              </a:extLst>
            </p:cNvPr>
            <p:cNvSpPr/>
            <p:nvPr/>
          </p:nvSpPr>
          <p:spPr>
            <a:xfrm flipH="1">
              <a:off x="953742" y="2692180"/>
              <a:ext cx="481569" cy="647991"/>
            </a:xfrm>
            <a:custGeom>
              <a:avLst/>
              <a:gdLst/>
              <a:ahLst/>
              <a:cxnLst/>
              <a:rect l="l" t="t" r="r" b="b"/>
              <a:pathLst>
                <a:path w="33553" h="45148" extrusionOk="0">
                  <a:moveTo>
                    <a:pt x="22487" y="1"/>
                  </a:moveTo>
                  <a:cubicBezTo>
                    <a:pt x="20810" y="1"/>
                    <a:pt x="19142" y="108"/>
                    <a:pt x="17499" y="462"/>
                  </a:cubicBezTo>
                  <a:cubicBezTo>
                    <a:pt x="14752" y="1061"/>
                    <a:pt x="12042" y="2469"/>
                    <a:pt x="10387" y="4863"/>
                  </a:cubicBezTo>
                  <a:cubicBezTo>
                    <a:pt x="8697" y="7327"/>
                    <a:pt x="8380" y="10461"/>
                    <a:pt x="7958" y="13453"/>
                  </a:cubicBezTo>
                  <a:cubicBezTo>
                    <a:pt x="6796" y="21586"/>
                    <a:pt x="4613" y="29508"/>
                    <a:pt x="1444" y="37042"/>
                  </a:cubicBezTo>
                  <a:cubicBezTo>
                    <a:pt x="740" y="38696"/>
                    <a:pt x="1" y="40527"/>
                    <a:pt x="635" y="42182"/>
                  </a:cubicBezTo>
                  <a:cubicBezTo>
                    <a:pt x="1480" y="44330"/>
                    <a:pt x="4191" y="44893"/>
                    <a:pt x="6479" y="45034"/>
                  </a:cubicBezTo>
                  <a:cubicBezTo>
                    <a:pt x="7779" y="45110"/>
                    <a:pt x="9079" y="45148"/>
                    <a:pt x="10378" y="45148"/>
                  </a:cubicBezTo>
                  <a:cubicBezTo>
                    <a:pt x="15691" y="45148"/>
                    <a:pt x="20982" y="44511"/>
                    <a:pt x="26159" y="43238"/>
                  </a:cubicBezTo>
                  <a:cubicBezTo>
                    <a:pt x="27673" y="42851"/>
                    <a:pt x="29222" y="42393"/>
                    <a:pt x="30208" y="41161"/>
                  </a:cubicBezTo>
                  <a:cubicBezTo>
                    <a:pt x="31053" y="40140"/>
                    <a:pt x="31300" y="38732"/>
                    <a:pt x="31511" y="37394"/>
                  </a:cubicBezTo>
                  <a:cubicBezTo>
                    <a:pt x="33060" y="27290"/>
                    <a:pt x="33553" y="17044"/>
                    <a:pt x="32954" y="6870"/>
                  </a:cubicBezTo>
                  <a:cubicBezTo>
                    <a:pt x="32849" y="5039"/>
                    <a:pt x="32637" y="3103"/>
                    <a:pt x="31405" y="1800"/>
                  </a:cubicBezTo>
                  <a:cubicBezTo>
                    <a:pt x="30067" y="356"/>
                    <a:pt x="27920" y="180"/>
                    <a:pt x="25983" y="110"/>
                  </a:cubicBezTo>
                  <a:cubicBezTo>
                    <a:pt x="24816" y="52"/>
                    <a:pt x="23649" y="1"/>
                    <a:pt x="224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634;p48">
              <a:extLst>
                <a:ext uri="{FF2B5EF4-FFF2-40B4-BE49-F238E27FC236}">
                  <a16:creationId xmlns:a16="http://schemas.microsoft.com/office/drawing/2014/main" id="{169FECCA-FB90-4C05-BCA3-4FC18F72E7C7}"/>
                </a:ext>
              </a:extLst>
            </p:cNvPr>
            <p:cNvSpPr/>
            <p:nvPr/>
          </p:nvSpPr>
          <p:spPr>
            <a:xfrm flipH="1">
              <a:off x="1337316" y="3149609"/>
              <a:ext cx="437592" cy="805468"/>
            </a:xfrm>
            <a:custGeom>
              <a:avLst/>
              <a:gdLst/>
              <a:ahLst/>
              <a:cxnLst/>
              <a:rect l="l" t="t" r="r" b="b"/>
              <a:pathLst>
                <a:path w="30489" h="56120" extrusionOk="0">
                  <a:moveTo>
                    <a:pt x="30489" y="0"/>
                  </a:moveTo>
                  <a:lnTo>
                    <a:pt x="30489" y="0"/>
                  </a:lnTo>
                  <a:cubicBezTo>
                    <a:pt x="24081" y="705"/>
                    <a:pt x="17779" y="2078"/>
                    <a:pt x="11654" y="4084"/>
                  </a:cubicBezTo>
                  <a:cubicBezTo>
                    <a:pt x="6971" y="5598"/>
                    <a:pt x="1796" y="8168"/>
                    <a:pt x="775" y="12992"/>
                  </a:cubicBezTo>
                  <a:cubicBezTo>
                    <a:pt x="0" y="16618"/>
                    <a:pt x="1937" y="20209"/>
                    <a:pt x="3486" y="23554"/>
                  </a:cubicBezTo>
                  <a:cubicBezTo>
                    <a:pt x="8168" y="33728"/>
                    <a:pt x="9964" y="44994"/>
                    <a:pt x="8696" y="56120"/>
                  </a:cubicBezTo>
                  <a:lnTo>
                    <a:pt x="28201" y="21476"/>
                  </a:lnTo>
                  <a:lnTo>
                    <a:pt x="304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635;p48">
              <a:extLst>
                <a:ext uri="{FF2B5EF4-FFF2-40B4-BE49-F238E27FC236}">
                  <a16:creationId xmlns:a16="http://schemas.microsoft.com/office/drawing/2014/main" id="{9014081C-5FEC-47B4-BF99-E9880A8238AC}"/>
                </a:ext>
              </a:extLst>
            </p:cNvPr>
            <p:cNvSpPr/>
            <p:nvPr/>
          </p:nvSpPr>
          <p:spPr>
            <a:xfrm flipH="1">
              <a:off x="1226643" y="3159715"/>
              <a:ext cx="542710" cy="1138979"/>
            </a:xfrm>
            <a:custGeom>
              <a:avLst/>
              <a:gdLst/>
              <a:ahLst/>
              <a:cxnLst/>
              <a:rect l="l" t="t" r="r" b="b"/>
              <a:pathLst>
                <a:path w="37813" h="79357" extrusionOk="0">
                  <a:moveTo>
                    <a:pt x="29292" y="1"/>
                  </a:moveTo>
                  <a:cubicBezTo>
                    <a:pt x="29222" y="212"/>
                    <a:pt x="23025" y="18378"/>
                    <a:pt x="18449" y="27955"/>
                  </a:cubicBezTo>
                  <a:lnTo>
                    <a:pt x="18378" y="28131"/>
                  </a:lnTo>
                  <a:lnTo>
                    <a:pt x="24117" y="32074"/>
                  </a:lnTo>
                  <a:lnTo>
                    <a:pt x="17392" y="48128"/>
                  </a:lnTo>
                  <a:lnTo>
                    <a:pt x="12921" y="49431"/>
                  </a:lnTo>
                  <a:lnTo>
                    <a:pt x="12886" y="49571"/>
                  </a:lnTo>
                  <a:cubicBezTo>
                    <a:pt x="12851" y="49748"/>
                    <a:pt x="8626" y="69111"/>
                    <a:pt x="352" y="78969"/>
                  </a:cubicBezTo>
                  <a:lnTo>
                    <a:pt x="0" y="79356"/>
                  </a:lnTo>
                  <a:lnTo>
                    <a:pt x="37812" y="77631"/>
                  </a:lnTo>
                  <a:lnTo>
                    <a:pt x="37812" y="77209"/>
                  </a:lnTo>
                  <a:lnTo>
                    <a:pt x="986" y="78863"/>
                  </a:lnTo>
                  <a:cubicBezTo>
                    <a:pt x="8767" y="69252"/>
                    <a:pt x="12921" y="51473"/>
                    <a:pt x="13308" y="49818"/>
                  </a:cubicBezTo>
                  <a:lnTo>
                    <a:pt x="17709" y="48480"/>
                  </a:lnTo>
                  <a:lnTo>
                    <a:pt x="24610" y="32109"/>
                  </a:lnTo>
                  <a:lnTo>
                    <a:pt x="24680" y="31933"/>
                  </a:lnTo>
                  <a:lnTo>
                    <a:pt x="18906" y="27990"/>
                  </a:lnTo>
                  <a:cubicBezTo>
                    <a:pt x="23518" y="18343"/>
                    <a:pt x="29644" y="353"/>
                    <a:pt x="29715" y="141"/>
                  </a:cubicBezTo>
                  <a:lnTo>
                    <a:pt x="292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636;p48">
              <a:extLst>
                <a:ext uri="{FF2B5EF4-FFF2-40B4-BE49-F238E27FC236}">
                  <a16:creationId xmlns:a16="http://schemas.microsoft.com/office/drawing/2014/main" id="{B2963987-E8F0-4C16-9CA1-E223C4AECEC3}"/>
                </a:ext>
              </a:extLst>
            </p:cNvPr>
            <p:cNvSpPr/>
            <p:nvPr/>
          </p:nvSpPr>
          <p:spPr>
            <a:xfrm flipH="1">
              <a:off x="1105794" y="4242755"/>
              <a:ext cx="32853" cy="25777"/>
            </a:xfrm>
            <a:custGeom>
              <a:avLst/>
              <a:gdLst/>
              <a:ahLst/>
              <a:cxnLst/>
              <a:rect l="l" t="t" r="r" b="b"/>
              <a:pathLst>
                <a:path w="2289" h="1796" extrusionOk="0">
                  <a:moveTo>
                    <a:pt x="2042" y="0"/>
                  </a:moveTo>
                  <a:lnTo>
                    <a:pt x="0" y="1444"/>
                  </a:lnTo>
                  <a:lnTo>
                    <a:pt x="247" y="1796"/>
                  </a:lnTo>
                  <a:lnTo>
                    <a:pt x="2289" y="352"/>
                  </a:lnTo>
                  <a:lnTo>
                    <a:pt x="20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637;p48">
              <a:extLst>
                <a:ext uri="{FF2B5EF4-FFF2-40B4-BE49-F238E27FC236}">
                  <a16:creationId xmlns:a16="http://schemas.microsoft.com/office/drawing/2014/main" id="{34E51154-A15A-48AA-B82E-F1E4E9032801}"/>
                </a:ext>
              </a:extLst>
            </p:cNvPr>
            <p:cNvSpPr/>
            <p:nvPr/>
          </p:nvSpPr>
          <p:spPr>
            <a:xfrm flipH="1">
              <a:off x="977982" y="3113638"/>
              <a:ext cx="360291" cy="39010"/>
            </a:xfrm>
            <a:custGeom>
              <a:avLst/>
              <a:gdLst/>
              <a:ahLst/>
              <a:cxnLst/>
              <a:rect l="l" t="t" r="r" b="b"/>
              <a:pathLst>
                <a:path w="25103" h="2718" extrusionOk="0">
                  <a:moveTo>
                    <a:pt x="20965" y="0"/>
                  </a:moveTo>
                  <a:cubicBezTo>
                    <a:pt x="20782" y="0"/>
                    <a:pt x="20600" y="3"/>
                    <a:pt x="20420" y="7"/>
                  </a:cubicBezTo>
                  <a:lnTo>
                    <a:pt x="5035" y="359"/>
                  </a:lnTo>
                  <a:cubicBezTo>
                    <a:pt x="3240" y="429"/>
                    <a:pt x="775" y="676"/>
                    <a:pt x="1" y="2577"/>
                  </a:cubicBezTo>
                  <a:lnTo>
                    <a:pt x="388" y="2718"/>
                  </a:lnTo>
                  <a:cubicBezTo>
                    <a:pt x="1092" y="1098"/>
                    <a:pt x="3380" y="852"/>
                    <a:pt x="5035" y="816"/>
                  </a:cubicBezTo>
                  <a:lnTo>
                    <a:pt x="20420" y="429"/>
                  </a:lnTo>
                  <a:cubicBezTo>
                    <a:pt x="20599" y="425"/>
                    <a:pt x="20779" y="423"/>
                    <a:pt x="20959" y="423"/>
                  </a:cubicBezTo>
                  <a:cubicBezTo>
                    <a:pt x="22418" y="423"/>
                    <a:pt x="23909" y="592"/>
                    <a:pt x="24786" y="1626"/>
                  </a:cubicBezTo>
                  <a:lnTo>
                    <a:pt x="25103" y="1345"/>
                  </a:lnTo>
                  <a:cubicBezTo>
                    <a:pt x="24128" y="180"/>
                    <a:pt x="22506" y="0"/>
                    <a:pt x="209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638;p48">
              <a:extLst>
                <a:ext uri="{FF2B5EF4-FFF2-40B4-BE49-F238E27FC236}">
                  <a16:creationId xmlns:a16="http://schemas.microsoft.com/office/drawing/2014/main" id="{301F4B85-63BB-4372-BAFF-30C8F6211B0D}"/>
                </a:ext>
              </a:extLst>
            </p:cNvPr>
            <p:cNvSpPr/>
            <p:nvPr/>
          </p:nvSpPr>
          <p:spPr>
            <a:xfrm flipH="1">
              <a:off x="1647082" y="3757075"/>
              <a:ext cx="302694" cy="496959"/>
            </a:xfrm>
            <a:custGeom>
              <a:avLst/>
              <a:gdLst/>
              <a:ahLst/>
              <a:cxnLst/>
              <a:rect l="l" t="t" r="r" b="b"/>
              <a:pathLst>
                <a:path w="21090" h="34625" extrusionOk="0">
                  <a:moveTo>
                    <a:pt x="20984" y="1"/>
                  </a:moveTo>
                  <a:lnTo>
                    <a:pt x="20984" y="1"/>
                  </a:lnTo>
                  <a:cubicBezTo>
                    <a:pt x="19787" y="423"/>
                    <a:pt x="18695" y="1127"/>
                    <a:pt x="17780" y="2043"/>
                  </a:cubicBezTo>
                  <a:lnTo>
                    <a:pt x="15069" y="5071"/>
                  </a:lnTo>
                  <a:cubicBezTo>
                    <a:pt x="10211" y="11689"/>
                    <a:pt x="5739" y="18555"/>
                    <a:pt x="1691" y="25702"/>
                  </a:cubicBezTo>
                  <a:cubicBezTo>
                    <a:pt x="846" y="27180"/>
                    <a:pt x="1" y="28905"/>
                    <a:pt x="634" y="30490"/>
                  </a:cubicBezTo>
                  <a:cubicBezTo>
                    <a:pt x="1163" y="31863"/>
                    <a:pt x="2641" y="32602"/>
                    <a:pt x="3979" y="33201"/>
                  </a:cubicBezTo>
                  <a:cubicBezTo>
                    <a:pt x="5569" y="33913"/>
                    <a:pt x="7352" y="34625"/>
                    <a:pt x="9035" y="34625"/>
                  </a:cubicBezTo>
                  <a:cubicBezTo>
                    <a:pt x="9848" y="34625"/>
                    <a:pt x="10638" y="34459"/>
                    <a:pt x="11372" y="34046"/>
                  </a:cubicBezTo>
                  <a:cubicBezTo>
                    <a:pt x="12710" y="33271"/>
                    <a:pt x="13520" y="31828"/>
                    <a:pt x="14189" y="30419"/>
                  </a:cubicBezTo>
                  <a:cubicBezTo>
                    <a:pt x="18766" y="20949"/>
                    <a:pt x="21089" y="10528"/>
                    <a:pt x="2098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639;p48">
              <a:extLst>
                <a:ext uri="{FF2B5EF4-FFF2-40B4-BE49-F238E27FC236}">
                  <a16:creationId xmlns:a16="http://schemas.microsoft.com/office/drawing/2014/main" id="{B864A48C-1B9F-4218-8AA9-B10244FA7DF7}"/>
                </a:ext>
              </a:extLst>
            </p:cNvPr>
            <p:cNvSpPr/>
            <p:nvPr/>
          </p:nvSpPr>
          <p:spPr>
            <a:xfrm flipH="1">
              <a:off x="1647073" y="3757075"/>
              <a:ext cx="245586" cy="496959"/>
            </a:xfrm>
            <a:custGeom>
              <a:avLst/>
              <a:gdLst/>
              <a:ahLst/>
              <a:cxnLst/>
              <a:rect l="l" t="t" r="r" b="b"/>
              <a:pathLst>
                <a:path w="17111" h="34625" extrusionOk="0">
                  <a:moveTo>
                    <a:pt x="16970" y="1"/>
                  </a:moveTo>
                  <a:cubicBezTo>
                    <a:pt x="15773" y="423"/>
                    <a:pt x="14681" y="1127"/>
                    <a:pt x="13801" y="2043"/>
                  </a:cubicBezTo>
                  <a:lnTo>
                    <a:pt x="13062" y="2923"/>
                  </a:lnTo>
                  <a:cubicBezTo>
                    <a:pt x="10914" y="10844"/>
                    <a:pt x="8238" y="22498"/>
                    <a:pt x="3450" y="30877"/>
                  </a:cubicBezTo>
                  <a:cubicBezTo>
                    <a:pt x="2641" y="32497"/>
                    <a:pt x="1831" y="33165"/>
                    <a:pt x="0" y="33201"/>
                  </a:cubicBezTo>
                  <a:cubicBezTo>
                    <a:pt x="1567" y="33913"/>
                    <a:pt x="3357" y="34625"/>
                    <a:pt x="5037" y="34625"/>
                  </a:cubicBezTo>
                  <a:cubicBezTo>
                    <a:pt x="5849" y="34625"/>
                    <a:pt x="6636" y="34459"/>
                    <a:pt x="7358" y="34046"/>
                  </a:cubicBezTo>
                  <a:cubicBezTo>
                    <a:pt x="8731" y="33271"/>
                    <a:pt x="9541" y="31828"/>
                    <a:pt x="10210" y="30419"/>
                  </a:cubicBezTo>
                  <a:cubicBezTo>
                    <a:pt x="14787" y="20949"/>
                    <a:pt x="17110" y="10528"/>
                    <a:pt x="1697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640;p48">
              <a:extLst>
                <a:ext uri="{FF2B5EF4-FFF2-40B4-BE49-F238E27FC236}">
                  <a16:creationId xmlns:a16="http://schemas.microsoft.com/office/drawing/2014/main" id="{5B00AA2F-E83F-46F9-98D5-B82A4C43CEBD}"/>
                </a:ext>
              </a:extLst>
            </p:cNvPr>
            <p:cNvSpPr/>
            <p:nvPr/>
          </p:nvSpPr>
          <p:spPr>
            <a:xfrm flipH="1">
              <a:off x="1680424" y="3776282"/>
              <a:ext cx="174842" cy="472991"/>
            </a:xfrm>
            <a:custGeom>
              <a:avLst/>
              <a:gdLst/>
              <a:ahLst/>
              <a:cxnLst/>
              <a:rect l="l" t="t" r="r" b="b"/>
              <a:pathLst>
                <a:path w="12182" h="32955" extrusionOk="0">
                  <a:moveTo>
                    <a:pt x="11724" y="1"/>
                  </a:moveTo>
                  <a:cubicBezTo>
                    <a:pt x="10245" y="5563"/>
                    <a:pt x="8696" y="11196"/>
                    <a:pt x="7112" y="16724"/>
                  </a:cubicBezTo>
                  <a:cubicBezTo>
                    <a:pt x="6232" y="20068"/>
                    <a:pt x="5140" y="23343"/>
                    <a:pt x="3873" y="26582"/>
                  </a:cubicBezTo>
                  <a:cubicBezTo>
                    <a:pt x="3028" y="28624"/>
                    <a:pt x="1901" y="30947"/>
                    <a:pt x="0" y="32602"/>
                  </a:cubicBezTo>
                  <a:lnTo>
                    <a:pt x="282" y="32954"/>
                  </a:lnTo>
                  <a:cubicBezTo>
                    <a:pt x="2254" y="31194"/>
                    <a:pt x="3451" y="28694"/>
                    <a:pt x="4260" y="26722"/>
                  </a:cubicBezTo>
                  <a:cubicBezTo>
                    <a:pt x="5563" y="23519"/>
                    <a:pt x="6654" y="20209"/>
                    <a:pt x="7535" y="16865"/>
                  </a:cubicBezTo>
                  <a:cubicBezTo>
                    <a:pt x="9119" y="11302"/>
                    <a:pt x="10703" y="5669"/>
                    <a:pt x="12182" y="141"/>
                  </a:cubicBezTo>
                  <a:lnTo>
                    <a:pt x="1172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641;p48">
              <a:extLst>
                <a:ext uri="{FF2B5EF4-FFF2-40B4-BE49-F238E27FC236}">
                  <a16:creationId xmlns:a16="http://schemas.microsoft.com/office/drawing/2014/main" id="{E3ABA056-2DEE-4CC3-9B62-10EA47801DD3}"/>
                </a:ext>
              </a:extLst>
            </p:cNvPr>
            <p:cNvSpPr/>
            <p:nvPr/>
          </p:nvSpPr>
          <p:spPr>
            <a:xfrm flipH="1">
              <a:off x="1422680" y="3197354"/>
              <a:ext cx="214771" cy="303141"/>
            </a:xfrm>
            <a:custGeom>
              <a:avLst/>
              <a:gdLst/>
              <a:ahLst/>
              <a:cxnLst/>
              <a:rect l="l" t="t" r="r" b="b"/>
              <a:pathLst>
                <a:path w="14964" h="21121" extrusionOk="0">
                  <a:moveTo>
                    <a:pt x="12698" y="1"/>
                  </a:moveTo>
                  <a:cubicBezTo>
                    <a:pt x="12246" y="1"/>
                    <a:pt x="11775" y="94"/>
                    <a:pt x="11337" y="195"/>
                  </a:cubicBezTo>
                  <a:cubicBezTo>
                    <a:pt x="9224" y="688"/>
                    <a:pt x="7182" y="1322"/>
                    <a:pt x="5211" y="2167"/>
                  </a:cubicBezTo>
                  <a:cubicBezTo>
                    <a:pt x="3521" y="2871"/>
                    <a:pt x="1796" y="3751"/>
                    <a:pt x="951" y="5370"/>
                  </a:cubicBezTo>
                  <a:cubicBezTo>
                    <a:pt x="0" y="7201"/>
                    <a:pt x="493" y="9454"/>
                    <a:pt x="1233" y="11356"/>
                  </a:cubicBezTo>
                  <a:cubicBezTo>
                    <a:pt x="1972" y="13292"/>
                    <a:pt x="2993" y="15193"/>
                    <a:pt x="3028" y="17235"/>
                  </a:cubicBezTo>
                  <a:cubicBezTo>
                    <a:pt x="2993" y="18010"/>
                    <a:pt x="3028" y="18784"/>
                    <a:pt x="3099" y="19524"/>
                  </a:cubicBezTo>
                  <a:cubicBezTo>
                    <a:pt x="3275" y="20263"/>
                    <a:pt x="3803" y="21037"/>
                    <a:pt x="4577" y="21108"/>
                  </a:cubicBezTo>
                  <a:cubicBezTo>
                    <a:pt x="4641" y="21117"/>
                    <a:pt x="4704" y="21121"/>
                    <a:pt x="4767" y="21121"/>
                  </a:cubicBezTo>
                  <a:cubicBezTo>
                    <a:pt x="5695" y="21121"/>
                    <a:pt x="6406" y="20172"/>
                    <a:pt x="6901" y="19347"/>
                  </a:cubicBezTo>
                  <a:cubicBezTo>
                    <a:pt x="9823" y="14383"/>
                    <a:pt x="12745" y="9314"/>
                    <a:pt x="14435" y="3786"/>
                  </a:cubicBezTo>
                  <a:cubicBezTo>
                    <a:pt x="14752" y="2624"/>
                    <a:pt x="14963" y="1181"/>
                    <a:pt x="14048" y="441"/>
                  </a:cubicBezTo>
                  <a:cubicBezTo>
                    <a:pt x="13662" y="111"/>
                    <a:pt x="13191" y="1"/>
                    <a:pt x="12698"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642;p48">
              <a:extLst>
                <a:ext uri="{FF2B5EF4-FFF2-40B4-BE49-F238E27FC236}">
                  <a16:creationId xmlns:a16="http://schemas.microsoft.com/office/drawing/2014/main" id="{41F0561A-9EB6-4918-B2F2-EAE43A5B1561}"/>
                </a:ext>
              </a:extLst>
            </p:cNvPr>
            <p:cNvSpPr/>
            <p:nvPr/>
          </p:nvSpPr>
          <p:spPr>
            <a:xfrm flipH="1">
              <a:off x="1422673" y="3197296"/>
              <a:ext cx="169804" cy="303199"/>
            </a:xfrm>
            <a:custGeom>
              <a:avLst/>
              <a:gdLst/>
              <a:ahLst/>
              <a:cxnLst/>
              <a:rect l="l" t="t" r="r" b="b"/>
              <a:pathLst>
                <a:path w="11831" h="21125" extrusionOk="0">
                  <a:moveTo>
                    <a:pt x="9594" y="1"/>
                  </a:moveTo>
                  <a:cubicBezTo>
                    <a:pt x="9133" y="1"/>
                    <a:pt x="8651" y="96"/>
                    <a:pt x="8204" y="199"/>
                  </a:cubicBezTo>
                  <a:cubicBezTo>
                    <a:pt x="7711" y="305"/>
                    <a:pt x="7218" y="445"/>
                    <a:pt x="6725" y="586"/>
                  </a:cubicBezTo>
                  <a:cubicBezTo>
                    <a:pt x="9788" y="1290"/>
                    <a:pt x="986" y="17873"/>
                    <a:pt x="1" y="19492"/>
                  </a:cubicBezTo>
                  <a:cubicBezTo>
                    <a:pt x="1" y="19492"/>
                    <a:pt x="1" y="19528"/>
                    <a:pt x="1" y="19528"/>
                  </a:cubicBezTo>
                  <a:cubicBezTo>
                    <a:pt x="142" y="20267"/>
                    <a:pt x="670" y="21006"/>
                    <a:pt x="1444" y="21112"/>
                  </a:cubicBezTo>
                  <a:cubicBezTo>
                    <a:pt x="1508" y="21121"/>
                    <a:pt x="1571" y="21125"/>
                    <a:pt x="1634" y="21125"/>
                  </a:cubicBezTo>
                  <a:cubicBezTo>
                    <a:pt x="2562" y="21125"/>
                    <a:pt x="3273" y="20176"/>
                    <a:pt x="3768" y="19351"/>
                  </a:cubicBezTo>
                  <a:cubicBezTo>
                    <a:pt x="6690" y="14352"/>
                    <a:pt x="9647" y="9318"/>
                    <a:pt x="11302" y="3790"/>
                  </a:cubicBezTo>
                  <a:cubicBezTo>
                    <a:pt x="11619" y="2628"/>
                    <a:pt x="11830" y="1185"/>
                    <a:pt x="10915" y="410"/>
                  </a:cubicBezTo>
                  <a:cubicBezTo>
                    <a:pt x="10537" y="104"/>
                    <a:pt x="10076" y="1"/>
                    <a:pt x="959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643;p48">
              <a:extLst>
                <a:ext uri="{FF2B5EF4-FFF2-40B4-BE49-F238E27FC236}">
                  <a16:creationId xmlns:a16="http://schemas.microsoft.com/office/drawing/2014/main" id="{E2F59D6A-B9C0-42C2-8BAF-F95E4368CB49}"/>
                </a:ext>
              </a:extLst>
            </p:cNvPr>
            <p:cNvSpPr/>
            <p:nvPr/>
          </p:nvSpPr>
          <p:spPr>
            <a:xfrm flipH="1">
              <a:off x="1460076" y="3198631"/>
              <a:ext cx="133908" cy="295620"/>
            </a:xfrm>
            <a:custGeom>
              <a:avLst/>
              <a:gdLst/>
              <a:ahLst/>
              <a:cxnLst/>
              <a:rect l="l" t="t" r="r" b="b"/>
              <a:pathLst>
                <a:path w="9330" h="20597" extrusionOk="0">
                  <a:moveTo>
                    <a:pt x="8555" y="0"/>
                  </a:moveTo>
                  <a:lnTo>
                    <a:pt x="8168" y="212"/>
                  </a:lnTo>
                  <a:cubicBezTo>
                    <a:pt x="8907" y="1655"/>
                    <a:pt x="8309" y="3380"/>
                    <a:pt x="7675" y="4894"/>
                  </a:cubicBezTo>
                  <a:cubicBezTo>
                    <a:pt x="6267" y="8415"/>
                    <a:pt x="4683" y="11935"/>
                    <a:pt x="3169" y="15351"/>
                  </a:cubicBezTo>
                  <a:cubicBezTo>
                    <a:pt x="2429" y="17040"/>
                    <a:pt x="1549" y="19012"/>
                    <a:pt x="0" y="20279"/>
                  </a:cubicBezTo>
                  <a:lnTo>
                    <a:pt x="282" y="20596"/>
                  </a:lnTo>
                  <a:cubicBezTo>
                    <a:pt x="1901" y="19258"/>
                    <a:pt x="2817" y="17287"/>
                    <a:pt x="3591" y="15527"/>
                  </a:cubicBezTo>
                  <a:cubicBezTo>
                    <a:pt x="5105" y="12112"/>
                    <a:pt x="6689" y="8591"/>
                    <a:pt x="8098" y="5070"/>
                  </a:cubicBezTo>
                  <a:cubicBezTo>
                    <a:pt x="8802" y="3345"/>
                    <a:pt x="9330" y="1514"/>
                    <a:pt x="85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644;p48">
              <a:extLst>
                <a:ext uri="{FF2B5EF4-FFF2-40B4-BE49-F238E27FC236}">
                  <a16:creationId xmlns:a16="http://schemas.microsoft.com/office/drawing/2014/main" id="{A7A7EF86-C1D6-481F-9537-B1661CFC5C6B}"/>
                </a:ext>
              </a:extLst>
            </p:cNvPr>
            <p:cNvSpPr/>
            <p:nvPr/>
          </p:nvSpPr>
          <p:spPr>
            <a:xfrm flipH="1">
              <a:off x="970381" y="2767543"/>
              <a:ext cx="197577" cy="328961"/>
            </a:xfrm>
            <a:custGeom>
              <a:avLst/>
              <a:gdLst/>
              <a:ahLst/>
              <a:cxnLst/>
              <a:rect l="l" t="t" r="r" b="b"/>
              <a:pathLst>
                <a:path w="13766" h="22920" extrusionOk="0">
                  <a:moveTo>
                    <a:pt x="3310" y="0"/>
                  </a:moveTo>
                  <a:cubicBezTo>
                    <a:pt x="1796" y="0"/>
                    <a:pt x="528" y="1127"/>
                    <a:pt x="352" y="2605"/>
                  </a:cubicBezTo>
                  <a:lnTo>
                    <a:pt x="35" y="5809"/>
                  </a:lnTo>
                  <a:cubicBezTo>
                    <a:pt x="0" y="6126"/>
                    <a:pt x="0" y="6478"/>
                    <a:pt x="71" y="6795"/>
                  </a:cubicBezTo>
                  <a:lnTo>
                    <a:pt x="3732" y="22920"/>
                  </a:lnTo>
                  <a:lnTo>
                    <a:pt x="8168" y="22356"/>
                  </a:lnTo>
                  <a:lnTo>
                    <a:pt x="13555" y="5598"/>
                  </a:lnTo>
                  <a:cubicBezTo>
                    <a:pt x="13766" y="4929"/>
                    <a:pt x="13731" y="4190"/>
                    <a:pt x="13414" y="3521"/>
                  </a:cubicBezTo>
                  <a:lnTo>
                    <a:pt x="12428" y="1620"/>
                  </a:lnTo>
                  <a:cubicBezTo>
                    <a:pt x="11970" y="704"/>
                    <a:pt x="11055" y="106"/>
                    <a:pt x="10034" y="106"/>
                  </a:cubicBezTo>
                  <a:cubicBezTo>
                    <a:pt x="8239" y="71"/>
                    <a:pt x="5387" y="0"/>
                    <a:pt x="331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645;p48">
              <a:extLst>
                <a:ext uri="{FF2B5EF4-FFF2-40B4-BE49-F238E27FC236}">
                  <a16:creationId xmlns:a16="http://schemas.microsoft.com/office/drawing/2014/main" id="{BD50794F-44C0-4F81-AF30-77798B04F71E}"/>
                </a:ext>
              </a:extLst>
            </p:cNvPr>
            <p:cNvSpPr/>
            <p:nvPr/>
          </p:nvSpPr>
          <p:spPr>
            <a:xfrm flipH="1">
              <a:off x="1092661" y="2760967"/>
              <a:ext cx="55587" cy="339080"/>
            </a:xfrm>
            <a:custGeom>
              <a:avLst/>
              <a:gdLst/>
              <a:ahLst/>
              <a:cxnLst/>
              <a:rect l="l" t="t" r="r" b="b"/>
              <a:pathLst>
                <a:path w="3873" h="23625" extrusionOk="0">
                  <a:moveTo>
                    <a:pt x="1866" y="0"/>
                  </a:moveTo>
                  <a:cubicBezTo>
                    <a:pt x="775" y="1655"/>
                    <a:pt x="176" y="3592"/>
                    <a:pt x="106" y="5563"/>
                  </a:cubicBezTo>
                  <a:cubicBezTo>
                    <a:pt x="0" y="7464"/>
                    <a:pt x="423" y="9330"/>
                    <a:pt x="810" y="11161"/>
                  </a:cubicBezTo>
                  <a:lnTo>
                    <a:pt x="3450" y="23624"/>
                  </a:lnTo>
                  <a:lnTo>
                    <a:pt x="3873" y="23519"/>
                  </a:lnTo>
                  <a:lnTo>
                    <a:pt x="1197" y="11055"/>
                  </a:lnTo>
                  <a:cubicBezTo>
                    <a:pt x="810" y="9260"/>
                    <a:pt x="423" y="7429"/>
                    <a:pt x="528" y="5563"/>
                  </a:cubicBezTo>
                  <a:cubicBezTo>
                    <a:pt x="599" y="3662"/>
                    <a:pt x="1197" y="1831"/>
                    <a:pt x="2218" y="247"/>
                  </a:cubicBezTo>
                  <a:lnTo>
                    <a:pt x="186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646;p48">
              <a:extLst>
                <a:ext uri="{FF2B5EF4-FFF2-40B4-BE49-F238E27FC236}">
                  <a16:creationId xmlns:a16="http://schemas.microsoft.com/office/drawing/2014/main" id="{CB02F4C3-DFF4-455C-AF8F-573881DA78C7}"/>
                </a:ext>
              </a:extLst>
            </p:cNvPr>
            <p:cNvSpPr/>
            <p:nvPr/>
          </p:nvSpPr>
          <p:spPr>
            <a:xfrm flipH="1">
              <a:off x="2014513" y="4015261"/>
              <a:ext cx="504303" cy="250754"/>
            </a:xfrm>
            <a:custGeom>
              <a:avLst/>
              <a:gdLst/>
              <a:ahLst/>
              <a:cxnLst/>
              <a:rect l="l" t="t" r="r" b="b"/>
              <a:pathLst>
                <a:path w="35137" h="17471" extrusionOk="0">
                  <a:moveTo>
                    <a:pt x="28672" y="1"/>
                  </a:moveTo>
                  <a:cubicBezTo>
                    <a:pt x="26297" y="1"/>
                    <a:pt x="23952" y="2240"/>
                    <a:pt x="24433" y="4546"/>
                  </a:cubicBezTo>
                  <a:lnTo>
                    <a:pt x="7253" y="1448"/>
                  </a:lnTo>
                  <a:cubicBezTo>
                    <a:pt x="6315" y="1280"/>
                    <a:pt x="5360" y="1111"/>
                    <a:pt x="4423" y="1111"/>
                  </a:cubicBezTo>
                  <a:cubicBezTo>
                    <a:pt x="3988" y="1111"/>
                    <a:pt x="3557" y="1147"/>
                    <a:pt x="3134" y="1237"/>
                  </a:cubicBezTo>
                  <a:cubicBezTo>
                    <a:pt x="1760" y="1553"/>
                    <a:pt x="493" y="2504"/>
                    <a:pt x="211" y="3877"/>
                  </a:cubicBezTo>
                  <a:cubicBezTo>
                    <a:pt x="0" y="5109"/>
                    <a:pt x="704" y="6342"/>
                    <a:pt x="1655" y="7116"/>
                  </a:cubicBezTo>
                  <a:cubicBezTo>
                    <a:pt x="2676" y="7855"/>
                    <a:pt x="3802" y="8384"/>
                    <a:pt x="4999" y="8736"/>
                  </a:cubicBezTo>
                  <a:lnTo>
                    <a:pt x="29996" y="17291"/>
                  </a:lnTo>
                  <a:cubicBezTo>
                    <a:pt x="30363" y="17413"/>
                    <a:pt x="30733" y="17471"/>
                    <a:pt x="31095" y="17471"/>
                  </a:cubicBezTo>
                  <a:cubicBezTo>
                    <a:pt x="32818" y="17471"/>
                    <a:pt x="34363" y="16167"/>
                    <a:pt x="34538" y="14333"/>
                  </a:cubicBezTo>
                  <a:cubicBezTo>
                    <a:pt x="34643" y="13418"/>
                    <a:pt x="34749" y="12468"/>
                    <a:pt x="34855" y="11517"/>
                  </a:cubicBezTo>
                  <a:cubicBezTo>
                    <a:pt x="35066" y="9123"/>
                    <a:pt x="35136" y="6588"/>
                    <a:pt x="34221" y="4335"/>
                  </a:cubicBezTo>
                  <a:cubicBezTo>
                    <a:pt x="33341" y="2082"/>
                    <a:pt x="31264" y="110"/>
                    <a:pt x="28834" y="4"/>
                  </a:cubicBezTo>
                  <a:cubicBezTo>
                    <a:pt x="28780" y="2"/>
                    <a:pt x="28726" y="1"/>
                    <a:pt x="2867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47;p48">
              <a:extLst>
                <a:ext uri="{FF2B5EF4-FFF2-40B4-BE49-F238E27FC236}">
                  <a16:creationId xmlns:a16="http://schemas.microsoft.com/office/drawing/2014/main" id="{AEAC77F1-5C53-4FBA-8B01-EFBF60FD6B40}"/>
                </a:ext>
              </a:extLst>
            </p:cNvPr>
            <p:cNvSpPr/>
            <p:nvPr/>
          </p:nvSpPr>
          <p:spPr>
            <a:xfrm flipH="1">
              <a:off x="2152468" y="4049081"/>
              <a:ext cx="367367" cy="90062"/>
            </a:xfrm>
            <a:custGeom>
              <a:avLst/>
              <a:gdLst/>
              <a:ahLst/>
              <a:cxnLst/>
              <a:rect l="l" t="t" r="r" b="b"/>
              <a:pathLst>
                <a:path w="25596" h="6275" extrusionOk="0">
                  <a:moveTo>
                    <a:pt x="2064" y="1"/>
                  </a:moveTo>
                  <a:cubicBezTo>
                    <a:pt x="1975" y="1"/>
                    <a:pt x="1886" y="3"/>
                    <a:pt x="1796" y="7"/>
                  </a:cubicBezTo>
                  <a:cubicBezTo>
                    <a:pt x="1057" y="42"/>
                    <a:pt x="388" y="500"/>
                    <a:pt x="1" y="1134"/>
                  </a:cubicBezTo>
                  <a:lnTo>
                    <a:pt x="423" y="1345"/>
                  </a:lnTo>
                  <a:cubicBezTo>
                    <a:pt x="705" y="817"/>
                    <a:pt x="1233" y="465"/>
                    <a:pt x="1867" y="465"/>
                  </a:cubicBezTo>
                  <a:cubicBezTo>
                    <a:pt x="1949" y="460"/>
                    <a:pt x="2030" y="458"/>
                    <a:pt x="2112" y="458"/>
                  </a:cubicBezTo>
                  <a:cubicBezTo>
                    <a:pt x="2664" y="458"/>
                    <a:pt x="3216" y="558"/>
                    <a:pt x="3768" y="711"/>
                  </a:cubicBezTo>
                  <a:lnTo>
                    <a:pt x="25490" y="6274"/>
                  </a:lnTo>
                  <a:lnTo>
                    <a:pt x="25596" y="5816"/>
                  </a:lnTo>
                  <a:lnTo>
                    <a:pt x="3873" y="289"/>
                  </a:lnTo>
                  <a:cubicBezTo>
                    <a:pt x="3289" y="104"/>
                    <a:pt x="2679" y="1"/>
                    <a:pt x="206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48;p48">
              <a:extLst>
                <a:ext uri="{FF2B5EF4-FFF2-40B4-BE49-F238E27FC236}">
                  <a16:creationId xmlns:a16="http://schemas.microsoft.com/office/drawing/2014/main" id="{83EED62A-FAD9-42BC-8DAE-344F88A7FAD4}"/>
                </a:ext>
              </a:extLst>
            </p:cNvPr>
            <p:cNvSpPr/>
            <p:nvPr/>
          </p:nvSpPr>
          <p:spPr>
            <a:xfrm flipH="1">
              <a:off x="2048826" y="4029615"/>
              <a:ext cx="107141" cy="233802"/>
            </a:xfrm>
            <a:custGeom>
              <a:avLst/>
              <a:gdLst/>
              <a:ahLst/>
              <a:cxnLst/>
              <a:rect l="l" t="t" r="r" b="b"/>
              <a:pathLst>
                <a:path w="7465" h="16290" extrusionOk="0">
                  <a:moveTo>
                    <a:pt x="2756" y="0"/>
                  </a:moveTo>
                  <a:cubicBezTo>
                    <a:pt x="1641" y="0"/>
                    <a:pt x="560" y="497"/>
                    <a:pt x="0" y="1397"/>
                  </a:cubicBezTo>
                  <a:lnTo>
                    <a:pt x="388" y="1609"/>
                  </a:lnTo>
                  <a:cubicBezTo>
                    <a:pt x="849" y="855"/>
                    <a:pt x="1798" y="421"/>
                    <a:pt x="2770" y="421"/>
                  </a:cubicBezTo>
                  <a:cubicBezTo>
                    <a:pt x="3205" y="421"/>
                    <a:pt x="3646" y="508"/>
                    <a:pt x="4049" y="693"/>
                  </a:cubicBezTo>
                  <a:cubicBezTo>
                    <a:pt x="5352" y="1362"/>
                    <a:pt x="6267" y="2559"/>
                    <a:pt x="6584" y="3968"/>
                  </a:cubicBezTo>
                  <a:cubicBezTo>
                    <a:pt x="6901" y="5376"/>
                    <a:pt x="7007" y="6819"/>
                    <a:pt x="6901" y="8298"/>
                  </a:cubicBezTo>
                  <a:cubicBezTo>
                    <a:pt x="6830" y="9988"/>
                    <a:pt x="6760" y="11678"/>
                    <a:pt x="6654" y="13368"/>
                  </a:cubicBezTo>
                  <a:cubicBezTo>
                    <a:pt x="6584" y="14353"/>
                    <a:pt x="6478" y="15374"/>
                    <a:pt x="5810" y="15973"/>
                  </a:cubicBezTo>
                  <a:lnTo>
                    <a:pt x="6091" y="16290"/>
                  </a:lnTo>
                  <a:cubicBezTo>
                    <a:pt x="6901" y="15586"/>
                    <a:pt x="7042" y="14424"/>
                    <a:pt x="7112" y="13403"/>
                  </a:cubicBezTo>
                  <a:cubicBezTo>
                    <a:pt x="7218" y="11713"/>
                    <a:pt x="7288" y="9988"/>
                    <a:pt x="7323" y="8298"/>
                  </a:cubicBezTo>
                  <a:cubicBezTo>
                    <a:pt x="7464" y="6784"/>
                    <a:pt x="7359" y="5305"/>
                    <a:pt x="7007" y="3827"/>
                  </a:cubicBezTo>
                  <a:cubicBezTo>
                    <a:pt x="6654" y="2313"/>
                    <a:pt x="5633" y="1010"/>
                    <a:pt x="4225" y="306"/>
                  </a:cubicBezTo>
                  <a:cubicBezTo>
                    <a:pt x="3758" y="99"/>
                    <a:pt x="3253" y="0"/>
                    <a:pt x="275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0" name="Google Shape;652;p48">
            <a:extLst>
              <a:ext uri="{FF2B5EF4-FFF2-40B4-BE49-F238E27FC236}">
                <a16:creationId xmlns:a16="http://schemas.microsoft.com/office/drawing/2014/main" id="{F6F1975B-BB7C-4219-82C2-973DB6CE5E92}"/>
              </a:ext>
            </a:extLst>
          </p:cNvPr>
          <p:cNvSpPr/>
          <p:nvPr/>
        </p:nvSpPr>
        <p:spPr>
          <a:xfrm>
            <a:off x="2653125" y="113843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Rectangle 261">
            <a:extLst>
              <a:ext uri="{FF2B5EF4-FFF2-40B4-BE49-F238E27FC236}">
                <a16:creationId xmlns:a16="http://schemas.microsoft.com/office/drawing/2014/main" id="{23E6B774-4DCD-48BA-A198-691D661FA49E}"/>
              </a:ext>
            </a:extLst>
          </p:cNvPr>
          <p:cNvSpPr/>
          <p:nvPr/>
        </p:nvSpPr>
        <p:spPr>
          <a:xfrm>
            <a:off x="6147892" y="2037726"/>
            <a:ext cx="5110694"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First-third/person</a:t>
            </a:r>
          </a:p>
        </p:txBody>
      </p:sp>
      <p:grpSp>
        <p:nvGrpSpPr>
          <p:cNvPr id="290" name="Group 289">
            <a:extLst>
              <a:ext uri="{FF2B5EF4-FFF2-40B4-BE49-F238E27FC236}">
                <a16:creationId xmlns:a16="http://schemas.microsoft.com/office/drawing/2014/main" id="{39584522-DB7C-4E7D-B3D7-9031C5D3D7CC}"/>
              </a:ext>
            </a:extLst>
          </p:cNvPr>
          <p:cNvGrpSpPr/>
          <p:nvPr/>
        </p:nvGrpSpPr>
        <p:grpSpPr>
          <a:xfrm>
            <a:off x="9015135" y="571740"/>
            <a:ext cx="1739676" cy="1743263"/>
            <a:chOff x="2815153" y="4374688"/>
            <a:chExt cx="1739676" cy="1743263"/>
          </a:xfrm>
        </p:grpSpPr>
        <p:grpSp>
          <p:nvGrpSpPr>
            <p:cNvPr id="286" name="Target3" descr="{&quot;Key&quot;:&quot;POWER_USER_SHAPE_ICON&quot;,&quot;Value&quot;:&quot;POWER_USER_SHAPE_ICON_STYLE_1&quot;}">
              <a:extLst>
                <a:ext uri="{FF2B5EF4-FFF2-40B4-BE49-F238E27FC236}">
                  <a16:creationId xmlns:a16="http://schemas.microsoft.com/office/drawing/2014/main" id="{87F19960-A03F-4DA8-B2DE-FD96F83800C3}"/>
                </a:ext>
              </a:extLst>
            </p:cNvPr>
            <p:cNvGrpSpPr>
              <a:grpSpLocks noChangeAspect="1"/>
            </p:cNvGrpSpPr>
            <p:nvPr>
              <p:custDataLst>
                <p:tags r:id="rId1"/>
              </p:custDataLst>
            </p:nvPr>
          </p:nvGrpSpPr>
          <p:grpSpPr bwMode="auto">
            <a:xfrm>
              <a:off x="2815153" y="4374688"/>
              <a:ext cx="1739676" cy="1743263"/>
              <a:chOff x="2347" y="664"/>
              <a:chExt cx="2910" cy="2916"/>
            </a:xfrm>
            <a:solidFill>
              <a:srgbClr val="C9F149">
                <a:alpha val="30000"/>
              </a:srgbClr>
            </a:solidFill>
          </p:grpSpPr>
          <p:sp>
            <p:nvSpPr>
              <p:cNvPr id="287" name="Freeform 124">
                <a:extLst>
                  <a:ext uri="{FF2B5EF4-FFF2-40B4-BE49-F238E27FC236}">
                    <a16:creationId xmlns:a16="http://schemas.microsoft.com/office/drawing/2014/main" id="{5BDCF784-9D91-425C-A636-930018BAA4C6}"/>
                  </a:ext>
                </a:extLst>
              </p:cNvPr>
              <p:cNvSpPr>
                <a:spLocks noEditPoints="1"/>
              </p:cNvSpPr>
              <p:nvPr/>
            </p:nvSpPr>
            <p:spPr bwMode="auto">
              <a:xfrm>
                <a:off x="2875" y="1193"/>
                <a:ext cx="1854" cy="1858"/>
              </a:xfrm>
              <a:custGeom>
                <a:avLst/>
                <a:gdLst>
                  <a:gd name="T0" fmla="*/ 233 w 467"/>
                  <a:gd name="T1" fmla="*/ 400 h 467"/>
                  <a:gd name="T2" fmla="*/ 67 w 467"/>
                  <a:gd name="T3" fmla="*/ 233 h 467"/>
                  <a:gd name="T4" fmla="*/ 233 w 467"/>
                  <a:gd name="T5" fmla="*/ 67 h 467"/>
                  <a:gd name="T6" fmla="*/ 400 w 467"/>
                  <a:gd name="T7" fmla="*/ 233 h 467"/>
                  <a:gd name="T8" fmla="*/ 233 w 467"/>
                  <a:gd name="T9" fmla="*/ 400 h 467"/>
                  <a:gd name="T10" fmla="*/ 233 w 467"/>
                  <a:gd name="T11" fmla="*/ 0 h 467"/>
                  <a:gd name="T12" fmla="*/ 0 w 467"/>
                  <a:gd name="T13" fmla="*/ 233 h 467"/>
                  <a:gd name="T14" fmla="*/ 233 w 467"/>
                  <a:gd name="T15" fmla="*/ 467 h 467"/>
                  <a:gd name="T16" fmla="*/ 467 w 467"/>
                  <a:gd name="T17" fmla="*/ 233 h 467"/>
                  <a:gd name="T18" fmla="*/ 233 w 467"/>
                  <a:gd name="T19"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7" h="467">
                    <a:moveTo>
                      <a:pt x="233" y="400"/>
                    </a:moveTo>
                    <a:cubicBezTo>
                      <a:pt x="141" y="400"/>
                      <a:pt x="67" y="325"/>
                      <a:pt x="67" y="233"/>
                    </a:cubicBezTo>
                    <a:cubicBezTo>
                      <a:pt x="67" y="141"/>
                      <a:pt x="141" y="67"/>
                      <a:pt x="233" y="67"/>
                    </a:cubicBezTo>
                    <a:cubicBezTo>
                      <a:pt x="325" y="67"/>
                      <a:pt x="400" y="141"/>
                      <a:pt x="400" y="233"/>
                    </a:cubicBezTo>
                    <a:cubicBezTo>
                      <a:pt x="400" y="325"/>
                      <a:pt x="325" y="400"/>
                      <a:pt x="233" y="400"/>
                    </a:cubicBezTo>
                    <a:close/>
                    <a:moveTo>
                      <a:pt x="233" y="0"/>
                    </a:moveTo>
                    <a:cubicBezTo>
                      <a:pt x="104" y="0"/>
                      <a:pt x="0" y="104"/>
                      <a:pt x="0" y="233"/>
                    </a:cubicBezTo>
                    <a:cubicBezTo>
                      <a:pt x="0" y="362"/>
                      <a:pt x="104" y="467"/>
                      <a:pt x="233" y="467"/>
                    </a:cubicBezTo>
                    <a:cubicBezTo>
                      <a:pt x="362" y="467"/>
                      <a:pt x="467" y="362"/>
                      <a:pt x="467" y="233"/>
                    </a:cubicBezTo>
                    <a:cubicBezTo>
                      <a:pt x="467" y="104"/>
                      <a:pt x="362" y="0"/>
                      <a:pt x="2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Freeform 125">
                <a:extLst>
                  <a:ext uri="{FF2B5EF4-FFF2-40B4-BE49-F238E27FC236}">
                    <a16:creationId xmlns:a16="http://schemas.microsoft.com/office/drawing/2014/main" id="{80E0ABB6-AE38-4036-8908-5864EB7E3296}"/>
                  </a:ext>
                </a:extLst>
              </p:cNvPr>
              <p:cNvSpPr>
                <a:spLocks noEditPoints="1"/>
              </p:cNvSpPr>
              <p:nvPr/>
            </p:nvSpPr>
            <p:spPr bwMode="auto">
              <a:xfrm>
                <a:off x="2347" y="664"/>
                <a:ext cx="2910" cy="2916"/>
              </a:xfrm>
              <a:custGeom>
                <a:avLst/>
                <a:gdLst>
                  <a:gd name="T0" fmla="*/ 366 w 733"/>
                  <a:gd name="T1" fmla="*/ 666 h 733"/>
                  <a:gd name="T2" fmla="*/ 66 w 733"/>
                  <a:gd name="T3" fmla="*/ 366 h 733"/>
                  <a:gd name="T4" fmla="*/ 366 w 733"/>
                  <a:gd name="T5" fmla="*/ 66 h 733"/>
                  <a:gd name="T6" fmla="*/ 666 w 733"/>
                  <a:gd name="T7" fmla="*/ 366 h 733"/>
                  <a:gd name="T8" fmla="*/ 366 w 733"/>
                  <a:gd name="T9" fmla="*/ 666 h 733"/>
                  <a:gd name="T10" fmla="*/ 366 w 733"/>
                  <a:gd name="T11" fmla="*/ 0 h 733"/>
                  <a:gd name="T12" fmla="*/ 0 w 733"/>
                  <a:gd name="T13" fmla="*/ 366 h 733"/>
                  <a:gd name="T14" fmla="*/ 366 w 733"/>
                  <a:gd name="T15" fmla="*/ 733 h 733"/>
                  <a:gd name="T16" fmla="*/ 733 w 733"/>
                  <a:gd name="T17" fmla="*/ 366 h 733"/>
                  <a:gd name="T18" fmla="*/ 366 w 733"/>
                  <a:gd name="T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6"/>
                    </a:moveTo>
                    <a:cubicBezTo>
                      <a:pt x="201" y="666"/>
                      <a:pt x="66" y="532"/>
                      <a:pt x="66" y="366"/>
                    </a:cubicBezTo>
                    <a:cubicBezTo>
                      <a:pt x="66" y="201"/>
                      <a:pt x="201" y="66"/>
                      <a:pt x="366" y="66"/>
                    </a:cubicBezTo>
                    <a:cubicBezTo>
                      <a:pt x="532" y="66"/>
                      <a:pt x="666" y="201"/>
                      <a:pt x="666" y="366"/>
                    </a:cubicBezTo>
                    <a:cubicBezTo>
                      <a:pt x="666" y="532"/>
                      <a:pt x="532" y="666"/>
                      <a:pt x="366" y="666"/>
                    </a:cubicBezTo>
                    <a:close/>
                    <a:moveTo>
                      <a:pt x="366" y="0"/>
                    </a:moveTo>
                    <a:cubicBezTo>
                      <a:pt x="164" y="0"/>
                      <a:pt x="0" y="164"/>
                      <a:pt x="0" y="366"/>
                    </a:cubicBezTo>
                    <a:cubicBezTo>
                      <a:pt x="0" y="569"/>
                      <a:pt x="164" y="733"/>
                      <a:pt x="366" y="733"/>
                    </a:cubicBezTo>
                    <a:cubicBezTo>
                      <a:pt x="569" y="733"/>
                      <a:pt x="733" y="569"/>
                      <a:pt x="733" y="366"/>
                    </a:cubicBezTo>
                    <a:cubicBezTo>
                      <a:pt x="733" y="164"/>
                      <a:pt x="569" y="0"/>
                      <a:pt x="3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Oval 126">
                <a:extLst>
                  <a:ext uri="{FF2B5EF4-FFF2-40B4-BE49-F238E27FC236}">
                    <a16:creationId xmlns:a16="http://schemas.microsoft.com/office/drawing/2014/main" id="{3E8D42D7-C051-4715-ADB1-E64A34C5DCC0}"/>
                  </a:ext>
                </a:extLst>
              </p:cNvPr>
              <p:cNvSpPr>
                <a:spLocks noChangeArrowheads="1"/>
              </p:cNvSpPr>
              <p:nvPr/>
            </p:nvSpPr>
            <p:spPr bwMode="auto">
              <a:xfrm>
                <a:off x="3470" y="1790"/>
                <a:ext cx="663" cy="66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4" name="User_centric" descr="{&quot;Key&quot;:&quot;POWER_USER_SHAPE_ICON&quot;,&quot;Value&quot;:&quot;POWER_USER_SHAPE_ICON_STYLE_1&quot;}">
              <a:extLst>
                <a:ext uri="{FF2B5EF4-FFF2-40B4-BE49-F238E27FC236}">
                  <a16:creationId xmlns:a16="http://schemas.microsoft.com/office/drawing/2014/main" id="{97E78491-E765-4067-BB04-84D937D204D4}"/>
                </a:ext>
              </a:extLst>
            </p:cNvPr>
            <p:cNvGrpSpPr>
              <a:grpSpLocks noChangeAspect="1"/>
            </p:cNvGrpSpPr>
            <p:nvPr>
              <p:custDataLst>
                <p:tags r:id="rId2"/>
              </p:custDataLst>
            </p:nvPr>
          </p:nvGrpSpPr>
          <p:grpSpPr>
            <a:xfrm rot="19210547">
              <a:off x="3114155" y="4772312"/>
              <a:ext cx="1166257" cy="954044"/>
              <a:chOff x="4791075" y="5243513"/>
              <a:chExt cx="1003300" cy="820738"/>
            </a:xfrm>
            <a:solidFill>
              <a:schemeClr val="accent1">
                <a:alpha val="55000"/>
              </a:schemeClr>
            </a:solidFill>
          </p:grpSpPr>
          <p:sp>
            <p:nvSpPr>
              <p:cNvPr id="265" name="Freeform 229">
                <a:extLst>
                  <a:ext uri="{FF2B5EF4-FFF2-40B4-BE49-F238E27FC236}">
                    <a16:creationId xmlns:a16="http://schemas.microsoft.com/office/drawing/2014/main" id="{03F9F248-BFC1-4182-A592-FFFF230BB858}"/>
                  </a:ext>
                </a:extLst>
              </p:cNvPr>
              <p:cNvSpPr>
                <a:spLocks/>
              </p:cNvSpPr>
              <p:nvPr/>
            </p:nvSpPr>
            <p:spPr bwMode="auto">
              <a:xfrm>
                <a:off x="5165725" y="5508625"/>
                <a:ext cx="255588" cy="314325"/>
              </a:xfrm>
              <a:custGeom>
                <a:avLst/>
                <a:gdLst>
                  <a:gd name="T0" fmla="*/ 367 w 423"/>
                  <a:gd name="T1" fmla="*/ 274 h 521"/>
                  <a:gd name="T2" fmla="*/ 283 w 423"/>
                  <a:gd name="T3" fmla="*/ 245 h 521"/>
                  <a:gd name="T4" fmla="*/ 267 w 423"/>
                  <a:gd name="T5" fmla="*/ 241 h 521"/>
                  <a:gd name="T6" fmla="*/ 267 w 423"/>
                  <a:gd name="T7" fmla="*/ 227 h 521"/>
                  <a:gd name="T8" fmla="*/ 302 w 423"/>
                  <a:gd name="T9" fmla="*/ 164 h 521"/>
                  <a:gd name="T10" fmla="*/ 303 w 423"/>
                  <a:gd name="T11" fmla="*/ 165 h 521"/>
                  <a:gd name="T12" fmla="*/ 336 w 423"/>
                  <a:gd name="T13" fmla="*/ 127 h 521"/>
                  <a:gd name="T14" fmla="*/ 311 w 423"/>
                  <a:gd name="T15" fmla="*/ 84 h 521"/>
                  <a:gd name="T16" fmla="*/ 310 w 423"/>
                  <a:gd name="T17" fmla="*/ 84 h 521"/>
                  <a:gd name="T18" fmla="*/ 212 w 423"/>
                  <a:gd name="T19" fmla="*/ 0 h 521"/>
                  <a:gd name="T20" fmla="*/ 114 w 423"/>
                  <a:gd name="T21" fmla="*/ 84 h 521"/>
                  <a:gd name="T22" fmla="*/ 109 w 423"/>
                  <a:gd name="T23" fmla="*/ 84 h 521"/>
                  <a:gd name="T24" fmla="*/ 85 w 423"/>
                  <a:gd name="T25" fmla="*/ 127 h 521"/>
                  <a:gd name="T26" fmla="*/ 119 w 423"/>
                  <a:gd name="T27" fmla="*/ 165 h 521"/>
                  <a:gd name="T28" fmla="*/ 122 w 423"/>
                  <a:gd name="T29" fmla="*/ 164 h 521"/>
                  <a:gd name="T30" fmla="*/ 154 w 423"/>
                  <a:gd name="T31" fmla="*/ 224 h 521"/>
                  <a:gd name="T32" fmla="*/ 154 w 423"/>
                  <a:gd name="T33" fmla="*/ 243 h 521"/>
                  <a:gd name="T34" fmla="*/ 140 w 423"/>
                  <a:gd name="T35" fmla="*/ 247 h 521"/>
                  <a:gd name="T36" fmla="*/ 54 w 423"/>
                  <a:gd name="T37" fmla="*/ 275 h 521"/>
                  <a:gd name="T38" fmla="*/ 20 w 423"/>
                  <a:gd name="T39" fmla="*/ 322 h 521"/>
                  <a:gd name="T40" fmla="*/ 20 w 423"/>
                  <a:gd name="T41" fmla="*/ 447 h 521"/>
                  <a:gd name="T42" fmla="*/ 401 w 423"/>
                  <a:gd name="T43" fmla="*/ 447 h 521"/>
                  <a:gd name="T44" fmla="*/ 401 w 423"/>
                  <a:gd name="T45" fmla="*/ 322 h 521"/>
                  <a:gd name="T46" fmla="*/ 367 w 423"/>
                  <a:gd name="T47" fmla="*/ 2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3" h="521">
                    <a:moveTo>
                      <a:pt x="367" y="274"/>
                    </a:moveTo>
                    <a:lnTo>
                      <a:pt x="283" y="245"/>
                    </a:lnTo>
                    <a:lnTo>
                      <a:pt x="267" y="241"/>
                    </a:lnTo>
                    <a:lnTo>
                      <a:pt x="267" y="227"/>
                    </a:lnTo>
                    <a:cubicBezTo>
                      <a:pt x="282" y="211"/>
                      <a:pt x="294" y="189"/>
                      <a:pt x="302" y="164"/>
                    </a:cubicBezTo>
                    <a:cubicBezTo>
                      <a:pt x="302" y="164"/>
                      <a:pt x="303" y="165"/>
                      <a:pt x="303" y="165"/>
                    </a:cubicBezTo>
                    <a:cubicBezTo>
                      <a:pt x="319" y="166"/>
                      <a:pt x="334" y="149"/>
                      <a:pt x="336" y="127"/>
                    </a:cubicBezTo>
                    <a:cubicBezTo>
                      <a:pt x="339" y="105"/>
                      <a:pt x="327" y="85"/>
                      <a:pt x="311" y="84"/>
                    </a:cubicBezTo>
                    <a:cubicBezTo>
                      <a:pt x="311" y="84"/>
                      <a:pt x="310" y="84"/>
                      <a:pt x="310" y="84"/>
                    </a:cubicBezTo>
                    <a:cubicBezTo>
                      <a:pt x="303" y="22"/>
                      <a:pt x="262" y="0"/>
                      <a:pt x="212" y="0"/>
                    </a:cubicBezTo>
                    <a:cubicBezTo>
                      <a:pt x="162" y="0"/>
                      <a:pt x="121" y="22"/>
                      <a:pt x="114" y="84"/>
                    </a:cubicBezTo>
                    <a:cubicBezTo>
                      <a:pt x="112" y="84"/>
                      <a:pt x="111" y="83"/>
                      <a:pt x="109" y="84"/>
                    </a:cubicBezTo>
                    <a:cubicBezTo>
                      <a:pt x="93" y="86"/>
                      <a:pt x="82" y="105"/>
                      <a:pt x="85" y="127"/>
                    </a:cubicBezTo>
                    <a:cubicBezTo>
                      <a:pt x="87" y="150"/>
                      <a:pt x="102" y="166"/>
                      <a:pt x="119" y="165"/>
                    </a:cubicBezTo>
                    <a:cubicBezTo>
                      <a:pt x="120" y="164"/>
                      <a:pt x="121" y="164"/>
                      <a:pt x="122" y="164"/>
                    </a:cubicBezTo>
                    <a:cubicBezTo>
                      <a:pt x="129" y="187"/>
                      <a:pt x="140" y="208"/>
                      <a:pt x="154" y="224"/>
                    </a:cubicBezTo>
                    <a:lnTo>
                      <a:pt x="154" y="243"/>
                    </a:lnTo>
                    <a:lnTo>
                      <a:pt x="140" y="247"/>
                    </a:lnTo>
                    <a:lnTo>
                      <a:pt x="54" y="275"/>
                    </a:lnTo>
                    <a:cubicBezTo>
                      <a:pt x="35" y="281"/>
                      <a:pt x="20" y="302"/>
                      <a:pt x="20" y="322"/>
                    </a:cubicBezTo>
                    <a:cubicBezTo>
                      <a:pt x="20" y="322"/>
                      <a:pt x="0" y="423"/>
                      <a:pt x="20" y="447"/>
                    </a:cubicBezTo>
                    <a:cubicBezTo>
                      <a:pt x="80" y="521"/>
                      <a:pt x="334" y="515"/>
                      <a:pt x="401" y="447"/>
                    </a:cubicBezTo>
                    <a:cubicBezTo>
                      <a:pt x="423" y="425"/>
                      <a:pt x="401" y="322"/>
                      <a:pt x="401" y="322"/>
                    </a:cubicBezTo>
                    <a:cubicBezTo>
                      <a:pt x="401" y="302"/>
                      <a:pt x="386" y="281"/>
                      <a:pt x="367"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230">
                <a:extLst>
                  <a:ext uri="{FF2B5EF4-FFF2-40B4-BE49-F238E27FC236}">
                    <a16:creationId xmlns:a16="http://schemas.microsoft.com/office/drawing/2014/main" id="{607E9C43-7946-47D1-B847-D384A59287CD}"/>
                  </a:ext>
                </a:extLst>
              </p:cNvPr>
              <p:cNvSpPr>
                <a:spLocks/>
              </p:cNvSpPr>
              <p:nvPr/>
            </p:nvSpPr>
            <p:spPr bwMode="auto">
              <a:xfrm>
                <a:off x="5546725" y="5243513"/>
                <a:ext cx="247650" cy="190500"/>
              </a:xfrm>
              <a:custGeom>
                <a:avLst/>
                <a:gdLst>
                  <a:gd name="T0" fmla="*/ 0 w 156"/>
                  <a:gd name="T1" fmla="*/ 0 h 120"/>
                  <a:gd name="T2" fmla="*/ 0 w 156"/>
                  <a:gd name="T3" fmla="*/ 48 h 120"/>
                  <a:gd name="T4" fmla="*/ 109 w 156"/>
                  <a:gd name="T5" fmla="*/ 48 h 120"/>
                  <a:gd name="T6" fmla="*/ 109 w 156"/>
                  <a:gd name="T7" fmla="*/ 120 h 120"/>
                  <a:gd name="T8" fmla="*/ 156 w 156"/>
                  <a:gd name="T9" fmla="*/ 120 h 120"/>
                  <a:gd name="T10" fmla="*/ 156 w 156"/>
                  <a:gd name="T11" fmla="*/ 0 h 120"/>
                  <a:gd name="T12" fmla="*/ 0 w 156"/>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0" y="0"/>
                    </a:moveTo>
                    <a:lnTo>
                      <a:pt x="0" y="48"/>
                    </a:lnTo>
                    <a:lnTo>
                      <a:pt x="109" y="48"/>
                    </a:lnTo>
                    <a:lnTo>
                      <a:pt x="109" y="120"/>
                    </a:lnTo>
                    <a:lnTo>
                      <a:pt x="156" y="120"/>
                    </a:lnTo>
                    <a:lnTo>
                      <a:pt x="15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231">
                <a:extLst>
                  <a:ext uri="{FF2B5EF4-FFF2-40B4-BE49-F238E27FC236}">
                    <a16:creationId xmlns:a16="http://schemas.microsoft.com/office/drawing/2014/main" id="{BDD27EF6-65B0-4679-ACA7-E3F622B45DC4}"/>
                  </a:ext>
                </a:extLst>
              </p:cNvPr>
              <p:cNvSpPr>
                <a:spLocks/>
              </p:cNvSpPr>
              <p:nvPr/>
            </p:nvSpPr>
            <p:spPr bwMode="auto">
              <a:xfrm>
                <a:off x="4791075" y="5243513"/>
                <a:ext cx="247650" cy="190500"/>
              </a:xfrm>
              <a:custGeom>
                <a:avLst/>
                <a:gdLst>
                  <a:gd name="T0" fmla="*/ 48 w 156"/>
                  <a:gd name="T1" fmla="*/ 48 h 120"/>
                  <a:gd name="T2" fmla="*/ 156 w 156"/>
                  <a:gd name="T3" fmla="*/ 48 h 120"/>
                  <a:gd name="T4" fmla="*/ 156 w 156"/>
                  <a:gd name="T5" fmla="*/ 0 h 120"/>
                  <a:gd name="T6" fmla="*/ 0 w 156"/>
                  <a:gd name="T7" fmla="*/ 0 h 120"/>
                  <a:gd name="T8" fmla="*/ 0 w 156"/>
                  <a:gd name="T9" fmla="*/ 120 h 120"/>
                  <a:gd name="T10" fmla="*/ 48 w 156"/>
                  <a:gd name="T11" fmla="*/ 120 h 120"/>
                  <a:gd name="T12" fmla="*/ 48 w 15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48" y="48"/>
                    </a:moveTo>
                    <a:lnTo>
                      <a:pt x="156" y="48"/>
                    </a:lnTo>
                    <a:lnTo>
                      <a:pt x="156" y="0"/>
                    </a:lnTo>
                    <a:lnTo>
                      <a:pt x="0" y="0"/>
                    </a:lnTo>
                    <a:lnTo>
                      <a:pt x="0" y="120"/>
                    </a:lnTo>
                    <a:lnTo>
                      <a:pt x="48" y="120"/>
                    </a:ln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232">
                <a:extLst>
                  <a:ext uri="{FF2B5EF4-FFF2-40B4-BE49-F238E27FC236}">
                    <a16:creationId xmlns:a16="http://schemas.microsoft.com/office/drawing/2014/main" id="{93538B2B-1620-49AC-B713-8BB169B1F1E3}"/>
                  </a:ext>
                </a:extLst>
              </p:cNvPr>
              <p:cNvSpPr>
                <a:spLocks/>
              </p:cNvSpPr>
              <p:nvPr/>
            </p:nvSpPr>
            <p:spPr bwMode="auto">
              <a:xfrm>
                <a:off x="4791075" y="5875338"/>
                <a:ext cx="247650" cy="188913"/>
              </a:xfrm>
              <a:custGeom>
                <a:avLst/>
                <a:gdLst>
                  <a:gd name="T0" fmla="*/ 48 w 156"/>
                  <a:gd name="T1" fmla="*/ 0 h 119"/>
                  <a:gd name="T2" fmla="*/ 0 w 156"/>
                  <a:gd name="T3" fmla="*/ 0 h 119"/>
                  <a:gd name="T4" fmla="*/ 0 w 156"/>
                  <a:gd name="T5" fmla="*/ 119 h 119"/>
                  <a:gd name="T6" fmla="*/ 156 w 156"/>
                  <a:gd name="T7" fmla="*/ 119 h 119"/>
                  <a:gd name="T8" fmla="*/ 156 w 156"/>
                  <a:gd name="T9" fmla="*/ 72 h 119"/>
                  <a:gd name="T10" fmla="*/ 48 w 156"/>
                  <a:gd name="T11" fmla="*/ 72 h 119"/>
                  <a:gd name="T12" fmla="*/ 48 w 156"/>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48" y="0"/>
                    </a:moveTo>
                    <a:lnTo>
                      <a:pt x="0" y="0"/>
                    </a:lnTo>
                    <a:lnTo>
                      <a:pt x="0" y="119"/>
                    </a:lnTo>
                    <a:lnTo>
                      <a:pt x="156" y="119"/>
                    </a:lnTo>
                    <a:lnTo>
                      <a:pt x="156" y="72"/>
                    </a:lnTo>
                    <a:lnTo>
                      <a:pt x="48" y="72"/>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233">
                <a:extLst>
                  <a:ext uri="{FF2B5EF4-FFF2-40B4-BE49-F238E27FC236}">
                    <a16:creationId xmlns:a16="http://schemas.microsoft.com/office/drawing/2014/main" id="{3225C5F1-85AD-4750-A230-417F5B231C78}"/>
                  </a:ext>
                </a:extLst>
              </p:cNvPr>
              <p:cNvSpPr>
                <a:spLocks/>
              </p:cNvSpPr>
              <p:nvPr/>
            </p:nvSpPr>
            <p:spPr bwMode="auto">
              <a:xfrm>
                <a:off x="5546725" y="5875338"/>
                <a:ext cx="247650" cy="188913"/>
              </a:xfrm>
              <a:custGeom>
                <a:avLst/>
                <a:gdLst>
                  <a:gd name="T0" fmla="*/ 109 w 156"/>
                  <a:gd name="T1" fmla="*/ 72 h 119"/>
                  <a:gd name="T2" fmla="*/ 0 w 156"/>
                  <a:gd name="T3" fmla="*/ 72 h 119"/>
                  <a:gd name="T4" fmla="*/ 0 w 156"/>
                  <a:gd name="T5" fmla="*/ 119 h 119"/>
                  <a:gd name="T6" fmla="*/ 156 w 156"/>
                  <a:gd name="T7" fmla="*/ 119 h 119"/>
                  <a:gd name="T8" fmla="*/ 156 w 156"/>
                  <a:gd name="T9" fmla="*/ 0 h 119"/>
                  <a:gd name="T10" fmla="*/ 109 w 156"/>
                  <a:gd name="T11" fmla="*/ 0 h 119"/>
                  <a:gd name="T12" fmla="*/ 109 w 156"/>
                  <a:gd name="T13" fmla="*/ 72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109" y="72"/>
                    </a:moveTo>
                    <a:lnTo>
                      <a:pt x="0" y="72"/>
                    </a:lnTo>
                    <a:lnTo>
                      <a:pt x="0" y="119"/>
                    </a:lnTo>
                    <a:lnTo>
                      <a:pt x="156" y="119"/>
                    </a:lnTo>
                    <a:lnTo>
                      <a:pt x="156" y="0"/>
                    </a:lnTo>
                    <a:lnTo>
                      <a:pt x="109" y="0"/>
                    </a:lnTo>
                    <a:lnTo>
                      <a:pt x="10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234">
                <a:extLst>
                  <a:ext uri="{FF2B5EF4-FFF2-40B4-BE49-F238E27FC236}">
                    <a16:creationId xmlns:a16="http://schemas.microsoft.com/office/drawing/2014/main" id="{830C8C4B-266A-42EB-88BE-11F54BEA8A02}"/>
                  </a:ext>
                </a:extLst>
              </p:cNvPr>
              <p:cNvSpPr>
                <a:spLocks noEditPoints="1"/>
              </p:cNvSpPr>
              <p:nvPr/>
            </p:nvSpPr>
            <p:spPr bwMode="auto">
              <a:xfrm>
                <a:off x="4900613" y="5262563"/>
                <a:ext cx="784225" cy="782638"/>
              </a:xfrm>
              <a:custGeom>
                <a:avLst/>
                <a:gdLst>
                  <a:gd name="T0" fmla="*/ 938 w 1300"/>
                  <a:gd name="T1" fmla="*/ 704 h 1300"/>
                  <a:gd name="T2" fmla="*/ 1032 w 1300"/>
                  <a:gd name="T3" fmla="*/ 704 h 1300"/>
                  <a:gd name="T4" fmla="*/ 704 w 1300"/>
                  <a:gd name="T5" fmla="*/ 1032 h 1300"/>
                  <a:gd name="T6" fmla="*/ 704 w 1300"/>
                  <a:gd name="T7" fmla="*/ 970 h 1300"/>
                  <a:gd name="T8" fmla="*/ 596 w 1300"/>
                  <a:gd name="T9" fmla="*/ 970 h 1300"/>
                  <a:gd name="T10" fmla="*/ 596 w 1300"/>
                  <a:gd name="T11" fmla="*/ 1032 h 1300"/>
                  <a:gd name="T12" fmla="*/ 269 w 1300"/>
                  <a:gd name="T13" fmla="*/ 704 h 1300"/>
                  <a:gd name="T14" fmla="*/ 363 w 1300"/>
                  <a:gd name="T15" fmla="*/ 704 h 1300"/>
                  <a:gd name="T16" fmla="*/ 363 w 1300"/>
                  <a:gd name="T17" fmla="*/ 596 h 1300"/>
                  <a:gd name="T18" fmla="*/ 269 w 1300"/>
                  <a:gd name="T19" fmla="*/ 596 h 1300"/>
                  <a:gd name="T20" fmla="*/ 596 w 1300"/>
                  <a:gd name="T21" fmla="*/ 268 h 1300"/>
                  <a:gd name="T22" fmla="*/ 596 w 1300"/>
                  <a:gd name="T23" fmla="*/ 329 h 1300"/>
                  <a:gd name="T24" fmla="*/ 704 w 1300"/>
                  <a:gd name="T25" fmla="*/ 329 h 1300"/>
                  <a:gd name="T26" fmla="*/ 704 w 1300"/>
                  <a:gd name="T27" fmla="*/ 268 h 1300"/>
                  <a:gd name="T28" fmla="*/ 1032 w 1300"/>
                  <a:gd name="T29" fmla="*/ 596 h 1300"/>
                  <a:gd name="T30" fmla="*/ 938 w 1300"/>
                  <a:gd name="T31" fmla="*/ 596 h 1300"/>
                  <a:gd name="T32" fmla="*/ 938 w 1300"/>
                  <a:gd name="T33" fmla="*/ 704 h 1300"/>
                  <a:gd name="T34" fmla="*/ 1141 w 1300"/>
                  <a:gd name="T35" fmla="*/ 704 h 1300"/>
                  <a:gd name="T36" fmla="*/ 1300 w 1300"/>
                  <a:gd name="T37" fmla="*/ 704 h 1300"/>
                  <a:gd name="T38" fmla="*/ 1300 w 1300"/>
                  <a:gd name="T39" fmla="*/ 596 h 1300"/>
                  <a:gd name="T40" fmla="*/ 1141 w 1300"/>
                  <a:gd name="T41" fmla="*/ 596 h 1300"/>
                  <a:gd name="T42" fmla="*/ 1134 w 1300"/>
                  <a:gd name="T43" fmla="*/ 547 h 1300"/>
                  <a:gd name="T44" fmla="*/ 911 w 1300"/>
                  <a:gd name="T45" fmla="*/ 230 h 1300"/>
                  <a:gd name="T46" fmla="*/ 704 w 1300"/>
                  <a:gd name="T47" fmla="*/ 159 h 1300"/>
                  <a:gd name="T48" fmla="*/ 704 w 1300"/>
                  <a:gd name="T49" fmla="*/ 13 h 1300"/>
                  <a:gd name="T50" fmla="*/ 704 w 1300"/>
                  <a:gd name="T51" fmla="*/ 0 h 1300"/>
                  <a:gd name="T52" fmla="*/ 596 w 1300"/>
                  <a:gd name="T53" fmla="*/ 0 h 1300"/>
                  <a:gd name="T54" fmla="*/ 596 w 1300"/>
                  <a:gd name="T55" fmla="*/ 13 h 1300"/>
                  <a:gd name="T56" fmla="*/ 596 w 1300"/>
                  <a:gd name="T57" fmla="*/ 159 h 1300"/>
                  <a:gd name="T58" fmla="*/ 390 w 1300"/>
                  <a:gd name="T59" fmla="*/ 230 h 1300"/>
                  <a:gd name="T60" fmla="*/ 167 w 1300"/>
                  <a:gd name="T61" fmla="*/ 547 h 1300"/>
                  <a:gd name="T62" fmla="*/ 159 w 1300"/>
                  <a:gd name="T63" fmla="*/ 596 h 1300"/>
                  <a:gd name="T64" fmla="*/ 0 w 1300"/>
                  <a:gd name="T65" fmla="*/ 596 h 1300"/>
                  <a:gd name="T66" fmla="*/ 0 w 1300"/>
                  <a:gd name="T67" fmla="*/ 704 h 1300"/>
                  <a:gd name="T68" fmla="*/ 159 w 1300"/>
                  <a:gd name="T69" fmla="*/ 704 h 1300"/>
                  <a:gd name="T70" fmla="*/ 167 w 1300"/>
                  <a:gd name="T71" fmla="*/ 752 h 1300"/>
                  <a:gd name="T72" fmla="*/ 390 w 1300"/>
                  <a:gd name="T73" fmla="*/ 1069 h 1300"/>
                  <a:gd name="T74" fmla="*/ 596 w 1300"/>
                  <a:gd name="T75" fmla="*/ 1141 h 1300"/>
                  <a:gd name="T76" fmla="*/ 596 w 1300"/>
                  <a:gd name="T77" fmla="*/ 1286 h 1300"/>
                  <a:gd name="T78" fmla="*/ 596 w 1300"/>
                  <a:gd name="T79" fmla="*/ 1300 h 1300"/>
                  <a:gd name="T80" fmla="*/ 704 w 1300"/>
                  <a:gd name="T81" fmla="*/ 1300 h 1300"/>
                  <a:gd name="T82" fmla="*/ 704 w 1300"/>
                  <a:gd name="T83" fmla="*/ 1286 h 1300"/>
                  <a:gd name="T84" fmla="*/ 704 w 1300"/>
                  <a:gd name="T85" fmla="*/ 1141 h 1300"/>
                  <a:gd name="T86" fmla="*/ 911 w 1300"/>
                  <a:gd name="T87" fmla="*/ 1069 h 1300"/>
                  <a:gd name="T88" fmla="*/ 1134 w 1300"/>
                  <a:gd name="T89" fmla="*/ 752 h 1300"/>
                  <a:gd name="T90" fmla="*/ 1141 w 1300"/>
                  <a:gd name="T91" fmla="*/ 70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0" h="1300">
                    <a:moveTo>
                      <a:pt x="938" y="704"/>
                    </a:moveTo>
                    <a:lnTo>
                      <a:pt x="1032" y="704"/>
                    </a:lnTo>
                    <a:cubicBezTo>
                      <a:pt x="1008" y="873"/>
                      <a:pt x="874" y="1008"/>
                      <a:pt x="704" y="1032"/>
                    </a:cubicBezTo>
                    <a:lnTo>
                      <a:pt x="704" y="970"/>
                    </a:lnTo>
                    <a:cubicBezTo>
                      <a:pt x="687" y="974"/>
                      <a:pt x="614" y="974"/>
                      <a:pt x="596" y="970"/>
                    </a:cubicBezTo>
                    <a:lnTo>
                      <a:pt x="596" y="1032"/>
                    </a:lnTo>
                    <a:cubicBezTo>
                      <a:pt x="427" y="1008"/>
                      <a:pt x="293" y="873"/>
                      <a:pt x="269" y="704"/>
                    </a:cubicBezTo>
                    <a:lnTo>
                      <a:pt x="363" y="704"/>
                    </a:lnTo>
                    <a:cubicBezTo>
                      <a:pt x="360" y="686"/>
                      <a:pt x="360" y="613"/>
                      <a:pt x="363" y="596"/>
                    </a:cubicBezTo>
                    <a:lnTo>
                      <a:pt x="269" y="596"/>
                    </a:lnTo>
                    <a:cubicBezTo>
                      <a:pt x="293" y="426"/>
                      <a:pt x="427" y="292"/>
                      <a:pt x="596" y="268"/>
                    </a:cubicBezTo>
                    <a:lnTo>
                      <a:pt x="596" y="329"/>
                    </a:lnTo>
                    <a:cubicBezTo>
                      <a:pt x="614" y="326"/>
                      <a:pt x="687" y="326"/>
                      <a:pt x="704" y="329"/>
                    </a:cubicBezTo>
                    <a:lnTo>
                      <a:pt x="704" y="268"/>
                    </a:lnTo>
                    <a:cubicBezTo>
                      <a:pt x="874" y="292"/>
                      <a:pt x="1008" y="426"/>
                      <a:pt x="1032" y="596"/>
                    </a:cubicBezTo>
                    <a:lnTo>
                      <a:pt x="938" y="596"/>
                    </a:lnTo>
                    <a:cubicBezTo>
                      <a:pt x="941" y="613"/>
                      <a:pt x="941" y="686"/>
                      <a:pt x="938" y="704"/>
                    </a:cubicBezTo>
                    <a:close/>
                    <a:moveTo>
                      <a:pt x="1141" y="704"/>
                    </a:moveTo>
                    <a:lnTo>
                      <a:pt x="1300" y="704"/>
                    </a:lnTo>
                    <a:lnTo>
                      <a:pt x="1300" y="596"/>
                    </a:lnTo>
                    <a:lnTo>
                      <a:pt x="1141" y="596"/>
                    </a:lnTo>
                    <a:cubicBezTo>
                      <a:pt x="1140" y="579"/>
                      <a:pt x="1137" y="563"/>
                      <a:pt x="1134" y="547"/>
                    </a:cubicBezTo>
                    <a:cubicBezTo>
                      <a:pt x="1105" y="414"/>
                      <a:pt x="1023" y="300"/>
                      <a:pt x="911" y="230"/>
                    </a:cubicBezTo>
                    <a:cubicBezTo>
                      <a:pt x="850" y="192"/>
                      <a:pt x="780" y="167"/>
                      <a:pt x="704" y="159"/>
                    </a:cubicBezTo>
                    <a:lnTo>
                      <a:pt x="704" y="13"/>
                    </a:lnTo>
                    <a:lnTo>
                      <a:pt x="704" y="0"/>
                    </a:lnTo>
                    <a:lnTo>
                      <a:pt x="596" y="0"/>
                    </a:lnTo>
                    <a:lnTo>
                      <a:pt x="596" y="13"/>
                    </a:lnTo>
                    <a:lnTo>
                      <a:pt x="596" y="159"/>
                    </a:lnTo>
                    <a:cubicBezTo>
                      <a:pt x="521" y="167"/>
                      <a:pt x="451" y="192"/>
                      <a:pt x="390" y="230"/>
                    </a:cubicBezTo>
                    <a:cubicBezTo>
                      <a:pt x="278" y="300"/>
                      <a:pt x="195" y="414"/>
                      <a:pt x="167" y="547"/>
                    </a:cubicBezTo>
                    <a:cubicBezTo>
                      <a:pt x="164" y="563"/>
                      <a:pt x="161" y="579"/>
                      <a:pt x="159" y="596"/>
                    </a:cubicBezTo>
                    <a:lnTo>
                      <a:pt x="0" y="596"/>
                    </a:lnTo>
                    <a:lnTo>
                      <a:pt x="0" y="704"/>
                    </a:lnTo>
                    <a:lnTo>
                      <a:pt x="159" y="704"/>
                    </a:lnTo>
                    <a:cubicBezTo>
                      <a:pt x="161" y="720"/>
                      <a:pt x="164" y="736"/>
                      <a:pt x="167" y="752"/>
                    </a:cubicBezTo>
                    <a:cubicBezTo>
                      <a:pt x="195" y="886"/>
                      <a:pt x="278" y="999"/>
                      <a:pt x="390" y="1069"/>
                    </a:cubicBezTo>
                    <a:cubicBezTo>
                      <a:pt x="451" y="1107"/>
                      <a:pt x="521" y="1133"/>
                      <a:pt x="596" y="1141"/>
                    </a:cubicBezTo>
                    <a:lnTo>
                      <a:pt x="596" y="1286"/>
                    </a:lnTo>
                    <a:lnTo>
                      <a:pt x="596" y="1300"/>
                    </a:lnTo>
                    <a:lnTo>
                      <a:pt x="704" y="1300"/>
                    </a:lnTo>
                    <a:lnTo>
                      <a:pt x="704" y="1286"/>
                    </a:lnTo>
                    <a:lnTo>
                      <a:pt x="704" y="1141"/>
                    </a:lnTo>
                    <a:cubicBezTo>
                      <a:pt x="780" y="1133"/>
                      <a:pt x="850" y="1107"/>
                      <a:pt x="911" y="1069"/>
                    </a:cubicBezTo>
                    <a:cubicBezTo>
                      <a:pt x="1023" y="999"/>
                      <a:pt x="1105" y="886"/>
                      <a:pt x="1134" y="752"/>
                    </a:cubicBezTo>
                    <a:cubicBezTo>
                      <a:pt x="1137" y="736"/>
                      <a:pt x="1140" y="720"/>
                      <a:pt x="1141" y="7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676892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b="1" dirty="0">
                <a:solidFill>
                  <a:srgbClr val="F7743C"/>
                </a:solidFill>
                <a:latin typeface="Saira SemiCondensed ExtraBold" panose="00000906000000000000" pitchFamily="2" charset="0"/>
              </a:rPr>
              <a:t>Flow of gaming/Simulation evolution (2)</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Virtual reality</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7604" b="7604"/>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lstStyle/>
          <a:p>
            <a:r>
              <a:rPr lang="en-US" dirty="0">
                <a:latin typeface="Sora" pitchFamily="2" charset="0"/>
                <a:cs typeface="Sora" pitchFamily="2" charset="0"/>
              </a:rPr>
              <a:t>Entertainment + Simulations of Healthcare &amp; Sciences (STEM)</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a:xfrm>
            <a:off x="4376708" y="4242055"/>
            <a:ext cx="3200400" cy="576262"/>
          </a:xfrm>
        </p:spPr>
        <p:txBody>
          <a:bodyPr/>
          <a:lstStyle/>
          <a:p>
            <a:r>
              <a:rPr lang="en-US" b="1" dirty="0">
                <a:latin typeface="Sora" pitchFamily="2" charset="0"/>
                <a:cs typeface="Sora" pitchFamily="2" charset="0"/>
              </a:rPr>
              <a:t>Metaverse/s</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l="5716" r="5716"/>
          <a:stretch/>
        </p:blipFill>
        <p:spPr>
          <a:xfrm>
            <a:off x="4489053" y="2666998"/>
            <a:ext cx="3198940" cy="1524000"/>
          </a:xfrm>
        </p:spPr>
      </p:pic>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ulti-vers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4571" b="4571"/>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p:txBody>
          <a:bodyPr/>
          <a:lstStyle/>
          <a:p>
            <a:r>
              <a:rPr lang="en-US" dirty="0">
                <a:latin typeface="Sora" pitchFamily="2" charset="0"/>
                <a:cs typeface="Sora" pitchFamily="2" charset="0"/>
              </a:rPr>
              <a:t>X Life Simulations, Dimensions, Origin</a:t>
            </a:r>
          </a:p>
          <a:p>
            <a:endParaRPr lang="en-US" dirty="0"/>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www.playstationblast.com.br/2017/02/playstation-vr-vendas.html"/>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20A4CB61-5A5E-452E-8098-BC00D3AD5098}"/>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www.universetoday.com/77523/multiverse/"/>
              </a:rPr>
              <a:t>This Photo</a:t>
            </a:r>
            <a:r>
              <a:rPr lang="en-US" sz="900"/>
              <a:t> by Unknown Author is licensed under </a:t>
            </a:r>
            <a:r>
              <a:rPr lang="en-US" sz="900">
                <a:hlinkClick r:id="rId8" tooltip="https://creativecommons.org/licenses/by/3.0/"/>
              </a:rPr>
              <a:t>CC BY</a:t>
            </a:r>
            <a:endParaRPr lang="en-US" sz="900"/>
          </a:p>
        </p:txBody>
      </p:sp>
      <p:pic>
        <p:nvPicPr>
          <p:cNvPr id="10" name="Graphic 9" descr="Question mark with solid fill">
            <a:extLst>
              <a:ext uri="{FF2B5EF4-FFF2-40B4-BE49-F238E27FC236}">
                <a16:creationId xmlns:a16="http://schemas.microsoft.com/office/drawing/2014/main" id="{4BADF866-FC1B-4C18-907C-B0A061F30E8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65198" y="1495912"/>
            <a:ext cx="914400" cy="914400"/>
          </a:xfrm>
          <a:prstGeom prst="rect">
            <a:avLst/>
          </a:prstGeom>
        </p:spPr>
      </p:pic>
      <p:graphicFrame>
        <p:nvGraphicFramePr>
          <p:cNvPr id="31" name="Diagram 30">
            <a:extLst>
              <a:ext uri="{FF2B5EF4-FFF2-40B4-BE49-F238E27FC236}">
                <a16:creationId xmlns:a16="http://schemas.microsoft.com/office/drawing/2014/main" id="{19A7787D-8FA7-4826-B3CC-9C1993651DFA}"/>
              </a:ext>
            </a:extLst>
          </p:cNvPr>
          <p:cNvGraphicFramePr/>
          <p:nvPr>
            <p:extLst>
              <p:ext uri="{D42A27DB-BD31-4B8C-83A1-F6EECF244321}">
                <p14:modId xmlns:p14="http://schemas.microsoft.com/office/powerpoint/2010/main" val="3143389660"/>
              </p:ext>
            </p:extLst>
          </p:nvPr>
        </p:nvGraphicFramePr>
        <p:xfrm>
          <a:off x="1148692" y="5652509"/>
          <a:ext cx="9901894" cy="918353"/>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74;p56">
            <a:extLst>
              <a:ext uri="{FF2B5EF4-FFF2-40B4-BE49-F238E27FC236}">
                <a16:creationId xmlns:a16="http://schemas.microsoft.com/office/drawing/2014/main" id="{7470D08A-FB9C-483A-B9BD-C7BD9DB2C7F5}"/>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1375;p56">
            <a:extLst>
              <a:ext uri="{FF2B5EF4-FFF2-40B4-BE49-F238E27FC236}">
                <a16:creationId xmlns:a16="http://schemas.microsoft.com/office/drawing/2014/main" id="{85BD761D-E644-4984-B12C-BB0F9A0E5506}"/>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a:xfrm>
            <a:off x="4376708" y="4655776"/>
            <a:ext cx="3852892" cy="970528"/>
          </a:xfrm>
        </p:spPr>
        <p:txBody>
          <a:bodyPr>
            <a:noAutofit/>
          </a:bodyPr>
          <a:lstStyle/>
          <a:p>
            <a:r>
              <a:rPr lang="en-US" sz="1300" dirty="0">
                <a:latin typeface="Sora" pitchFamily="2" charset="0"/>
                <a:cs typeface="Sora" pitchFamily="2" charset="0"/>
              </a:rPr>
              <a:t>Second Life of everything, Inside Data, Dematerialization of physical space, distances and objects not only a virtual 2D/3D world.</a:t>
            </a:r>
          </a:p>
        </p:txBody>
      </p:sp>
    </p:spTree>
    <p:extLst>
      <p:ext uri="{BB962C8B-B14F-4D97-AF65-F5344CB8AC3E}">
        <p14:creationId xmlns:p14="http://schemas.microsoft.com/office/powerpoint/2010/main" val="42370494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4294967295"/>
          </p:nvPr>
        </p:nvSpPr>
        <p:spPr>
          <a:xfrm>
            <a:off x="6530036" y="5960630"/>
            <a:ext cx="4294981" cy="603030"/>
          </a:xfrm>
        </p:spPr>
        <p:txBody>
          <a:bodyPr>
            <a:normAutofit/>
          </a:bodyPr>
          <a:lstStyle/>
          <a:p>
            <a:pPr algn="ctr"/>
            <a:r>
              <a:rPr lang="en-US" sz="1200" dirty="0">
                <a:latin typeface="Sora" pitchFamily="2" charset="0"/>
                <a:cs typeface="Sora" pitchFamily="2" charset="0"/>
              </a:rPr>
              <a:t>XR = x reality (e.g., AR,VR)</a:t>
            </a:r>
          </a:p>
        </p:txBody>
      </p:sp>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aphicFrame>
        <p:nvGraphicFramePr>
          <p:cNvPr id="44" name="Diagram 43">
            <a:extLst>
              <a:ext uri="{FF2B5EF4-FFF2-40B4-BE49-F238E27FC236}">
                <a16:creationId xmlns:a16="http://schemas.microsoft.com/office/drawing/2014/main" id="{5F9002B9-3071-42A5-BCEC-4876E369771A}"/>
              </a:ext>
            </a:extLst>
          </p:cNvPr>
          <p:cNvGraphicFramePr/>
          <p:nvPr>
            <p:extLst>
              <p:ext uri="{D42A27DB-BD31-4B8C-83A1-F6EECF244321}">
                <p14:modId xmlns:p14="http://schemas.microsoft.com/office/powerpoint/2010/main" val="390270435"/>
              </p:ext>
            </p:extLst>
          </p:nvPr>
        </p:nvGraphicFramePr>
        <p:xfrm>
          <a:off x="3048000" y="1698721"/>
          <a:ext cx="6096000" cy="42619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3)</a:t>
            </a:r>
          </a:p>
        </p:txBody>
      </p:sp>
    </p:spTree>
    <p:extLst>
      <p:ext uri="{BB962C8B-B14F-4D97-AF65-F5344CB8AC3E}">
        <p14:creationId xmlns:p14="http://schemas.microsoft.com/office/powerpoint/2010/main" val="36454628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4)</a:t>
            </a:r>
          </a:p>
        </p:txBody>
      </p:sp>
      <p:pic>
        <p:nvPicPr>
          <p:cNvPr id="1026" name="Picture 2" descr="The Metaverse Value-Chain. Trillions of dollars are pouring into… | by Jon  Radoff | Building the Metaverse | Medium">
            <a:extLst>
              <a:ext uri="{FF2B5EF4-FFF2-40B4-BE49-F238E27FC236}">
                <a16:creationId xmlns:a16="http://schemas.microsoft.com/office/drawing/2014/main" id="{4A60C9C8-096C-4D5D-8DDD-36748C8BE9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17747" y="1140880"/>
            <a:ext cx="7553325" cy="51435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9989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5)</a:t>
            </a:r>
          </a:p>
        </p:txBody>
      </p:sp>
      <p:pic>
        <p:nvPicPr>
          <p:cNvPr id="2050" name="Picture 2">
            <a:extLst>
              <a:ext uri="{FF2B5EF4-FFF2-40B4-BE49-F238E27FC236}">
                <a16:creationId xmlns:a16="http://schemas.microsoft.com/office/drawing/2014/main" id="{CAA5264D-F95A-4B76-ABA2-8495718ED7C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72777" y="1186069"/>
            <a:ext cx="6046445" cy="524244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8" name="Google Shape;2083;p69">
            <a:extLst>
              <a:ext uri="{FF2B5EF4-FFF2-40B4-BE49-F238E27FC236}">
                <a16:creationId xmlns:a16="http://schemas.microsoft.com/office/drawing/2014/main" id="{6702413D-F3B6-45DC-A4ED-8EAEB140DF20}"/>
              </a:ext>
            </a:extLst>
          </p:cNvPr>
          <p:cNvSpPr txBox="1">
            <a:spLocks/>
          </p:cNvSpPr>
          <p:nvPr/>
        </p:nvSpPr>
        <p:spPr>
          <a:xfrm flipH="1">
            <a:off x="1111156" y="3429000"/>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Steps to Enable</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9" name="Google Shape;2083;p69">
            <a:extLst>
              <a:ext uri="{FF2B5EF4-FFF2-40B4-BE49-F238E27FC236}">
                <a16:creationId xmlns:a16="http://schemas.microsoft.com/office/drawing/2014/main" id="{606C25DF-B1D6-4D97-BE19-478393B50CF5}"/>
              </a:ext>
            </a:extLst>
          </p:cNvPr>
          <p:cNvSpPr txBox="1">
            <a:spLocks/>
          </p:cNvSpPr>
          <p:nvPr/>
        </p:nvSpPr>
        <p:spPr>
          <a:xfrm flipH="1">
            <a:off x="9549899" y="3523766"/>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Metaverse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6559769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6) </a:t>
            </a:r>
          </a:p>
          <a:p>
            <a:pPr algn="ctr"/>
            <a:r>
              <a:rPr lang="en-US" sz="1800" b="1" dirty="0">
                <a:solidFill>
                  <a:srgbClr val="D5FA68"/>
                </a:solidFill>
                <a:latin typeface="Saira SemiCondensed ExtraBold" panose="00000906000000000000" pitchFamily="2" charset="0"/>
              </a:rPr>
              <a:t>– first Mile Connections Points</a:t>
            </a:r>
          </a:p>
        </p:txBody>
      </p:sp>
      <p:pic>
        <p:nvPicPr>
          <p:cNvPr id="3074" name="Picture 2">
            <a:extLst>
              <a:ext uri="{FF2B5EF4-FFF2-40B4-BE49-F238E27FC236}">
                <a16:creationId xmlns:a16="http://schemas.microsoft.com/office/drawing/2014/main" id="{20A5B112-CD17-4038-9063-2D68BCCD228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70066" y="1475591"/>
            <a:ext cx="4709497" cy="308008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3076" name="Picture 4">
            <a:extLst>
              <a:ext uri="{FF2B5EF4-FFF2-40B4-BE49-F238E27FC236}">
                <a16:creationId xmlns:a16="http://schemas.microsoft.com/office/drawing/2014/main" id="{26DE1F5E-5AE7-4572-9FBB-DF2AAA5A3DF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267" y="4726245"/>
            <a:ext cx="4769296" cy="1900547"/>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9" name="Google Shape;2083;p69">
            <a:extLst>
              <a:ext uri="{FF2B5EF4-FFF2-40B4-BE49-F238E27FC236}">
                <a16:creationId xmlns:a16="http://schemas.microsoft.com/office/drawing/2014/main" id="{122EB4C1-4413-4BF5-8322-697E10276F57}"/>
              </a:ext>
            </a:extLst>
          </p:cNvPr>
          <p:cNvSpPr txBox="1">
            <a:spLocks/>
          </p:cNvSpPr>
          <p:nvPr/>
        </p:nvSpPr>
        <p:spPr>
          <a:xfrm flipH="1">
            <a:off x="1019176" y="3428999"/>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Low Latency/Jitter</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0" name="Google Shape;2083;p69">
            <a:extLst>
              <a:ext uri="{FF2B5EF4-FFF2-40B4-BE49-F238E27FC236}">
                <a16:creationId xmlns:a16="http://schemas.microsoft.com/office/drawing/2014/main" id="{2A2CA6F6-361C-4E5F-9B95-51386AD99D61}"/>
              </a:ext>
            </a:extLst>
          </p:cNvPr>
          <p:cNvSpPr txBox="1">
            <a:spLocks/>
          </p:cNvSpPr>
          <p:nvPr/>
        </p:nvSpPr>
        <p:spPr>
          <a:xfrm flipH="1">
            <a:off x="9447937" y="3428999"/>
            <a:ext cx="1687504"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High Bandwidth</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1" name="Google Shape;2083;p69">
            <a:extLst>
              <a:ext uri="{FF2B5EF4-FFF2-40B4-BE49-F238E27FC236}">
                <a16:creationId xmlns:a16="http://schemas.microsoft.com/office/drawing/2014/main" id="{F2C582B8-945D-4836-9AB7-0B0D8FFAB725}"/>
              </a:ext>
            </a:extLst>
          </p:cNvPr>
          <p:cNvSpPr txBox="1">
            <a:spLocks/>
          </p:cNvSpPr>
          <p:nvPr/>
        </p:nvSpPr>
        <p:spPr>
          <a:xfrm flipH="1">
            <a:off x="1019176" y="3819411"/>
            <a:ext cx="3329949"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Immersion / </a:t>
            </a:r>
          </a:p>
          <a:p>
            <a:pPr marL="0" indent="0" defTabSz="914400">
              <a:buClr>
                <a:schemeClr val="tx1"/>
              </a:buClr>
              <a:buSzPts val="1100"/>
            </a:pPr>
            <a:r>
              <a:rPr lang="en-US" b="1" kern="0" dirty="0">
                <a:solidFill>
                  <a:srgbClr val="D5FA68"/>
                </a:solidFill>
              </a:rPr>
              <a:t>No motion Sicknes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2" name="Google Shape;2083;p69">
            <a:extLst>
              <a:ext uri="{FF2B5EF4-FFF2-40B4-BE49-F238E27FC236}">
                <a16:creationId xmlns:a16="http://schemas.microsoft.com/office/drawing/2014/main" id="{D43E7849-C2C6-448A-B559-E69855B656EF}"/>
              </a:ext>
            </a:extLst>
          </p:cNvPr>
          <p:cNvSpPr txBox="1">
            <a:spLocks/>
          </p:cNvSpPr>
          <p:nvPr/>
        </p:nvSpPr>
        <p:spPr>
          <a:xfrm flipH="1">
            <a:off x="9438576" y="3819411"/>
            <a:ext cx="1687504"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Large Data Flow</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7658565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 name="Rectangle 1">
            <a:extLst>
              <a:ext uri="{FF2B5EF4-FFF2-40B4-BE49-F238E27FC236}">
                <a16:creationId xmlns:a16="http://schemas.microsoft.com/office/drawing/2014/main" id="{6A13B79C-13D4-4B3B-BA4F-BF1AAE014BB2}"/>
              </a:ext>
            </a:extLst>
          </p:cNvPr>
          <p:cNvSpPr/>
          <p:nvPr/>
        </p:nvSpPr>
        <p:spPr>
          <a:xfrm>
            <a:off x="0" y="0"/>
            <a:ext cx="12192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4043578" y="245084"/>
            <a:ext cx="4104844"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Butterfly effect</a:t>
            </a:r>
          </a:p>
        </p:txBody>
      </p:sp>
      <p:sp>
        <p:nvSpPr>
          <p:cNvPr id="11" name="Title 1">
            <a:extLst>
              <a:ext uri="{FF2B5EF4-FFF2-40B4-BE49-F238E27FC236}">
                <a16:creationId xmlns:a16="http://schemas.microsoft.com/office/drawing/2014/main" id="{90726455-9778-45D9-9C85-19DE1B271E65}"/>
              </a:ext>
            </a:extLst>
          </p:cNvPr>
          <p:cNvSpPr txBox="1">
            <a:spLocks/>
          </p:cNvSpPr>
          <p:nvPr/>
        </p:nvSpPr>
        <p:spPr>
          <a:xfrm>
            <a:off x="4159523" y="6127742"/>
            <a:ext cx="4104844"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sz="1800" b="1" dirty="0">
                <a:solidFill>
                  <a:srgbClr val="F7743C"/>
                </a:solidFill>
                <a:latin typeface="Saira SemiCondensed ExtraBold" panose="00000906000000000000" pitchFamily="2" charset="0"/>
              </a:rPr>
              <a:t>A place in space and time where Everything is interconnected</a:t>
            </a:r>
          </a:p>
        </p:txBody>
      </p:sp>
      <p:sp>
        <p:nvSpPr>
          <p:cNvPr id="3" name="Rectangle 2">
            <a:extLst>
              <a:ext uri="{FF2B5EF4-FFF2-40B4-BE49-F238E27FC236}">
                <a16:creationId xmlns:a16="http://schemas.microsoft.com/office/drawing/2014/main" id="{A30D9E29-1E66-4BD0-B33A-C57808286349}"/>
              </a:ext>
            </a:extLst>
          </p:cNvPr>
          <p:cNvSpPr/>
          <p:nvPr/>
        </p:nvSpPr>
        <p:spPr>
          <a:xfrm>
            <a:off x="855244" y="3105835"/>
            <a:ext cx="2799164" cy="646331"/>
          </a:xfrm>
          <a:prstGeom prst="rect">
            <a:avLst/>
          </a:prstGeom>
          <a:noFill/>
          <a:effectLst>
            <a:glow rad="127000">
              <a:schemeClr val="accent1"/>
            </a:glow>
          </a:effectLst>
        </p:spPr>
        <p:txBody>
          <a:bodyPr wrap="none" lIns="91440" tIns="45720" rIns="91440" bIns="45720">
            <a:spAutoFit/>
          </a:bodyPr>
          <a:lstStyle/>
          <a:p>
            <a:pPr algn="ctr"/>
            <a:r>
              <a:rPr lang="en-US" sz="3600" dirty="0">
                <a:ln w="0">
                  <a:solidFill>
                    <a:srgbClr val="F7743C"/>
                  </a:solidFill>
                </a:ln>
                <a:gradFill>
                  <a:gsLst>
                    <a:gs pos="0">
                      <a:schemeClr val="accent5">
                        <a:lumMod val="50000"/>
                      </a:schemeClr>
                    </a:gs>
                    <a:gs pos="50000">
                      <a:schemeClr val="accent5"/>
                    </a:gs>
                    <a:gs pos="100000">
                      <a:schemeClr val="accent5">
                        <a:lumMod val="60000"/>
                        <a:lumOff val="40000"/>
                      </a:schemeClr>
                    </a:gs>
                  </a:gsLst>
                  <a:lin ang="5400000"/>
                </a:gradFill>
                <a:effectLst>
                  <a:reflection blurRad="6350" stA="55000" endA="50" endPos="85000" dist="60007" dir="5400000" sy="-100000" algn="bl" rotWithShape="0"/>
                </a:effectLst>
              </a:rPr>
              <a:t>This action will</a:t>
            </a:r>
          </a:p>
        </p:txBody>
      </p:sp>
      <p:sp>
        <p:nvSpPr>
          <p:cNvPr id="12" name="Rectangle 11">
            <a:extLst>
              <a:ext uri="{FF2B5EF4-FFF2-40B4-BE49-F238E27FC236}">
                <a16:creationId xmlns:a16="http://schemas.microsoft.com/office/drawing/2014/main" id="{BC1ABE6A-C483-4D05-85E0-1A479A84A7E6}"/>
              </a:ext>
            </a:extLst>
          </p:cNvPr>
          <p:cNvSpPr/>
          <p:nvPr/>
        </p:nvSpPr>
        <p:spPr>
          <a:xfrm>
            <a:off x="8475534" y="3105835"/>
            <a:ext cx="3716466" cy="646331"/>
          </a:xfrm>
          <a:prstGeom prst="rect">
            <a:avLst/>
          </a:prstGeom>
          <a:noFill/>
          <a:effectLst>
            <a:glow rad="127000">
              <a:schemeClr val="accent1"/>
            </a:glow>
          </a:effectLst>
        </p:spPr>
        <p:txBody>
          <a:bodyPr wrap="none" lIns="91440" tIns="45720" rIns="91440" bIns="45720">
            <a:spAutoFit/>
          </a:bodyPr>
          <a:lstStyle/>
          <a:p>
            <a:pPr algn="ctr"/>
            <a:r>
              <a:rPr lang="en-US" sz="3600" dirty="0">
                <a:ln w="0">
                  <a:solidFill>
                    <a:srgbClr val="F7743C"/>
                  </a:solidFill>
                </a:ln>
                <a:gradFill>
                  <a:gsLst>
                    <a:gs pos="0">
                      <a:schemeClr val="accent5">
                        <a:lumMod val="50000"/>
                      </a:schemeClr>
                    </a:gs>
                    <a:gs pos="50000">
                      <a:schemeClr val="accent5"/>
                    </a:gs>
                    <a:gs pos="100000">
                      <a:schemeClr val="accent5">
                        <a:lumMod val="60000"/>
                        <a:lumOff val="40000"/>
                      </a:schemeClr>
                    </a:gs>
                  </a:gsLst>
                  <a:lin ang="5400000"/>
                </a:gradFill>
                <a:effectLst>
                  <a:reflection blurRad="6350" stA="55000" endA="50" endPos="85000" dist="60007" dir="5400000" sy="-100000" algn="bl" rotWithShape="0"/>
                </a:effectLst>
              </a:rPr>
              <a:t>Have consequences</a:t>
            </a:r>
          </a:p>
        </p:txBody>
      </p:sp>
      <p:pic>
        <p:nvPicPr>
          <p:cNvPr id="1026" name="Picture 2" descr="Butterfly effect - Wikipedia">
            <a:extLst>
              <a:ext uri="{FF2B5EF4-FFF2-40B4-BE49-F238E27FC236}">
                <a16:creationId xmlns:a16="http://schemas.microsoft.com/office/drawing/2014/main" id="{1B6E8837-B857-4986-B448-7CC3E2796EA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13262" y="730258"/>
            <a:ext cx="5365477" cy="536547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7803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86" name="Group 85">
            <a:extLst>
              <a:ext uri="{FF2B5EF4-FFF2-40B4-BE49-F238E27FC236}">
                <a16:creationId xmlns:a16="http://schemas.microsoft.com/office/drawing/2014/main" id="{2BC1B670-9F6E-457B-991B-2D1075B07469}"/>
              </a:ext>
            </a:extLst>
          </p:cNvPr>
          <p:cNvGrpSpPr/>
          <p:nvPr/>
        </p:nvGrpSpPr>
        <p:grpSpPr>
          <a:xfrm>
            <a:off x="3152306" y="904895"/>
            <a:ext cx="6477740" cy="6408202"/>
            <a:chOff x="3152306" y="904895"/>
            <a:chExt cx="6477740" cy="6408202"/>
          </a:xfrm>
        </p:grpSpPr>
        <p:sp>
          <p:nvSpPr>
            <p:cNvPr id="87" name="Freeform: Shape 86">
              <a:extLst>
                <a:ext uri="{FF2B5EF4-FFF2-40B4-BE49-F238E27FC236}">
                  <a16:creationId xmlns:a16="http://schemas.microsoft.com/office/drawing/2014/main" id="{19AE882E-819D-43D5-9D56-91A66EC11AF6}"/>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Reality</a:t>
              </a:r>
            </a:p>
          </p:txBody>
        </p:sp>
        <p:sp>
          <p:nvSpPr>
            <p:cNvPr id="88" name="Arrow: Circular 87">
              <a:extLst>
                <a:ext uri="{FF2B5EF4-FFF2-40B4-BE49-F238E27FC236}">
                  <a16:creationId xmlns:a16="http://schemas.microsoft.com/office/drawing/2014/main" id="{6436BF9C-9409-4B9C-88BE-8B9CFD3479EC}"/>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9" name="Freeform: Shape 88">
              <a:extLst>
                <a:ext uri="{FF2B5EF4-FFF2-40B4-BE49-F238E27FC236}">
                  <a16:creationId xmlns:a16="http://schemas.microsoft.com/office/drawing/2014/main" id="{336CB774-FF0B-4F0C-9AB9-721B8A08D4EE}"/>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Evolution</a:t>
              </a:r>
            </a:p>
          </p:txBody>
        </p:sp>
        <p:sp>
          <p:nvSpPr>
            <p:cNvPr id="90" name="Arrow: Circular 89">
              <a:extLst>
                <a:ext uri="{FF2B5EF4-FFF2-40B4-BE49-F238E27FC236}">
                  <a16:creationId xmlns:a16="http://schemas.microsoft.com/office/drawing/2014/main" id="{7CF0084A-3820-4F51-971C-4E145E9ACCBF}"/>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1" name="Freeform: Shape 90">
              <a:extLst>
                <a:ext uri="{FF2B5EF4-FFF2-40B4-BE49-F238E27FC236}">
                  <a16:creationId xmlns:a16="http://schemas.microsoft.com/office/drawing/2014/main" id="{8457BD78-C5CF-484C-A4AE-BF445700F3A0}"/>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Life</a:t>
              </a:r>
            </a:p>
          </p:txBody>
        </p:sp>
        <p:sp>
          <p:nvSpPr>
            <p:cNvPr id="92" name="Arrow: Circular 91">
              <a:extLst>
                <a:ext uri="{FF2B5EF4-FFF2-40B4-BE49-F238E27FC236}">
                  <a16:creationId xmlns:a16="http://schemas.microsoft.com/office/drawing/2014/main" id="{C66BF838-AE5A-4FD7-8766-E3AE560DAC28}"/>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2" name="Title 1">
            <a:extLst>
              <a:ext uri="{FF2B5EF4-FFF2-40B4-BE49-F238E27FC236}">
                <a16:creationId xmlns:a16="http://schemas.microsoft.com/office/drawing/2014/main" id="{889230FE-B431-4D09-8ADA-7A392C850036}"/>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Progress of evolution</a:t>
            </a:r>
          </a:p>
        </p:txBody>
      </p:sp>
      <p:graphicFrame>
        <p:nvGraphicFramePr>
          <p:cNvPr id="3" name="Diagram 2">
            <a:extLst>
              <a:ext uri="{FF2B5EF4-FFF2-40B4-BE49-F238E27FC236}">
                <a16:creationId xmlns:a16="http://schemas.microsoft.com/office/drawing/2014/main" id="{26B37231-A691-4905-AEE7-8D3997DD4AC2}"/>
              </a:ext>
            </a:extLst>
          </p:cNvPr>
          <p:cNvGraphicFramePr/>
          <p:nvPr>
            <p:extLst>
              <p:ext uri="{D42A27DB-BD31-4B8C-83A1-F6EECF244321}">
                <p14:modId xmlns:p14="http://schemas.microsoft.com/office/powerpoint/2010/main" val="1181817231"/>
              </p:ext>
            </p:extLst>
          </p:nvPr>
        </p:nvGraphicFramePr>
        <p:xfrm>
          <a:off x="4620402" y="2050436"/>
          <a:ext cx="3734189" cy="21239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33" name="Group 32">
            <a:extLst>
              <a:ext uri="{FF2B5EF4-FFF2-40B4-BE49-F238E27FC236}">
                <a16:creationId xmlns:a16="http://schemas.microsoft.com/office/drawing/2014/main" id="{70ED08D4-BC5A-4661-959C-0CE4603E2C87}"/>
              </a:ext>
            </a:extLst>
          </p:cNvPr>
          <p:cNvGrpSpPr/>
          <p:nvPr/>
        </p:nvGrpSpPr>
        <p:grpSpPr>
          <a:xfrm>
            <a:off x="4987334" y="4110506"/>
            <a:ext cx="2807685" cy="923589"/>
            <a:chOff x="5453012" y="3556971"/>
            <a:chExt cx="1878405" cy="617902"/>
          </a:xfrm>
        </p:grpSpPr>
        <p:sp>
          <p:nvSpPr>
            <p:cNvPr id="22" name="Teardrop 21">
              <a:extLst>
                <a:ext uri="{FF2B5EF4-FFF2-40B4-BE49-F238E27FC236}">
                  <a16:creationId xmlns:a16="http://schemas.microsoft.com/office/drawing/2014/main" id="{4CAE8C2B-5E32-4006-ABDD-1E33B2388A87}"/>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Teardrop 23">
              <a:extLst>
                <a:ext uri="{FF2B5EF4-FFF2-40B4-BE49-F238E27FC236}">
                  <a16:creationId xmlns:a16="http://schemas.microsoft.com/office/drawing/2014/main" id="{7361E5C0-E2D8-479D-97F0-8D2B84143F57}"/>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32" name="Group 31">
              <a:extLst>
                <a:ext uri="{FF2B5EF4-FFF2-40B4-BE49-F238E27FC236}">
                  <a16:creationId xmlns:a16="http://schemas.microsoft.com/office/drawing/2014/main" id="{3ACBD739-6FE7-40AB-A48B-BB156FDA0EE8}"/>
                </a:ext>
              </a:extLst>
            </p:cNvPr>
            <p:cNvGrpSpPr/>
            <p:nvPr/>
          </p:nvGrpSpPr>
          <p:grpSpPr>
            <a:xfrm>
              <a:off x="5472832" y="3576876"/>
              <a:ext cx="1858585" cy="578200"/>
              <a:chOff x="5472832" y="3576876"/>
              <a:chExt cx="1858585" cy="578200"/>
            </a:xfrm>
          </p:grpSpPr>
          <p:grpSp>
            <p:nvGrpSpPr>
              <p:cNvPr id="21" name="Group 20">
                <a:extLst>
                  <a:ext uri="{FF2B5EF4-FFF2-40B4-BE49-F238E27FC236}">
                    <a16:creationId xmlns:a16="http://schemas.microsoft.com/office/drawing/2014/main" id="{8F46B23F-3ABC-4543-BA0A-AE7323486A7D}"/>
                  </a:ext>
                </a:extLst>
              </p:cNvPr>
              <p:cNvGrpSpPr/>
              <p:nvPr/>
            </p:nvGrpSpPr>
            <p:grpSpPr>
              <a:xfrm>
                <a:off x="6753155" y="3576876"/>
                <a:ext cx="578262" cy="578200"/>
                <a:chOff x="1440485" y="309441"/>
                <a:chExt cx="578262" cy="578200"/>
              </a:xfrm>
            </p:grpSpPr>
            <p:sp>
              <p:nvSpPr>
                <p:cNvPr id="30" name="Oval 29">
                  <a:extLst>
                    <a:ext uri="{FF2B5EF4-FFF2-40B4-BE49-F238E27FC236}">
                      <a16:creationId xmlns:a16="http://schemas.microsoft.com/office/drawing/2014/main" id="{0E1EA5D8-B817-401C-AC72-45E7C5B4D266}"/>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1" name="Oval 4">
                  <a:extLst>
                    <a:ext uri="{FF2B5EF4-FFF2-40B4-BE49-F238E27FC236}">
                      <a16:creationId xmlns:a16="http://schemas.microsoft.com/office/drawing/2014/main" id="{71BCB6F9-5246-424E-A228-5EDBD833ACF5}"/>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23" name="Group 22">
                <a:extLst>
                  <a:ext uri="{FF2B5EF4-FFF2-40B4-BE49-F238E27FC236}">
                    <a16:creationId xmlns:a16="http://schemas.microsoft.com/office/drawing/2014/main" id="{11700C28-21CD-409B-8ADE-4694F4BAF796}"/>
                  </a:ext>
                </a:extLst>
              </p:cNvPr>
              <p:cNvGrpSpPr/>
              <p:nvPr/>
            </p:nvGrpSpPr>
            <p:grpSpPr>
              <a:xfrm>
                <a:off x="6112994" y="3576876"/>
                <a:ext cx="578262" cy="578200"/>
                <a:chOff x="800324" y="309441"/>
                <a:chExt cx="578262" cy="578200"/>
              </a:xfrm>
            </p:grpSpPr>
            <p:sp>
              <p:nvSpPr>
                <p:cNvPr id="28" name="Oval 27">
                  <a:extLst>
                    <a:ext uri="{FF2B5EF4-FFF2-40B4-BE49-F238E27FC236}">
                      <a16:creationId xmlns:a16="http://schemas.microsoft.com/office/drawing/2014/main" id="{1F6A45EF-4062-4558-82D6-8281A8D21A5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9" name="Oval 7">
                  <a:extLst>
                    <a:ext uri="{FF2B5EF4-FFF2-40B4-BE49-F238E27FC236}">
                      <a16:creationId xmlns:a16="http://schemas.microsoft.com/office/drawing/2014/main" id="{92A575C4-5433-413E-9447-939888DC584C}"/>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5" name="Group 24">
                <a:extLst>
                  <a:ext uri="{FF2B5EF4-FFF2-40B4-BE49-F238E27FC236}">
                    <a16:creationId xmlns:a16="http://schemas.microsoft.com/office/drawing/2014/main" id="{4CB22CE9-DDBD-4EA1-A3B5-F1A992F05DA0}"/>
                  </a:ext>
                </a:extLst>
              </p:cNvPr>
              <p:cNvGrpSpPr/>
              <p:nvPr/>
            </p:nvGrpSpPr>
            <p:grpSpPr>
              <a:xfrm>
                <a:off x="5472832" y="3576876"/>
                <a:ext cx="578262" cy="578200"/>
                <a:chOff x="160162" y="309441"/>
                <a:chExt cx="578262" cy="578200"/>
              </a:xfrm>
            </p:grpSpPr>
            <p:sp>
              <p:nvSpPr>
                <p:cNvPr id="26" name="Oval 25">
                  <a:extLst>
                    <a:ext uri="{FF2B5EF4-FFF2-40B4-BE49-F238E27FC236}">
                      <a16:creationId xmlns:a16="http://schemas.microsoft.com/office/drawing/2014/main" id="{256C2A72-B4A8-4AD7-91C0-A3A13012E6AD}"/>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7" name="Oval 10">
                  <a:extLst>
                    <a:ext uri="{FF2B5EF4-FFF2-40B4-BE49-F238E27FC236}">
                      <a16:creationId xmlns:a16="http://schemas.microsoft.com/office/drawing/2014/main" id="{2909C3C8-13DC-4414-B7F2-38BE3E1F0C1F}"/>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
        <p:nvSpPr>
          <p:cNvPr id="45" name="Arrow: Right 44">
            <a:extLst>
              <a:ext uri="{FF2B5EF4-FFF2-40B4-BE49-F238E27FC236}">
                <a16:creationId xmlns:a16="http://schemas.microsoft.com/office/drawing/2014/main" id="{016E6A86-B153-4034-B971-33E199C7F73D}"/>
              </a:ext>
            </a:extLst>
          </p:cNvPr>
          <p:cNvSpPr/>
          <p:nvPr/>
        </p:nvSpPr>
        <p:spPr>
          <a:xfrm rot="10800000">
            <a:off x="3255264" y="534924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FA645F4-F9B2-4F32-A475-D22690A3A632}"/>
              </a:ext>
            </a:extLst>
          </p:cNvPr>
          <p:cNvSpPr/>
          <p:nvPr/>
        </p:nvSpPr>
        <p:spPr>
          <a:xfrm>
            <a:off x="666093" y="5349240"/>
            <a:ext cx="2589170" cy="461665"/>
          </a:xfrm>
          <a:prstGeom prst="rect">
            <a:avLst/>
          </a:prstGeom>
          <a:noFill/>
        </p:spPr>
        <p:txBody>
          <a:bodyPr wrap="none" lIns="91440" tIns="45720" rIns="91440" bIns="45720">
            <a:spAutoFit/>
          </a:bodyPr>
          <a:lstStyle/>
          <a:p>
            <a:pPr algn="ctr"/>
            <a:r>
              <a:rPr lang="en-US" sz="2400" b="1" cap="none" spc="0" dirty="0">
                <a:ln w="0"/>
                <a:solidFill>
                  <a:schemeClr val="tx1"/>
                </a:solidFill>
                <a:effectLst>
                  <a:outerShdw blurRad="38100" dist="19050" dir="2700000" algn="tl" rotWithShape="0">
                    <a:schemeClr val="dk1">
                      <a:alpha val="40000"/>
                    </a:schemeClr>
                  </a:outerShdw>
                </a:effectLst>
                <a:latin typeface="Sora" pitchFamily="2" charset="0"/>
                <a:cs typeface="Sora" pitchFamily="2" charset="0"/>
              </a:rPr>
              <a:t>Reality Change</a:t>
            </a:r>
            <a:endParaRPr lang="en-US" sz="2400" b="1" cap="none" spc="0" dirty="0">
              <a:ln w="0"/>
              <a:solidFill>
                <a:schemeClr val="tx1"/>
              </a:solidFill>
              <a:effectLst>
                <a:outerShdw blurRad="38100" dist="19050" dir="2700000" algn="tl" rotWithShape="0">
                  <a:schemeClr val="dk1">
                    <a:alpha val="40000"/>
                  </a:schemeClr>
                </a:outerShdw>
              </a:effectLst>
            </a:endParaRPr>
          </a:p>
        </p:txBody>
      </p:sp>
      <p:sp>
        <p:nvSpPr>
          <p:cNvPr id="49" name="Google Shape;11;p2">
            <a:extLst>
              <a:ext uri="{FF2B5EF4-FFF2-40B4-BE49-F238E27FC236}">
                <a16:creationId xmlns:a16="http://schemas.microsoft.com/office/drawing/2014/main" id="{3D98927B-A210-4831-B3D5-DB6763482E67}"/>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1974;p67">
            <a:extLst>
              <a:ext uri="{FF2B5EF4-FFF2-40B4-BE49-F238E27FC236}">
                <a16:creationId xmlns:a16="http://schemas.microsoft.com/office/drawing/2014/main" id="{1BD3B601-0BD5-4863-A394-C96EF0B188E1}"/>
              </a:ext>
            </a:extLst>
          </p:cNvPr>
          <p:cNvGrpSpPr/>
          <p:nvPr/>
        </p:nvGrpSpPr>
        <p:grpSpPr>
          <a:xfrm>
            <a:off x="2060364" y="1047095"/>
            <a:ext cx="8096965" cy="4782518"/>
            <a:chOff x="410200" y="682776"/>
            <a:chExt cx="8096965" cy="4782518"/>
          </a:xfrm>
        </p:grpSpPr>
        <p:grpSp>
          <p:nvGrpSpPr>
            <p:cNvPr id="51" name="Google Shape;1975;p67">
              <a:extLst>
                <a:ext uri="{FF2B5EF4-FFF2-40B4-BE49-F238E27FC236}">
                  <a16:creationId xmlns:a16="http://schemas.microsoft.com/office/drawing/2014/main" id="{8C0132EB-666E-4CFE-8B3A-0D13D7B93227}"/>
                </a:ext>
              </a:extLst>
            </p:cNvPr>
            <p:cNvGrpSpPr/>
            <p:nvPr/>
          </p:nvGrpSpPr>
          <p:grpSpPr>
            <a:xfrm>
              <a:off x="6762220" y="682776"/>
              <a:ext cx="545147" cy="506901"/>
              <a:chOff x="4818730" y="3307263"/>
              <a:chExt cx="1827512" cy="1699300"/>
            </a:xfrm>
          </p:grpSpPr>
          <p:sp>
            <p:nvSpPr>
              <p:cNvPr id="61" name="Google Shape;1976;p67">
                <a:extLst>
                  <a:ext uri="{FF2B5EF4-FFF2-40B4-BE49-F238E27FC236}">
                    <a16:creationId xmlns:a16="http://schemas.microsoft.com/office/drawing/2014/main" id="{20449152-228A-478A-BFE9-C37568F9F4F3}"/>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977;p67">
                <a:extLst>
                  <a:ext uri="{FF2B5EF4-FFF2-40B4-BE49-F238E27FC236}">
                    <a16:creationId xmlns:a16="http://schemas.microsoft.com/office/drawing/2014/main" id="{72008DB6-1E22-4286-B67E-E781FDA2AA6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978;p67">
                <a:extLst>
                  <a:ext uri="{FF2B5EF4-FFF2-40B4-BE49-F238E27FC236}">
                    <a16:creationId xmlns:a16="http://schemas.microsoft.com/office/drawing/2014/main" id="{2F87826D-E4E2-4AAD-B148-E1D94C7E176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979;p67">
                <a:extLst>
                  <a:ext uri="{FF2B5EF4-FFF2-40B4-BE49-F238E27FC236}">
                    <a16:creationId xmlns:a16="http://schemas.microsoft.com/office/drawing/2014/main" id="{D3286369-BA81-4786-AF2C-91863B4C3AD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980;p67">
                <a:extLst>
                  <a:ext uri="{FF2B5EF4-FFF2-40B4-BE49-F238E27FC236}">
                    <a16:creationId xmlns:a16="http://schemas.microsoft.com/office/drawing/2014/main" id="{D0975696-09E7-4CCC-B5C0-B643E0E6C51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981;p67">
                <a:extLst>
                  <a:ext uri="{FF2B5EF4-FFF2-40B4-BE49-F238E27FC236}">
                    <a16:creationId xmlns:a16="http://schemas.microsoft.com/office/drawing/2014/main" id="{5BF33A94-739B-43F0-ABC0-319C5671D89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982;p67">
                <a:extLst>
                  <a:ext uri="{FF2B5EF4-FFF2-40B4-BE49-F238E27FC236}">
                    <a16:creationId xmlns:a16="http://schemas.microsoft.com/office/drawing/2014/main" id="{CC37697D-D347-437D-AB30-DB45E81512F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983;p67">
                <a:extLst>
                  <a:ext uri="{FF2B5EF4-FFF2-40B4-BE49-F238E27FC236}">
                    <a16:creationId xmlns:a16="http://schemas.microsoft.com/office/drawing/2014/main" id="{299E18EC-D569-47E5-87A1-244D6339C82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984;p67">
                <a:extLst>
                  <a:ext uri="{FF2B5EF4-FFF2-40B4-BE49-F238E27FC236}">
                    <a16:creationId xmlns:a16="http://schemas.microsoft.com/office/drawing/2014/main" id="{D06E473D-DA24-4795-AD31-7278E3039ADD}"/>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985;p67">
                <a:extLst>
                  <a:ext uri="{FF2B5EF4-FFF2-40B4-BE49-F238E27FC236}">
                    <a16:creationId xmlns:a16="http://schemas.microsoft.com/office/drawing/2014/main" id="{C3941C77-A49E-4F1F-8F27-69C35479B38D}"/>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986;p67">
                <a:extLst>
                  <a:ext uri="{FF2B5EF4-FFF2-40B4-BE49-F238E27FC236}">
                    <a16:creationId xmlns:a16="http://schemas.microsoft.com/office/drawing/2014/main" id="{F356E58E-A0C3-404C-9D51-A717E2135655}"/>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987;p67">
                <a:extLst>
                  <a:ext uri="{FF2B5EF4-FFF2-40B4-BE49-F238E27FC236}">
                    <a16:creationId xmlns:a16="http://schemas.microsoft.com/office/drawing/2014/main" id="{7B31971B-C607-4AFA-B797-A7AB8E3DC81D}"/>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988;p67">
                <a:extLst>
                  <a:ext uri="{FF2B5EF4-FFF2-40B4-BE49-F238E27FC236}">
                    <a16:creationId xmlns:a16="http://schemas.microsoft.com/office/drawing/2014/main" id="{E989FCE6-DEB2-4273-BBC4-B64955104C25}"/>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989;p67">
                <a:extLst>
                  <a:ext uri="{FF2B5EF4-FFF2-40B4-BE49-F238E27FC236}">
                    <a16:creationId xmlns:a16="http://schemas.microsoft.com/office/drawing/2014/main" id="{49B0031E-E7D2-455A-818D-E236F4DCE38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990;p67">
                <a:extLst>
                  <a:ext uri="{FF2B5EF4-FFF2-40B4-BE49-F238E27FC236}">
                    <a16:creationId xmlns:a16="http://schemas.microsoft.com/office/drawing/2014/main" id="{E918B826-F2C4-46DA-B3BC-69C1AE1B5A46}"/>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991;p67">
                <a:extLst>
                  <a:ext uri="{FF2B5EF4-FFF2-40B4-BE49-F238E27FC236}">
                    <a16:creationId xmlns:a16="http://schemas.microsoft.com/office/drawing/2014/main" id="{BF71C942-B7C3-4889-8E44-52E4597CCF58}"/>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992;p67">
                <a:extLst>
                  <a:ext uri="{FF2B5EF4-FFF2-40B4-BE49-F238E27FC236}">
                    <a16:creationId xmlns:a16="http://schemas.microsoft.com/office/drawing/2014/main" id="{644808DF-F06B-43F2-804F-BED8D4AACF72}"/>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993;p67">
                <a:extLst>
                  <a:ext uri="{FF2B5EF4-FFF2-40B4-BE49-F238E27FC236}">
                    <a16:creationId xmlns:a16="http://schemas.microsoft.com/office/drawing/2014/main" id="{7EB950AF-3F88-475F-9710-A12E56FFC9FD}"/>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994;p67">
                <a:extLst>
                  <a:ext uri="{FF2B5EF4-FFF2-40B4-BE49-F238E27FC236}">
                    <a16:creationId xmlns:a16="http://schemas.microsoft.com/office/drawing/2014/main" id="{B450D75D-3230-4867-ABB8-932065C8C34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995;p67">
                <a:extLst>
                  <a:ext uri="{FF2B5EF4-FFF2-40B4-BE49-F238E27FC236}">
                    <a16:creationId xmlns:a16="http://schemas.microsoft.com/office/drawing/2014/main" id="{7A86B8CE-8EAB-4FBF-B6E6-0ED9AF78CCD9}"/>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996;p67">
                <a:extLst>
                  <a:ext uri="{FF2B5EF4-FFF2-40B4-BE49-F238E27FC236}">
                    <a16:creationId xmlns:a16="http://schemas.microsoft.com/office/drawing/2014/main" id="{E1A08302-90B0-413A-A33B-FF609C4424EF}"/>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997;p67">
                <a:extLst>
                  <a:ext uri="{FF2B5EF4-FFF2-40B4-BE49-F238E27FC236}">
                    <a16:creationId xmlns:a16="http://schemas.microsoft.com/office/drawing/2014/main" id="{7F1E1A4F-0AD5-40D6-A60B-EEC4667256B8}"/>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998;p67">
                <a:extLst>
                  <a:ext uri="{FF2B5EF4-FFF2-40B4-BE49-F238E27FC236}">
                    <a16:creationId xmlns:a16="http://schemas.microsoft.com/office/drawing/2014/main" id="{D61276FD-378A-4899-AA45-EF39D268B4DF}"/>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999;p67">
                <a:extLst>
                  <a:ext uri="{FF2B5EF4-FFF2-40B4-BE49-F238E27FC236}">
                    <a16:creationId xmlns:a16="http://schemas.microsoft.com/office/drawing/2014/main" id="{A7333F3C-217E-4774-B38A-CA3EE79A507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000;p67">
                <a:extLst>
                  <a:ext uri="{FF2B5EF4-FFF2-40B4-BE49-F238E27FC236}">
                    <a16:creationId xmlns:a16="http://schemas.microsoft.com/office/drawing/2014/main" id="{CC527874-22E1-4166-A7CE-0BB33BFF3FB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 name="Google Shape;2001;p67">
              <a:extLst>
                <a:ext uri="{FF2B5EF4-FFF2-40B4-BE49-F238E27FC236}">
                  <a16:creationId xmlns:a16="http://schemas.microsoft.com/office/drawing/2014/main" id="{D3D7E6A0-3CCA-49F7-87B6-7187A977DBD5}"/>
                </a:ext>
              </a:extLst>
            </p:cNvPr>
            <p:cNvGrpSpPr/>
            <p:nvPr/>
          </p:nvGrpSpPr>
          <p:grpSpPr>
            <a:xfrm>
              <a:off x="410200" y="1252888"/>
              <a:ext cx="8096965" cy="4212406"/>
              <a:chOff x="410200" y="1252888"/>
              <a:chExt cx="8096965" cy="4212406"/>
            </a:xfrm>
          </p:grpSpPr>
          <p:sp>
            <p:nvSpPr>
              <p:cNvPr id="53" name="Google Shape;2002;p67">
                <a:extLst>
                  <a:ext uri="{FF2B5EF4-FFF2-40B4-BE49-F238E27FC236}">
                    <a16:creationId xmlns:a16="http://schemas.microsoft.com/office/drawing/2014/main" id="{89A966BF-28F2-4A91-99A8-9E03AC85A23A}"/>
                  </a:ext>
                </a:extLst>
              </p:cNvPr>
              <p:cNvSpPr/>
              <p:nvPr/>
            </p:nvSpPr>
            <p:spPr>
              <a:xfrm>
                <a:off x="410200" y="332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003;p67">
                <a:extLst>
                  <a:ext uri="{FF2B5EF4-FFF2-40B4-BE49-F238E27FC236}">
                    <a16:creationId xmlns:a16="http://schemas.microsoft.com/office/drawing/2014/main" id="{8B7B0642-CC71-42AC-9721-1D02BB9BC1D3}"/>
                  </a:ext>
                </a:extLst>
              </p:cNvPr>
              <p:cNvSpPr/>
              <p:nvPr/>
            </p:nvSpPr>
            <p:spPr>
              <a:xfrm>
                <a:off x="3526250" y="125288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 name="Google Shape;2004;p67">
                <a:extLst>
                  <a:ext uri="{FF2B5EF4-FFF2-40B4-BE49-F238E27FC236}">
                    <a16:creationId xmlns:a16="http://schemas.microsoft.com/office/drawing/2014/main" id="{82611D08-0BE1-4D87-8EF1-32EF6D651E9F}"/>
                  </a:ext>
                </a:extLst>
              </p:cNvPr>
              <p:cNvGrpSpPr/>
              <p:nvPr/>
            </p:nvGrpSpPr>
            <p:grpSpPr>
              <a:xfrm rot="-7546048">
                <a:off x="8105322" y="3683393"/>
                <a:ext cx="161701" cy="641985"/>
                <a:chOff x="7004550" y="3676293"/>
                <a:chExt cx="161700" cy="641982"/>
              </a:xfrm>
            </p:grpSpPr>
            <p:sp>
              <p:nvSpPr>
                <p:cNvPr id="57" name="Google Shape;2005;p67">
                  <a:extLst>
                    <a:ext uri="{FF2B5EF4-FFF2-40B4-BE49-F238E27FC236}">
                      <a16:creationId xmlns:a16="http://schemas.microsoft.com/office/drawing/2014/main" id="{933F683E-F43F-45EA-A9D8-26964731214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006;p67">
                  <a:extLst>
                    <a:ext uri="{FF2B5EF4-FFF2-40B4-BE49-F238E27FC236}">
                      <a16:creationId xmlns:a16="http://schemas.microsoft.com/office/drawing/2014/main" id="{452FBFC1-D68A-4B37-AFF3-959A677F24C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007;p67">
                  <a:extLst>
                    <a:ext uri="{FF2B5EF4-FFF2-40B4-BE49-F238E27FC236}">
                      <a16:creationId xmlns:a16="http://schemas.microsoft.com/office/drawing/2014/main" id="{84B04627-73F5-4C73-B889-4F6C36A652AB}"/>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008;p67">
                  <a:extLst>
                    <a:ext uri="{FF2B5EF4-FFF2-40B4-BE49-F238E27FC236}">
                      <a16:creationId xmlns:a16="http://schemas.microsoft.com/office/drawing/2014/main" id="{264A3045-5561-471B-851B-FB1CB56B851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2009;p67">
                <a:extLst>
                  <a:ext uri="{FF2B5EF4-FFF2-40B4-BE49-F238E27FC236}">
                    <a16:creationId xmlns:a16="http://schemas.microsoft.com/office/drawing/2014/main" id="{BA915D47-4B9F-4D25-9FF8-7F13D1B41F95}"/>
                  </a:ext>
                </a:extLst>
              </p:cNvPr>
              <p:cNvSpPr/>
              <p:nvPr/>
            </p:nvSpPr>
            <p:spPr>
              <a:xfrm rot="10800000" flipH="1">
                <a:off x="8352582" y="532399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10644241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2">
            <a:duotone>
              <a:prstClr val="black"/>
              <a:schemeClr val="accent4">
                <a:tint val="45000"/>
                <a:satMod val="400000"/>
              </a:schemeClr>
            </a:duotone>
            <a:extLst>
              <a:ext uri="{BEBA8EAE-BF5A-486C-A8C5-ECC9F3942E4B}">
                <a14:imgProps xmlns:a14="http://schemas.microsoft.com/office/drawing/2010/main">
                  <a14:imgLayer r:embed="rId3">
                    <a14:imgEffect>
                      <a14:sharpenSoften amount="-15000"/>
                    </a14:imgEffect>
                  </a14:imgLayer>
                </a14:imgProps>
              </a:ext>
            </a:extLst>
          </a:blip>
          <a:srcRect/>
          <a:stretch>
            <a:fillRect t="-6000" b="-6000"/>
          </a:stretch>
        </a:blipFill>
        <a:effectLst/>
      </p:bgPr>
    </p:bg>
    <p:spTree>
      <p:nvGrpSpPr>
        <p:cNvPr id="1" name=""/>
        <p:cNvGrpSpPr/>
        <p:nvPr/>
      </p:nvGrpSpPr>
      <p:grpSpPr>
        <a:xfrm>
          <a:off x="0" y="0"/>
          <a:ext cx="0" cy="0"/>
          <a:chOff x="0" y="0"/>
          <a:chExt cx="0" cy="0"/>
        </a:xfrm>
      </p:grpSpPr>
      <p:sp>
        <p:nvSpPr>
          <p:cNvPr id="6" name="Rectangle: Single Corner Snipped 5">
            <a:extLst>
              <a:ext uri="{FF2B5EF4-FFF2-40B4-BE49-F238E27FC236}">
                <a16:creationId xmlns:a16="http://schemas.microsoft.com/office/drawing/2014/main" id="{69030DAD-05E1-47DD-93DB-BEDEC7B8E596}"/>
              </a:ext>
            </a:extLst>
          </p:cNvPr>
          <p:cNvSpPr/>
          <p:nvPr/>
        </p:nvSpPr>
        <p:spPr>
          <a:xfrm flipV="1">
            <a:off x="-283464" y="-349693"/>
            <a:ext cx="6830568" cy="3941066"/>
          </a:xfrm>
          <a:prstGeom prst="snip1Rect">
            <a:avLst/>
          </a:prstGeom>
          <a:pattFill prst="pct5">
            <a:fgClr>
              <a:srgbClr val="DDC855"/>
            </a:fgClr>
            <a:bgClr>
              <a:schemeClr val="bg1"/>
            </a:bgClr>
          </a:patt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glow rad="228600">
              <a:schemeClr val="accent1">
                <a:alpha val="4000"/>
              </a:schemeClr>
            </a:glow>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8EB6B2E-29D3-4025-BE09-324B95B7DD30}"/>
              </a:ext>
            </a:extLst>
          </p:cNvPr>
          <p:cNvSpPr>
            <a:spLocks noGrp="1"/>
          </p:cNvSpPr>
          <p:nvPr>
            <p:ph type="title"/>
          </p:nvPr>
        </p:nvSpPr>
        <p:spPr>
          <a:xfrm>
            <a:off x="652929" y="188977"/>
            <a:ext cx="4470324" cy="1639884"/>
          </a:xfrm>
        </p:spPr>
        <p:txBody>
          <a:bodyPr>
            <a:normAutofit/>
          </a:bodyPr>
          <a:lstStyle/>
          <a:p>
            <a:r>
              <a:rPr lang="en-US" sz="3700" strike="sngStrike" dirty="0">
                <a:latin typeface="Saira SemiCondensed ExtraBold" panose="00000906000000000000" pitchFamily="2" charset="0"/>
              </a:rPr>
              <a:t>Programming</a:t>
            </a:r>
            <a:r>
              <a:rPr lang="en-US" sz="3700" dirty="0">
                <a:latin typeface="Saira SemiCondensed ExtraBold" panose="00000906000000000000" pitchFamily="2" charset="0"/>
              </a:rPr>
              <a:t> behind everything</a:t>
            </a:r>
          </a:p>
        </p:txBody>
      </p:sp>
      <p:sp>
        <p:nvSpPr>
          <p:cNvPr id="4" name="Text Placeholder 3">
            <a:extLst>
              <a:ext uri="{FF2B5EF4-FFF2-40B4-BE49-F238E27FC236}">
                <a16:creationId xmlns:a16="http://schemas.microsoft.com/office/drawing/2014/main" id="{39296960-7A56-4C8B-A9A9-EEC66F4CBEC8}"/>
              </a:ext>
            </a:extLst>
          </p:cNvPr>
          <p:cNvSpPr>
            <a:spLocks noGrp="1"/>
          </p:cNvSpPr>
          <p:nvPr>
            <p:ph type="body" sz="half" idx="2"/>
          </p:nvPr>
        </p:nvSpPr>
        <p:spPr>
          <a:xfrm>
            <a:off x="1846656" y="2850771"/>
            <a:ext cx="4470324" cy="740602"/>
          </a:xfrm>
        </p:spPr>
        <p:txBody>
          <a:bodyPr>
            <a:normAutofit/>
          </a:bodyPr>
          <a:lstStyle/>
          <a:p>
            <a:r>
              <a:rPr lang="en-US" dirty="0">
                <a:solidFill>
                  <a:srgbClr val="E1FF6D"/>
                </a:solidFill>
                <a:latin typeface="Sora" pitchFamily="2" charset="0"/>
                <a:cs typeface="Sora" pitchFamily="2" charset="0"/>
              </a:rPr>
              <a:t>The world as numbers</a:t>
            </a:r>
          </a:p>
        </p:txBody>
      </p:sp>
      <p:sp>
        <p:nvSpPr>
          <p:cNvPr id="7" name="Google Shape;1345;p56">
            <a:extLst>
              <a:ext uri="{FF2B5EF4-FFF2-40B4-BE49-F238E27FC236}">
                <a16:creationId xmlns:a16="http://schemas.microsoft.com/office/drawing/2014/main" id="{4D2634F5-709E-4998-BD56-FF9297F8B2A3}"/>
              </a:ext>
            </a:extLst>
          </p:cNvPr>
          <p:cNvSpPr txBox="1">
            <a:spLocks/>
          </p:cNvSpPr>
          <p:nvPr/>
        </p:nvSpPr>
        <p:spPr>
          <a:xfrm>
            <a:off x="1280553" y="2306985"/>
            <a:ext cx="4815447"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Elsie Hughes, Westworld, S02  episode four</a:t>
            </a:r>
          </a:p>
        </p:txBody>
      </p:sp>
      <p:sp>
        <p:nvSpPr>
          <p:cNvPr id="11" name="Google Shape;1345;p56">
            <a:extLst>
              <a:ext uri="{FF2B5EF4-FFF2-40B4-BE49-F238E27FC236}">
                <a16:creationId xmlns:a16="http://schemas.microsoft.com/office/drawing/2014/main" id="{CD27DD3F-EF85-482D-BA2A-584B86F5AD5D}"/>
              </a:ext>
            </a:extLst>
          </p:cNvPr>
          <p:cNvSpPr txBox="1">
            <a:spLocks/>
          </p:cNvSpPr>
          <p:nvPr/>
        </p:nvSpPr>
        <p:spPr>
          <a:xfrm>
            <a:off x="182880" y="1733578"/>
            <a:ext cx="5592102" cy="723174"/>
          </a:xfrm>
          <a:prstGeom prst="rect">
            <a:avLst/>
          </a:prstGeom>
          <a:noFill/>
          <a:ln>
            <a:noFill/>
          </a:ln>
          <a:effectLst>
            <a:softEdge rad="0"/>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i="0" dirty="0">
                <a:solidFill>
                  <a:srgbClr val="DDC855"/>
                </a:solidFill>
                <a:effectLst/>
                <a:latin typeface="Sora" pitchFamily="2" charset="0"/>
                <a:cs typeface="Sora" pitchFamily="2" charset="0"/>
              </a:rPr>
              <a:t>"I trust code more than people anyway."</a:t>
            </a:r>
            <a:endParaRPr kumimoji="0" lang="en-US" sz="2000" i="0" u="none" strike="noStrike" kern="0" cap="none" spc="0" normalizeH="0" baseline="0" noProof="0" dirty="0">
              <a:ln>
                <a:noFill/>
              </a:ln>
              <a:solidFill>
                <a:srgbClr val="DDC855"/>
              </a:solidFill>
              <a:effectLst/>
              <a:uLnTx/>
              <a:uFillTx/>
              <a:latin typeface="Sora" pitchFamily="2" charset="0"/>
              <a:cs typeface="Sora" pitchFamily="2" charset="0"/>
              <a:sym typeface="Saira SemiCondensed ExtraBold"/>
            </a:endParaRPr>
          </a:p>
        </p:txBody>
      </p:sp>
      <p:sp>
        <p:nvSpPr>
          <p:cNvPr id="14" name="Google Shape;11;p2">
            <a:extLst>
              <a:ext uri="{FF2B5EF4-FFF2-40B4-BE49-F238E27FC236}">
                <a16:creationId xmlns:a16="http://schemas.microsoft.com/office/drawing/2014/main" id="{DAB25E58-CD9B-4E3A-AD20-3116EE0A6D19}"/>
              </a:ext>
            </a:extLst>
          </p:cNvPr>
          <p:cNvSpPr/>
          <p:nvPr/>
        </p:nvSpPr>
        <p:spPr>
          <a:xfrm rot="12880060" flipV="1">
            <a:off x="8771310" y="3219671"/>
            <a:ext cx="4025182" cy="4301963"/>
          </a:xfrm>
          <a:prstGeom prst="lightningBolt">
            <a:avLst/>
          </a:prstGeom>
          <a:ln/>
          <a:effectLst>
            <a:glow rad="1892300">
              <a:schemeClr val="accent1">
                <a:alpha val="30000"/>
              </a:schemeClr>
            </a:glow>
            <a:softEdge rad="12700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9" name="Google Shape;1431;p58">
            <a:extLst>
              <a:ext uri="{FF2B5EF4-FFF2-40B4-BE49-F238E27FC236}">
                <a16:creationId xmlns:a16="http://schemas.microsoft.com/office/drawing/2014/main" id="{5105EB87-66AC-4705-AD09-CCDB2A9051A7}"/>
              </a:ext>
            </a:extLst>
          </p:cNvPr>
          <p:cNvGrpSpPr/>
          <p:nvPr/>
        </p:nvGrpSpPr>
        <p:grpSpPr>
          <a:xfrm>
            <a:off x="908807" y="3652610"/>
            <a:ext cx="895774" cy="832929"/>
            <a:chOff x="4818730" y="3307263"/>
            <a:chExt cx="1827512" cy="1699300"/>
          </a:xfrm>
        </p:grpSpPr>
        <p:sp>
          <p:nvSpPr>
            <p:cNvPr id="29" name="Google Shape;1432;p58">
              <a:extLst>
                <a:ext uri="{FF2B5EF4-FFF2-40B4-BE49-F238E27FC236}">
                  <a16:creationId xmlns:a16="http://schemas.microsoft.com/office/drawing/2014/main" id="{424E9333-E6C9-4D38-A8ED-3D18CBFEDD9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433;p58">
              <a:extLst>
                <a:ext uri="{FF2B5EF4-FFF2-40B4-BE49-F238E27FC236}">
                  <a16:creationId xmlns:a16="http://schemas.microsoft.com/office/drawing/2014/main" id="{787DCCFD-EC8B-4045-9C0A-21598B312238}"/>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434;p58">
              <a:extLst>
                <a:ext uri="{FF2B5EF4-FFF2-40B4-BE49-F238E27FC236}">
                  <a16:creationId xmlns:a16="http://schemas.microsoft.com/office/drawing/2014/main" id="{FE77FBDA-ABBF-471C-9600-A27CB3C209A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435;p58">
              <a:extLst>
                <a:ext uri="{FF2B5EF4-FFF2-40B4-BE49-F238E27FC236}">
                  <a16:creationId xmlns:a16="http://schemas.microsoft.com/office/drawing/2014/main" id="{57D69C2D-6D56-4400-B012-ED6B8F76EAF2}"/>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436;p58">
              <a:extLst>
                <a:ext uri="{FF2B5EF4-FFF2-40B4-BE49-F238E27FC236}">
                  <a16:creationId xmlns:a16="http://schemas.microsoft.com/office/drawing/2014/main" id="{05BEAB75-6E25-48B9-B335-5E55ADDB218A}"/>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437;p58">
              <a:extLst>
                <a:ext uri="{FF2B5EF4-FFF2-40B4-BE49-F238E27FC236}">
                  <a16:creationId xmlns:a16="http://schemas.microsoft.com/office/drawing/2014/main" id="{283FBC84-41A6-4C19-89A6-B5A9BC862F7C}"/>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438;p58">
              <a:extLst>
                <a:ext uri="{FF2B5EF4-FFF2-40B4-BE49-F238E27FC236}">
                  <a16:creationId xmlns:a16="http://schemas.microsoft.com/office/drawing/2014/main" id="{0B5C1EFB-D7B3-4CFB-8A08-BB6F3A0C1C8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439;p58">
              <a:extLst>
                <a:ext uri="{FF2B5EF4-FFF2-40B4-BE49-F238E27FC236}">
                  <a16:creationId xmlns:a16="http://schemas.microsoft.com/office/drawing/2014/main" id="{39CAE841-5E21-476F-B878-6D396427C15F}"/>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440;p58">
              <a:extLst>
                <a:ext uri="{FF2B5EF4-FFF2-40B4-BE49-F238E27FC236}">
                  <a16:creationId xmlns:a16="http://schemas.microsoft.com/office/drawing/2014/main" id="{AC0A64E4-07ED-4212-9A18-66546F0686C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441;p58">
              <a:extLst>
                <a:ext uri="{FF2B5EF4-FFF2-40B4-BE49-F238E27FC236}">
                  <a16:creationId xmlns:a16="http://schemas.microsoft.com/office/drawing/2014/main" id="{E470D060-6378-481C-B5CE-D7CF1F27DBB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442;p58">
              <a:extLst>
                <a:ext uri="{FF2B5EF4-FFF2-40B4-BE49-F238E27FC236}">
                  <a16:creationId xmlns:a16="http://schemas.microsoft.com/office/drawing/2014/main" id="{67378D62-FDD6-40D7-98CA-FE48C5430A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443;p58">
              <a:extLst>
                <a:ext uri="{FF2B5EF4-FFF2-40B4-BE49-F238E27FC236}">
                  <a16:creationId xmlns:a16="http://schemas.microsoft.com/office/drawing/2014/main" id="{A0E2D274-EC18-4C64-81BF-A630195A2D10}"/>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444;p58">
              <a:extLst>
                <a:ext uri="{FF2B5EF4-FFF2-40B4-BE49-F238E27FC236}">
                  <a16:creationId xmlns:a16="http://schemas.microsoft.com/office/drawing/2014/main" id="{04145EDB-F505-4523-9946-5B96A9A1C99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445;p58">
              <a:extLst>
                <a:ext uri="{FF2B5EF4-FFF2-40B4-BE49-F238E27FC236}">
                  <a16:creationId xmlns:a16="http://schemas.microsoft.com/office/drawing/2014/main" id="{96954440-3251-4218-9F50-F8F3FBB66BE2}"/>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446;p58">
              <a:extLst>
                <a:ext uri="{FF2B5EF4-FFF2-40B4-BE49-F238E27FC236}">
                  <a16:creationId xmlns:a16="http://schemas.microsoft.com/office/drawing/2014/main" id="{CF7964A7-C089-41D9-867B-7ACA23278C82}"/>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447;p58">
              <a:extLst>
                <a:ext uri="{FF2B5EF4-FFF2-40B4-BE49-F238E27FC236}">
                  <a16:creationId xmlns:a16="http://schemas.microsoft.com/office/drawing/2014/main" id="{F509E61A-C3BF-4186-9954-C96717266331}"/>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448;p58">
              <a:extLst>
                <a:ext uri="{FF2B5EF4-FFF2-40B4-BE49-F238E27FC236}">
                  <a16:creationId xmlns:a16="http://schemas.microsoft.com/office/drawing/2014/main" id="{C7CF3A6D-2DCC-469B-BD6D-8A758707864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449;p58">
              <a:extLst>
                <a:ext uri="{FF2B5EF4-FFF2-40B4-BE49-F238E27FC236}">
                  <a16:creationId xmlns:a16="http://schemas.microsoft.com/office/drawing/2014/main" id="{7618D2E5-C1DC-46D2-8E74-702B605DC15C}"/>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450;p58">
              <a:extLst>
                <a:ext uri="{FF2B5EF4-FFF2-40B4-BE49-F238E27FC236}">
                  <a16:creationId xmlns:a16="http://schemas.microsoft.com/office/drawing/2014/main" id="{04BD3443-3C34-47CE-8547-97144CB04070}"/>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451;p58">
              <a:extLst>
                <a:ext uri="{FF2B5EF4-FFF2-40B4-BE49-F238E27FC236}">
                  <a16:creationId xmlns:a16="http://schemas.microsoft.com/office/drawing/2014/main" id="{7FF6915B-ED99-4067-8C73-18B2B0BB569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452;p58">
              <a:extLst>
                <a:ext uri="{FF2B5EF4-FFF2-40B4-BE49-F238E27FC236}">
                  <a16:creationId xmlns:a16="http://schemas.microsoft.com/office/drawing/2014/main" id="{3E3702AB-B955-4B12-9E58-9DFFB1ADE63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453;p58">
              <a:extLst>
                <a:ext uri="{FF2B5EF4-FFF2-40B4-BE49-F238E27FC236}">
                  <a16:creationId xmlns:a16="http://schemas.microsoft.com/office/drawing/2014/main" id="{7EB94347-6007-4BC9-B058-A1C1693E9CE0}"/>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454;p58">
              <a:extLst>
                <a:ext uri="{FF2B5EF4-FFF2-40B4-BE49-F238E27FC236}">
                  <a16:creationId xmlns:a16="http://schemas.microsoft.com/office/drawing/2014/main" id="{FA17AC2E-B4A3-400F-AF25-20B05BA701DE}"/>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455;p58">
              <a:extLst>
                <a:ext uri="{FF2B5EF4-FFF2-40B4-BE49-F238E27FC236}">
                  <a16:creationId xmlns:a16="http://schemas.microsoft.com/office/drawing/2014/main" id="{6058039F-2B00-44F8-AEDA-BB04BBAB186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456;p58">
              <a:extLst>
                <a:ext uri="{FF2B5EF4-FFF2-40B4-BE49-F238E27FC236}">
                  <a16:creationId xmlns:a16="http://schemas.microsoft.com/office/drawing/2014/main" id="{8655FC39-A0BF-43EB-B887-7932894B9952}"/>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 name="Google Shape;1457;p58">
            <a:extLst>
              <a:ext uri="{FF2B5EF4-FFF2-40B4-BE49-F238E27FC236}">
                <a16:creationId xmlns:a16="http://schemas.microsoft.com/office/drawing/2014/main" id="{5F06E2B8-FCE8-468C-BFE1-0112DC2084B7}"/>
              </a:ext>
            </a:extLst>
          </p:cNvPr>
          <p:cNvGrpSpPr/>
          <p:nvPr/>
        </p:nvGrpSpPr>
        <p:grpSpPr>
          <a:xfrm rot="14053952">
            <a:off x="7090603" y="262585"/>
            <a:ext cx="270999" cy="1075920"/>
            <a:chOff x="7004550" y="3676293"/>
            <a:chExt cx="161700" cy="641982"/>
          </a:xfrm>
        </p:grpSpPr>
        <p:sp>
          <p:nvSpPr>
            <p:cNvPr id="25" name="Google Shape;1458;p58">
              <a:extLst>
                <a:ext uri="{FF2B5EF4-FFF2-40B4-BE49-F238E27FC236}">
                  <a16:creationId xmlns:a16="http://schemas.microsoft.com/office/drawing/2014/main" id="{884CA793-E34B-4BB4-9743-C49BE2184C4C}"/>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459;p58">
              <a:extLst>
                <a:ext uri="{FF2B5EF4-FFF2-40B4-BE49-F238E27FC236}">
                  <a16:creationId xmlns:a16="http://schemas.microsoft.com/office/drawing/2014/main" id="{54A40FE4-4E47-4AF9-B9D9-AF7443E36E38}"/>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460;p58">
              <a:extLst>
                <a:ext uri="{FF2B5EF4-FFF2-40B4-BE49-F238E27FC236}">
                  <a16:creationId xmlns:a16="http://schemas.microsoft.com/office/drawing/2014/main" id="{906D53FB-8321-4A14-961A-9A2FC779B470}"/>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461;p58">
              <a:extLst>
                <a:ext uri="{FF2B5EF4-FFF2-40B4-BE49-F238E27FC236}">
                  <a16:creationId xmlns:a16="http://schemas.microsoft.com/office/drawing/2014/main" id="{272FEA56-3B85-448B-936F-F52ACD6997F4}"/>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 name="Google Shape;1462;p58">
            <a:extLst>
              <a:ext uri="{FF2B5EF4-FFF2-40B4-BE49-F238E27FC236}">
                <a16:creationId xmlns:a16="http://schemas.microsoft.com/office/drawing/2014/main" id="{D53AA1BE-C801-442D-A19E-DB46A600AFB4}"/>
              </a:ext>
            </a:extLst>
          </p:cNvPr>
          <p:cNvSpPr/>
          <p:nvPr/>
        </p:nvSpPr>
        <p:spPr>
          <a:xfrm>
            <a:off x="3215825" y="17299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463;p58">
            <a:extLst>
              <a:ext uri="{FF2B5EF4-FFF2-40B4-BE49-F238E27FC236}">
                <a16:creationId xmlns:a16="http://schemas.microsoft.com/office/drawing/2014/main" id="{55581658-801D-4B59-B83D-8077DC299615}"/>
              </a:ext>
            </a:extLst>
          </p:cNvPr>
          <p:cNvSpPr/>
          <p:nvPr/>
        </p:nvSpPr>
        <p:spPr>
          <a:xfrm>
            <a:off x="7191740" y="103532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464;p58">
            <a:extLst>
              <a:ext uri="{FF2B5EF4-FFF2-40B4-BE49-F238E27FC236}">
                <a16:creationId xmlns:a16="http://schemas.microsoft.com/office/drawing/2014/main" id="{23AC740D-448A-4144-8721-834536918714}"/>
              </a:ext>
            </a:extLst>
          </p:cNvPr>
          <p:cNvSpPr/>
          <p:nvPr/>
        </p:nvSpPr>
        <p:spPr>
          <a:xfrm>
            <a:off x="5906400" y="44065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465;p58">
            <a:extLst>
              <a:ext uri="{FF2B5EF4-FFF2-40B4-BE49-F238E27FC236}">
                <a16:creationId xmlns:a16="http://schemas.microsoft.com/office/drawing/2014/main" id="{1B33D972-7FD8-4049-AADE-643F746C15D8}"/>
              </a:ext>
            </a:extLst>
          </p:cNvPr>
          <p:cNvSpPr/>
          <p:nvPr/>
        </p:nvSpPr>
        <p:spPr>
          <a:xfrm>
            <a:off x="4440400" y="108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463;p58">
            <a:extLst>
              <a:ext uri="{FF2B5EF4-FFF2-40B4-BE49-F238E27FC236}">
                <a16:creationId xmlns:a16="http://schemas.microsoft.com/office/drawing/2014/main" id="{CF332F74-70AD-4364-8819-AB000F8E85AE}"/>
              </a:ext>
            </a:extLst>
          </p:cNvPr>
          <p:cNvSpPr/>
          <p:nvPr/>
        </p:nvSpPr>
        <p:spPr>
          <a:xfrm>
            <a:off x="2442308" y="61358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Title 1">
            <a:extLst>
              <a:ext uri="{FF2B5EF4-FFF2-40B4-BE49-F238E27FC236}">
                <a16:creationId xmlns:a16="http://schemas.microsoft.com/office/drawing/2014/main" id="{31353F28-0D9A-4C57-9217-E5E4EEF137D3}"/>
              </a:ext>
            </a:extLst>
          </p:cNvPr>
          <p:cNvSpPr txBox="1">
            <a:spLocks/>
          </p:cNvSpPr>
          <p:nvPr/>
        </p:nvSpPr>
        <p:spPr>
          <a:xfrm rot="20314480">
            <a:off x="997556" y="-404712"/>
            <a:ext cx="5592101" cy="809425"/>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Gameplay Mechanics</a:t>
            </a:r>
          </a:p>
        </p:txBody>
      </p:sp>
    </p:spTree>
    <p:extLst>
      <p:ext uri="{BB962C8B-B14F-4D97-AF65-F5344CB8AC3E}">
        <p14:creationId xmlns:p14="http://schemas.microsoft.com/office/powerpoint/2010/main" val="20812630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Google Shape;1611;p62">
            <a:extLst>
              <a:ext uri="{FF2B5EF4-FFF2-40B4-BE49-F238E27FC236}">
                <a16:creationId xmlns:a16="http://schemas.microsoft.com/office/drawing/2014/main" id="{17556567-FC3E-48E0-91B1-6F68978B1340}"/>
              </a:ext>
            </a:extLst>
          </p:cNvPr>
          <p:cNvSpPr txBox="1">
            <a:spLocks/>
          </p:cNvSpPr>
          <p:nvPr/>
        </p:nvSpPr>
        <p:spPr>
          <a:xfrm flipH="1">
            <a:off x="8753369" y="214978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2</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cxnSp>
        <p:nvCxnSpPr>
          <p:cNvPr id="4" name="Google Shape;1670;p62">
            <a:extLst>
              <a:ext uri="{FF2B5EF4-FFF2-40B4-BE49-F238E27FC236}">
                <a16:creationId xmlns:a16="http://schemas.microsoft.com/office/drawing/2014/main" id="{14EEA2F5-4E0F-434D-837B-F766C8639EFF}"/>
              </a:ext>
            </a:extLst>
          </p:cNvPr>
          <p:cNvCxnSpPr>
            <a:cxnSpLocks/>
          </p:cNvCxnSpPr>
          <p:nvPr/>
        </p:nvCxnSpPr>
        <p:spPr>
          <a:xfrm>
            <a:off x="7288473" y="4273065"/>
            <a:ext cx="4903527"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1610;p62">
            <a:extLst>
              <a:ext uri="{FF2B5EF4-FFF2-40B4-BE49-F238E27FC236}">
                <a16:creationId xmlns:a16="http://schemas.microsoft.com/office/drawing/2014/main" id="{F691F059-F485-4619-B233-3FACDA1F607A}"/>
              </a:ext>
            </a:extLst>
          </p:cNvPr>
          <p:cNvSpPr txBox="1">
            <a:spLocks/>
          </p:cNvSpPr>
          <p:nvPr/>
        </p:nvSpPr>
        <p:spPr>
          <a:xfrm flipH="1">
            <a:off x="6989393" y="3429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1673;p62">
            <a:extLst>
              <a:ext uri="{FF2B5EF4-FFF2-40B4-BE49-F238E27FC236}">
                <a16:creationId xmlns:a16="http://schemas.microsoft.com/office/drawing/2014/main" id="{C8166A63-D512-4504-8BD4-68D14009E3D2}"/>
              </a:ext>
            </a:extLst>
          </p:cNvPr>
          <p:cNvSpPr/>
          <p:nvPr/>
        </p:nvSpPr>
        <p:spPr>
          <a:xfrm rot="10800000" flipH="1">
            <a:off x="1003585" y="268943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674;p62">
            <a:extLst>
              <a:ext uri="{FF2B5EF4-FFF2-40B4-BE49-F238E27FC236}">
                <a16:creationId xmlns:a16="http://schemas.microsoft.com/office/drawing/2014/main" id="{B4302B65-794B-4E0C-88A5-BC5669A46285}"/>
              </a:ext>
            </a:extLst>
          </p:cNvPr>
          <p:cNvSpPr/>
          <p:nvPr/>
        </p:nvSpPr>
        <p:spPr>
          <a:xfrm>
            <a:off x="3533817" y="587391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675;p62">
            <a:extLst>
              <a:ext uri="{FF2B5EF4-FFF2-40B4-BE49-F238E27FC236}">
                <a16:creationId xmlns:a16="http://schemas.microsoft.com/office/drawing/2014/main" id="{A0B92FD0-96C7-45EC-A332-393F7DDCB44C}"/>
              </a:ext>
            </a:extLst>
          </p:cNvPr>
          <p:cNvSpPr/>
          <p:nvPr/>
        </p:nvSpPr>
        <p:spPr>
          <a:xfrm>
            <a:off x="4160623" y="180286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676;p62">
            <a:extLst>
              <a:ext uri="{FF2B5EF4-FFF2-40B4-BE49-F238E27FC236}">
                <a16:creationId xmlns:a16="http://schemas.microsoft.com/office/drawing/2014/main" id="{D1AB733D-E719-4461-A3E6-8E5F336E134E}"/>
              </a:ext>
            </a:extLst>
          </p:cNvPr>
          <p:cNvSpPr/>
          <p:nvPr/>
        </p:nvSpPr>
        <p:spPr>
          <a:xfrm>
            <a:off x="6639589" y="528274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77;p62">
            <a:extLst>
              <a:ext uri="{FF2B5EF4-FFF2-40B4-BE49-F238E27FC236}">
                <a16:creationId xmlns:a16="http://schemas.microsoft.com/office/drawing/2014/main" id="{FC14B0BA-7E5D-4C62-9774-7F7EA7377CA9}"/>
              </a:ext>
            </a:extLst>
          </p:cNvPr>
          <p:cNvSpPr/>
          <p:nvPr/>
        </p:nvSpPr>
        <p:spPr>
          <a:xfrm>
            <a:off x="7784127" y="22862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 name="Google Shape;1678;p62">
            <a:extLst>
              <a:ext uri="{FF2B5EF4-FFF2-40B4-BE49-F238E27FC236}">
                <a16:creationId xmlns:a16="http://schemas.microsoft.com/office/drawing/2014/main" id="{4FB998C2-08E2-439D-A3C4-C52F73376702}"/>
              </a:ext>
            </a:extLst>
          </p:cNvPr>
          <p:cNvGrpSpPr/>
          <p:nvPr/>
        </p:nvGrpSpPr>
        <p:grpSpPr>
          <a:xfrm rot="14053952">
            <a:off x="5700157" y="2097340"/>
            <a:ext cx="161701" cy="641985"/>
            <a:chOff x="7004550" y="3676293"/>
            <a:chExt cx="161700" cy="641982"/>
          </a:xfrm>
        </p:grpSpPr>
        <p:sp>
          <p:nvSpPr>
            <p:cNvPr id="39" name="Google Shape;1679;p62">
              <a:extLst>
                <a:ext uri="{FF2B5EF4-FFF2-40B4-BE49-F238E27FC236}">
                  <a16:creationId xmlns:a16="http://schemas.microsoft.com/office/drawing/2014/main" id="{C522821B-254F-43D6-9E79-8A25BB68D29D}"/>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680;p62">
              <a:extLst>
                <a:ext uri="{FF2B5EF4-FFF2-40B4-BE49-F238E27FC236}">
                  <a16:creationId xmlns:a16="http://schemas.microsoft.com/office/drawing/2014/main" id="{5CA6CC38-77CB-4421-B521-6D5C7E1EE744}"/>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681;p62">
              <a:extLst>
                <a:ext uri="{FF2B5EF4-FFF2-40B4-BE49-F238E27FC236}">
                  <a16:creationId xmlns:a16="http://schemas.microsoft.com/office/drawing/2014/main" id="{6461103A-B4DB-4BD1-87F0-FE9F7FCCD697}"/>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682;p62">
              <a:extLst>
                <a:ext uri="{FF2B5EF4-FFF2-40B4-BE49-F238E27FC236}">
                  <a16:creationId xmlns:a16="http://schemas.microsoft.com/office/drawing/2014/main" id="{7D8F0C6C-E582-4684-AA17-58AA26FC3B99}"/>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683;p62">
            <a:extLst>
              <a:ext uri="{FF2B5EF4-FFF2-40B4-BE49-F238E27FC236}">
                <a16:creationId xmlns:a16="http://schemas.microsoft.com/office/drawing/2014/main" id="{4F9E985A-1BB2-4576-9D3C-615A61A4D939}"/>
              </a:ext>
            </a:extLst>
          </p:cNvPr>
          <p:cNvGrpSpPr/>
          <p:nvPr/>
        </p:nvGrpSpPr>
        <p:grpSpPr>
          <a:xfrm>
            <a:off x="5999549" y="870939"/>
            <a:ext cx="779203" cy="750597"/>
            <a:chOff x="4818730" y="3307263"/>
            <a:chExt cx="1827512" cy="1699300"/>
          </a:xfrm>
        </p:grpSpPr>
        <p:sp>
          <p:nvSpPr>
            <p:cNvPr id="14" name="Google Shape;1684;p62">
              <a:extLst>
                <a:ext uri="{FF2B5EF4-FFF2-40B4-BE49-F238E27FC236}">
                  <a16:creationId xmlns:a16="http://schemas.microsoft.com/office/drawing/2014/main" id="{0926DFA3-FCEB-4BEF-915B-4DD93858393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685;p62">
              <a:extLst>
                <a:ext uri="{FF2B5EF4-FFF2-40B4-BE49-F238E27FC236}">
                  <a16:creationId xmlns:a16="http://schemas.microsoft.com/office/drawing/2014/main" id="{4C09DB48-6164-4D93-99AA-94675E98DB0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86;p62">
              <a:extLst>
                <a:ext uri="{FF2B5EF4-FFF2-40B4-BE49-F238E27FC236}">
                  <a16:creationId xmlns:a16="http://schemas.microsoft.com/office/drawing/2014/main" id="{660C704B-8DEB-4BF9-9EAB-87DBE55774AE}"/>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687;p62">
              <a:extLst>
                <a:ext uri="{FF2B5EF4-FFF2-40B4-BE49-F238E27FC236}">
                  <a16:creationId xmlns:a16="http://schemas.microsoft.com/office/drawing/2014/main" id="{23FE34C4-6472-4EFE-9BE4-7127E4673CA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688;p62">
              <a:extLst>
                <a:ext uri="{FF2B5EF4-FFF2-40B4-BE49-F238E27FC236}">
                  <a16:creationId xmlns:a16="http://schemas.microsoft.com/office/drawing/2014/main" id="{459FB61E-19A3-4853-8FE2-AA4CFF0E455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689;p62">
              <a:extLst>
                <a:ext uri="{FF2B5EF4-FFF2-40B4-BE49-F238E27FC236}">
                  <a16:creationId xmlns:a16="http://schemas.microsoft.com/office/drawing/2014/main" id="{6121E1D0-D33C-4F28-AD71-5F0889033DD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690;p62">
              <a:extLst>
                <a:ext uri="{FF2B5EF4-FFF2-40B4-BE49-F238E27FC236}">
                  <a16:creationId xmlns:a16="http://schemas.microsoft.com/office/drawing/2014/main" id="{DF8DA98E-1627-406F-B474-AF3E1B33F47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691;p62">
              <a:extLst>
                <a:ext uri="{FF2B5EF4-FFF2-40B4-BE49-F238E27FC236}">
                  <a16:creationId xmlns:a16="http://schemas.microsoft.com/office/drawing/2014/main" id="{52E1BE7E-1066-4F57-860C-98443F845E3A}"/>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692;p62">
              <a:extLst>
                <a:ext uri="{FF2B5EF4-FFF2-40B4-BE49-F238E27FC236}">
                  <a16:creationId xmlns:a16="http://schemas.microsoft.com/office/drawing/2014/main" id="{CE8D619F-5F6D-436F-A33C-D5D2346E12E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693;p62">
              <a:extLst>
                <a:ext uri="{FF2B5EF4-FFF2-40B4-BE49-F238E27FC236}">
                  <a16:creationId xmlns:a16="http://schemas.microsoft.com/office/drawing/2014/main" id="{1DC075CB-9E95-4E30-A640-46BC065A402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694;p62">
              <a:extLst>
                <a:ext uri="{FF2B5EF4-FFF2-40B4-BE49-F238E27FC236}">
                  <a16:creationId xmlns:a16="http://schemas.microsoft.com/office/drawing/2014/main" id="{77C69889-C92A-4EE4-9CDC-1566790865BE}"/>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695;p62">
              <a:extLst>
                <a:ext uri="{FF2B5EF4-FFF2-40B4-BE49-F238E27FC236}">
                  <a16:creationId xmlns:a16="http://schemas.microsoft.com/office/drawing/2014/main" id="{307673FC-0113-4018-9DE7-CEEF492838CA}"/>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696;p62">
              <a:extLst>
                <a:ext uri="{FF2B5EF4-FFF2-40B4-BE49-F238E27FC236}">
                  <a16:creationId xmlns:a16="http://schemas.microsoft.com/office/drawing/2014/main" id="{AD7A6676-1155-4997-B386-7FDAE3BD37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697;p62">
              <a:extLst>
                <a:ext uri="{FF2B5EF4-FFF2-40B4-BE49-F238E27FC236}">
                  <a16:creationId xmlns:a16="http://schemas.microsoft.com/office/drawing/2014/main" id="{86F69FA1-58F2-4C3A-A55F-D850B1063FB9}"/>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698;p62">
              <a:extLst>
                <a:ext uri="{FF2B5EF4-FFF2-40B4-BE49-F238E27FC236}">
                  <a16:creationId xmlns:a16="http://schemas.microsoft.com/office/drawing/2014/main" id="{7D97A4C1-F4D5-435A-BD7D-AFD2D278CD83}"/>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699;p62">
              <a:extLst>
                <a:ext uri="{FF2B5EF4-FFF2-40B4-BE49-F238E27FC236}">
                  <a16:creationId xmlns:a16="http://schemas.microsoft.com/office/drawing/2014/main" id="{1183B43A-3B02-4730-B199-82F00AA656E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00;p62">
              <a:extLst>
                <a:ext uri="{FF2B5EF4-FFF2-40B4-BE49-F238E27FC236}">
                  <a16:creationId xmlns:a16="http://schemas.microsoft.com/office/drawing/2014/main" id="{F028C3EF-2E3C-41BD-9CEC-AA02B4AF145E}"/>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01;p62">
              <a:extLst>
                <a:ext uri="{FF2B5EF4-FFF2-40B4-BE49-F238E27FC236}">
                  <a16:creationId xmlns:a16="http://schemas.microsoft.com/office/drawing/2014/main" id="{F628B6BC-FE90-4EEF-932B-E9F88D976DC1}"/>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02;p62">
              <a:extLst>
                <a:ext uri="{FF2B5EF4-FFF2-40B4-BE49-F238E27FC236}">
                  <a16:creationId xmlns:a16="http://schemas.microsoft.com/office/drawing/2014/main" id="{2A50CC03-21C3-42F9-B899-35E19CA3E987}"/>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03;p62">
              <a:extLst>
                <a:ext uri="{FF2B5EF4-FFF2-40B4-BE49-F238E27FC236}">
                  <a16:creationId xmlns:a16="http://schemas.microsoft.com/office/drawing/2014/main" id="{2CDE7EBF-A298-4BFC-91D6-E3E72EBAD5B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04;p62">
              <a:extLst>
                <a:ext uri="{FF2B5EF4-FFF2-40B4-BE49-F238E27FC236}">
                  <a16:creationId xmlns:a16="http://schemas.microsoft.com/office/drawing/2014/main" id="{1F73DDB6-B9F7-4D4A-90C6-4C7389A022B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05;p62">
              <a:extLst>
                <a:ext uri="{FF2B5EF4-FFF2-40B4-BE49-F238E27FC236}">
                  <a16:creationId xmlns:a16="http://schemas.microsoft.com/office/drawing/2014/main" id="{51CAE8DF-410D-47B7-B4AF-0EFB916614D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06;p62">
              <a:extLst>
                <a:ext uri="{FF2B5EF4-FFF2-40B4-BE49-F238E27FC236}">
                  <a16:creationId xmlns:a16="http://schemas.microsoft.com/office/drawing/2014/main" id="{9533BF3E-A7C8-4137-9DC9-A6D297897B9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07;p62">
              <a:extLst>
                <a:ext uri="{FF2B5EF4-FFF2-40B4-BE49-F238E27FC236}">
                  <a16:creationId xmlns:a16="http://schemas.microsoft.com/office/drawing/2014/main" id="{856BFD31-6825-4135-B36A-01DCD2808C98}"/>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08;p62">
              <a:extLst>
                <a:ext uri="{FF2B5EF4-FFF2-40B4-BE49-F238E27FC236}">
                  <a16:creationId xmlns:a16="http://schemas.microsoft.com/office/drawing/2014/main" id="{F5EE2F7B-D4FC-4D9C-B607-7FF1EA8B63D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 name="Google Shape;1671;p62">
            <a:extLst>
              <a:ext uri="{FF2B5EF4-FFF2-40B4-BE49-F238E27FC236}">
                <a16:creationId xmlns:a16="http://schemas.microsoft.com/office/drawing/2014/main" id="{A0C27E5A-BE58-45F8-A580-8C2AE646AF63}"/>
              </a:ext>
            </a:extLst>
          </p:cNvPr>
          <p:cNvSpPr/>
          <p:nvPr/>
        </p:nvSpPr>
        <p:spPr>
          <a:xfrm rot="10800000">
            <a:off x="7147173" y="420241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1613;p62">
            <a:extLst>
              <a:ext uri="{FF2B5EF4-FFF2-40B4-BE49-F238E27FC236}">
                <a16:creationId xmlns:a16="http://schemas.microsoft.com/office/drawing/2014/main" id="{CB7A4EF3-34FA-4658-8EA3-49A4C3FCAD03}"/>
              </a:ext>
            </a:extLst>
          </p:cNvPr>
          <p:cNvGrpSpPr/>
          <p:nvPr/>
        </p:nvGrpSpPr>
        <p:grpSpPr>
          <a:xfrm>
            <a:off x="1563284" y="2513135"/>
            <a:ext cx="3941066" cy="2690998"/>
            <a:chOff x="369650" y="1783400"/>
            <a:chExt cx="3941066" cy="2690998"/>
          </a:xfrm>
        </p:grpSpPr>
        <p:sp>
          <p:nvSpPr>
            <p:cNvPr id="46" name="Google Shape;1614;p62">
              <a:extLst>
                <a:ext uri="{FF2B5EF4-FFF2-40B4-BE49-F238E27FC236}">
                  <a16:creationId xmlns:a16="http://schemas.microsoft.com/office/drawing/2014/main" id="{874B2B29-3465-4135-97C1-3A45851B4915}"/>
                </a:ext>
              </a:extLst>
            </p:cNvPr>
            <p:cNvSpPr/>
            <p:nvPr/>
          </p:nvSpPr>
          <p:spPr>
            <a:xfrm>
              <a:off x="369650" y="4194302"/>
              <a:ext cx="3941066" cy="280096"/>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615;p62">
              <a:extLst>
                <a:ext uri="{FF2B5EF4-FFF2-40B4-BE49-F238E27FC236}">
                  <a16:creationId xmlns:a16="http://schemas.microsoft.com/office/drawing/2014/main" id="{C91AFBA9-8CCC-455C-B259-D9494CA53143}"/>
                </a:ext>
              </a:extLst>
            </p:cNvPr>
            <p:cNvSpPr/>
            <p:nvPr/>
          </p:nvSpPr>
          <p:spPr>
            <a:xfrm>
              <a:off x="1919150" y="2415625"/>
              <a:ext cx="456725" cy="518250"/>
            </a:xfrm>
            <a:custGeom>
              <a:avLst/>
              <a:gdLst/>
              <a:ahLst/>
              <a:cxnLst/>
              <a:rect l="l" t="t" r="r" b="b"/>
              <a:pathLst>
                <a:path w="18269" h="20730" extrusionOk="0">
                  <a:moveTo>
                    <a:pt x="1" y="0"/>
                  </a:moveTo>
                  <a:lnTo>
                    <a:pt x="1" y="760"/>
                  </a:lnTo>
                  <a:lnTo>
                    <a:pt x="11156" y="760"/>
                  </a:lnTo>
                  <a:cubicBezTo>
                    <a:pt x="14652" y="760"/>
                    <a:pt x="17509" y="3617"/>
                    <a:pt x="17509" y="7143"/>
                  </a:cubicBezTo>
                  <a:lnTo>
                    <a:pt x="17509" y="13587"/>
                  </a:lnTo>
                  <a:cubicBezTo>
                    <a:pt x="17509" y="17113"/>
                    <a:pt x="14652" y="19970"/>
                    <a:pt x="11156" y="19970"/>
                  </a:cubicBezTo>
                  <a:lnTo>
                    <a:pt x="1" y="19970"/>
                  </a:lnTo>
                  <a:lnTo>
                    <a:pt x="1" y="20730"/>
                  </a:lnTo>
                  <a:lnTo>
                    <a:pt x="11156" y="20730"/>
                  </a:lnTo>
                  <a:cubicBezTo>
                    <a:pt x="15077" y="20730"/>
                    <a:pt x="18269" y="17538"/>
                    <a:pt x="18269" y="13587"/>
                  </a:cubicBezTo>
                  <a:lnTo>
                    <a:pt x="18269" y="7143"/>
                  </a:lnTo>
                  <a:cubicBezTo>
                    <a:pt x="18269" y="3192"/>
                    <a:pt x="15077" y="0"/>
                    <a:pt x="1115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616;p62">
              <a:extLst>
                <a:ext uri="{FF2B5EF4-FFF2-40B4-BE49-F238E27FC236}">
                  <a16:creationId xmlns:a16="http://schemas.microsoft.com/office/drawing/2014/main" id="{BB5A5077-6805-4F49-B217-9285A451ADCB}"/>
                </a:ext>
              </a:extLst>
            </p:cNvPr>
            <p:cNvSpPr/>
            <p:nvPr/>
          </p:nvSpPr>
          <p:spPr>
            <a:xfrm>
              <a:off x="1274000" y="1783400"/>
              <a:ext cx="1342775" cy="817650"/>
            </a:xfrm>
            <a:custGeom>
              <a:avLst/>
              <a:gdLst/>
              <a:ahLst/>
              <a:cxnLst/>
              <a:rect l="l" t="t" r="r" b="b"/>
              <a:pathLst>
                <a:path w="53711" h="32706" extrusionOk="0">
                  <a:moveTo>
                    <a:pt x="1" y="0"/>
                  </a:moveTo>
                  <a:lnTo>
                    <a:pt x="1" y="32706"/>
                  </a:lnTo>
                  <a:lnTo>
                    <a:pt x="53710" y="32706"/>
                  </a:lnTo>
                  <a:lnTo>
                    <a:pt x="537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617;p62">
              <a:extLst>
                <a:ext uri="{FF2B5EF4-FFF2-40B4-BE49-F238E27FC236}">
                  <a16:creationId xmlns:a16="http://schemas.microsoft.com/office/drawing/2014/main" id="{B2C9329E-0648-4457-AEE6-30B34AC3AFA4}"/>
                </a:ext>
              </a:extLst>
            </p:cNvPr>
            <p:cNvSpPr/>
            <p:nvPr/>
          </p:nvSpPr>
          <p:spPr>
            <a:xfrm>
              <a:off x="1247425" y="1783400"/>
              <a:ext cx="1342750" cy="818425"/>
            </a:xfrm>
            <a:custGeom>
              <a:avLst/>
              <a:gdLst/>
              <a:ahLst/>
              <a:cxnLst/>
              <a:rect l="l" t="t" r="r" b="b"/>
              <a:pathLst>
                <a:path w="53710" h="32737" extrusionOk="0">
                  <a:moveTo>
                    <a:pt x="0" y="0"/>
                  </a:moveTo>
                  <a:lnTo>
                    <a:pt x="0" y="32736"/>
                  </a:lnTo>
                  <a:lnTo>
                    <a:pt x="53709" y="32736"/>
                  </a:lnTo>
                  <a:lnTo>
                    <a:pt x="5370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618;p62">
              <a:extLst>
                <a:ext uri="{FF2B5EF4-FFF2-40B4-BE49-F238E27FC236}">
                  <a16:creationId xmlns:a16="http://schemas.microsoft.com/office/drawing/2014/main" id="{5DDD6FE1-A530-4F8D-B031-CEA21001191E}"/>
                </a:ext>
              </a:extLst>
            </p:cNvPr>
            <p:cNvSpPr/>
            <p:nvPr/>
          </p:nvSpPr>
          <p:spPr>
            <a:xfrm>
              <a:off x="1324925" y="1860900"/>
              <a:ext cx="1187725" cy="663400"/>
            </a:xfrm>
            <a:custGeom>
              <a:avLst/>
              <a:gdLst/>
              <a:ahLst/>
              <a:cxnLst/>
              <a:rect l="l" t="t" r="r" b="b"/>
              <a:pathLst>
                <a:path w="47509" h="26536" extrusionOk="0">
                  <a:moveTo>
                    <a:pt x="0" y="0"/>
                  </a:moveTo>
                  <a:lnTo>
                    <a:pt x="0" y="26536"/>
                  </a:lnTo>
                  <a:lnTo>
                    <a:pt x="47509" y="26536"/>
                  </a:lnTo>
                  <a:lnTo>
                    <a:pt x="4750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619;p62">
              <a:extLst>
                <a:ext uri="{FF2B5EF4-FFF2-40B4-BE49-F238E27FC236}">
                  <a16:creationId xmlns:a16="http://schemas.microsoft.com/office/drawing/2014/main" id="{16D5CCA8-BED6-4121-997E-0D7B543558FA}"/>
                </a:ext>
              </a:extLst>
            </p:cNvPr>
            <p:cNvSpPr/>
            <p:nvPr/>
          </p:nvSpPr>
          <p:spPr>
            <a:xfrm>
              <a:off x="1324925" y="1860900"/>
              <a:ext cx="1187725" cy="663400"/>
            </a:xfrm>
            <a:custGeom>
              <a:avLst/>
              <a:gdLst/>
              <a:ahLst/>
              <a:cxnLst/>
              <a:rect l="l" t="t" r="r" b="b"/>
              <a:pathLst>
                <a:path w="47509" h="26536" extrusionOk="0">
                  <a:moveTo>
                    <a:pt x="0" y="0"/>
                  </a:moveTo>
                  <a:lnTo>
                    <a:pt x="0" y="26536"/>
                  </a:lnTo>
                  <a:lnTo>
                    <a:pt x="4750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620;p62">
              <a:extLst>
                <a:ext uri="{FF2B5EF4-FFF2-40B4-BE49-F238E27FC236}">
                  <a16:creationId xmlns:a16="http://schemas.microsoft.com/office/drawing/2014/main" id="{2196565A-2BC9-41C0-9A57-302CFAD18A44}"/>
                </a:ext>
              </a:extLst>
            </p:cNvPr>
            <p:cNvSpPr/>
            <p:nvPr/>
          </p:nvSpPr>
          <p:spPr>
            <a:xfrm>
              <a:off x="3419175" y="1783400"/>
              <a:ext cx="262200" cy="162625"/>
            </a:xfrm>
            <a:custGeom>
              <a:avLst/>
              <a:gdLst/>
              <a:ahLst/>
              <a:cxnLst/>
              <a:rect l="l" t="t" r="r" b="b"/>
              <a:pathLst>
                <a:path w="10488" h="6505" extrusionOk="0">
                  <a:moveTo>
                    <a:pt x="1885" y="0"/>
                  </a:moveTo>
                  <a:cubicBezTo>
                    <a:pt x="852" y="0"/>
                    <a:pt x="1" y="851"/>
                    <a:pt x="1" y="1915"/>
                  </a:cubicBezTo>
                  <a:lnTo>
                    <a:pt x="1" y="4620"/>
                  </a:lnTo>
                  <a:cubicBezTo>
                    <a:pt x="1" y="5654"/>
                    <a:pt x="852" y="6505"/>
                    <a:pt x="1885" y="6505"/>
                  </a:cubicBezTo>
                  <a:lnTo>
                    <a:pt x="8603" y="6505"/>
                  </a:lnTo>
                  <a:cubicBezTo>
                    <a:pt x="9667" y="6505"/>
                    <a:pt x="10487" y="5654"/>
                    <a:pt x="10487" y="4620"/>
                  </a:cubicBezTo>
                  <a:lnTo>
                    <a:pt x="10487" y="1915"/>
                  </a:lnTo>
                  <a:cubicBezTo>
                    <a:pt x="10487" y="851"/>
                    <a:pt x="9667" y="0"/>
                    <a:pt x="860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621;p62">
              <a:extLst>
                <a:ext uri="{FF2B5EF4-FFF2-40B4-BE49-F238E27FC236}">
                  <a16:creationId xmlns:a16="http://schemas.microsoft.com/office/drawing/2014/main" id="{0D508F5D-01A8-4FCA-B605-1EEF4CEC2639}"/>
                </a:ext>
              </a:extLst>
            </p:cNvPr>
            <p:cNvSpPr/>
            <p:nvPr/>
          </p:nvSpPr>
          <p:spPr>
            <a:xfrm>
              <a:off x="3381200" y="1783400"/>
              <a:ext cx="262950" cy="162625"/>
            </a:xfrm>
            <a:custGeom>
              <a:avLst/>
              <a:gdLst/>
              <a:ahLst/>
              <a:cxnLst/>
              <a:rect l="l" t="t" r="r" b="b"/>
              <a:pathLst>
                <a:path w="10518" h="6505" extrusionOk="0">
                  <a:moveTo>
                    <a:pt x="1915" y="0"/>
                  </a:moveTo>
                  <a:cubicBezTo>
                    <a:pt x="851" y="0"/>
                    <a:pt x="0" y="851"/>
                    <a:pt x="0" y="1885"/>
                  </a:cubicBezTo>
                  <a:lnTo>
                    <a:pt x="0" y="4620"/>
                  </a:lnTo>
                  <a:cubicBezTo>
                    <a:pt x="0" y="5654"/>
                    <a:pt x="851" y="6505"/>
                    <a:pt x="1915" y="6505"/>
                  </a:cubicBezTo>
                  <a:lnTo>
                    <a:pt x="8602" y="6505"/>
                  </a:lnTo>
                  <a:cubicBezTo>
                    <a:pt x="9666" y="6505"/>
                    <a:pt x="10517" y="5654"/>
                    <a:pt x="10517" y="4620"/>
                  </a:cubicBezTo>
                  <a:lnTo>
                    <a:pt x="10517" y="1885"/>
                  </a:lnTo>
                  <a:cubicBezTo>
                    <a:pt x="10517" y="851"/>
                    <a:pt x="9666" y="0"/>
                    <a:pt x="860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622;p62">
              <a:extLst>
                <a:ext uri="{FF2B5EF4-FFF2-40B4-BE49-F238E27FC236}">
                  <a16:creationId xmlns:a16="http://schemas.microsoft.com/office/drawing/2014/main" id="{12B9E174-6F6D-4A52-A14D-081EDCA7F3D3}"/>
                </a:ext>
              </a:extLst>
            </p:cNvPr>
            <p:cNvSpPr/>
            <p:nvPr/>
          </p:nvSpPr>
          <p:spPr>
            <a:xfrm>
              <a:off x="3468575" y="1832025"/>
              <a:ext cx="77550" cy="65850"/>
            </a:xfrm>
            <a:custGeom>
              <a:avLst/>
              <a:gdLst/>
              <a:ahLst/>
              <a:cxnLst/>
              <a:rect l="l" t="t" r="r" b="b"/>
              <a:pathLst>
                <a:path w="3102" h="2634" extrusionOk="0">
                  <a:moveTo>
                    <a:pt x="1794" y="0"/>
                  </a:moveTo>
                  <a:cubicBezTo>
                    <a:pt x="609" y="0"/>
                    <a:pt x="1" y="1399"/>
                    <a:pt x="852" y="2250"/>
                  </a:cubicBezTo>
                  <a:cubicBezTo>
                    <a:pt x="1117" y="2515"/>
                    <a:pt x="1445" y="2634"/>
                    <a:pt x="1768" y="2634"/>
                  </a:cubicBezTo>
                  <a:cubicBezTo>
                    <a:pt x="2446" y="2634"/>
                    <a:pt x="3101" y="2110"/>
                    <a:pt x="3101" y="1307"/>
                  </a:cubicBezTo>
                  <a:cubicBezTo>
                    <a:pt x="3101" y="578"/>
                    <a:pt x="2524" y="0"/>
                    <a:pt x="179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623;p62">
              <a:extLst>
                <a:ext uri="{FF2B5EF4-FFF2-40B4-BE49-F238E27FC236}">
                  <a16:creationId xmlns:a16="http://schemas.microsoft.com/office/drawing/2014/main" id="{2ED83897-D417-45FE-93D4-8BCBCC32D337}"/>
                </a:ext>
              </a:extLst>
            </p:cNvPr>
            <p:cNvSpPr/>
            <p:nvPr/>
          </p:nvSpPr>
          <p:spPr>
            <a:xfrm>
              <a:off x="3490625" y="1847975"/>
              <a:ext cx="38775" cy="33525"/>
            </a:xfrm>
            <a:custGeom>
              <a:avLst/>
              <a:gdLst/>
              <a:ahLst/>
              <a:cxnLst/>
              <a:rect l="l" t="t" r="r" b="b"/>
              <a:pathLst>
                <a:path w="1551" h="1341" extrusionOk="0">
                  <a:moveTo>
                    <a:pt x="882" y="1"/>
                  </a:moveTo>
                  <a:cubicBezTo>
                    <a:pt x="304" y="1"/>
                    <a:pt x="0" y="730"/>
                    <a:pt x="426" y="1156"/>
                  </a:cubicBezTo>
                  <a:cubicBezTo>
                    <a:pt x="553" y="1283"/>
                    <a:pt x="714" y="1341"/>
                    <a:pt x="875" y="1341"/>
                  </a:cubicBezTo>
                  <a:cubicBezTo>
                    <a:pt x="1214" y="1341"/>
                    <a:pt x="1550" y="1082"/>
                    <a:pt x="1550" y="669"/>
                  </a:cubicBezTo>
                  <a:cubicBezTo>
                    <a:pt x="1550" y="305"/>
                    <a:pt x="1246" y="1"/>
                    <a:pt x="882"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624;p62">
              <a:extLst>
                <a:ext uri="{FF2B5EF4-FFF2-40B4-BE49-F238E27FC236}">
                  <a16:creationId xmlns:a16="http://schemas.microsoft.com/office/drawing/2014/main" id="{3F914952-E88E-40CC-BF0F-45FCE67FC71D}"/>
                </a:ext>
              </a:extLst>
            </p:cNvPr>
            <p:cNvSpPr/>
            <p:nvPr/>
          </p:nvSpPr>
          <p:spPr>
            <a:xfrm>
              <a:off x="3253500" y="2404988"/>
              <a:ext cx="457475" cy="518250"/>
            </a:xfrm>
            <a:custGeom>
              <a:avLst/>
              <a:gdLst/>
              <a:ahLst/>
              <a:cxnLst/>
              <a:rect l="l" t="t" r="r" b="b"/>
              <a:pathLst>
                <a:path w="18299" h="20730" extrusionOk="0">
                  <a:moveTo>
                    <a:pt x="0" y="0"/>
                  </a:moveTo>
                  <a:lnTo>
                    <a:pt x="0" y="760"/>
                  </a:lnTo>
                  <a:lnTo>
                    <a:pt x="11155" y="760"/>
                  </a:lnTo>
                  <a:cubicBezTo>
                    <a:pt x="14681" y="760"/>
                    <a:pt x="17508" y="3617"/>
                    <a:pt x="17538" y="7143"/>
                  </a:cubicBezTo>
                  <a:lnTo>
                    <a:pt x="17538" y="13587"/>
                  </a:lnTo>
                  <a:cubicBezTo>
                    <a:pt x="17508" y="17113"/>
                    <a:pt x="14681" y="19970"/>
                    <a:pt x="11155" y="19970"/>
                  </a:cubicBezTo>
                  <a:lnTo>
                    <a:pt x="0" y="19970"/>
                  </a:lnTo>
                  <a:lnTo>
                    <a:pt x="0" y="20730"/>
                  </a:lnTo>
                  <a:lnTo>
                    <a:pt x="11155" y="20730"/>
                  </a:lnTo>
                  <a:cubicBezTo>
                    <a:pt x="15076" y="20730"/>
                    <a:pt x="18268" y="17538"/>
                    <a:pt x="18298" y="13587"/>
                  </a:cubicBezTo>
                  <a:lnTo>
                    <a:pt x="18298" y="7143"/>
                  </a:lnTo>
                  <a:cubicBezTo>
                    <a:pt x="18268" y="3192"/>
                    <a:pt x="15076" y="0"/>
                    <a:pt x="111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625;p62">
              <a:extLst>
                <a:ext uri="{FF2B5EF4-FFF2-40B4-BE49-F238E27FC236}">
                  <a16:creationId xmlns:a16="http://schemas.microsoft.com/office/drawing/2014/main" id="{32C91F41-4D2C-46AA-819A-9DFCF8E8AC68}"/>
                </a:ext>
              </a:extLst>
            </p:cNvPr>
            <p:cNvSpPr/>
            <p:nvPr/>
          </p:nvSpPr>
          <p:spPr>
            <a:xfrm>
              <a:off x="227402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626;p62">
              <a:extLst>
                <a:ext uri="{FF2B5EF4-FFF2-40B4-BE49-F238E27FC236}">
                  <a16:creationId xmlns:a16="http://schemas.microsoft.com/office/drawing/2014/main" id="{DECB4C9C-CDBB-4100-9120-AB8BF71789F5}"/>
                </a:ext>
              </a:extLst>
            </p:cNvPr>
            <p:cNvSpPr/>
            <p:nvPr/>
          </p:nvSpPr>
          <p:spPr>
            <a:xfrm>
              <a:off x="2192725" y="2928550"/>
              <a:ext cx="738625" cy="1414925"/>
            </a:xfrm>
            <a:custGeom>
              <a:avLst/>
              <a:gdLst/>
              <a:ahLst/>
              <a:cxnLst/>
              <a:rect l="l" t="t" r="r" b="b"/>
              <a:pathLst>
                <a:path w="29545" h="56597" extrusionOk="0">
                  <a:moveTo>
                    <a:pt x="0" y="0"/>
                  </a:moveTo>
                  <a:lnTo>
                    <a:pt x="0" y="34621"/>
                  </a:lnTo>
                  <a:cubicBezTo>
                    <a:pt x="31" y="46749"/>
                    <a:pt x="9848" y="56566"/>
                    <a:pt x="21976" y="56597"/>
                  </a:cubicBezTo>
                  <a:lnTo>
                    <a:pt x="29545" y="56597"/>
                  </a:lnTo>
                  <a:lnTo>
                    <a:pt x="29545" y="55837"/>
                  </a:lnTo>
                  <a:lnTo>
                    <a:pt x="21976" y="55837"/>
                  </a:lnTo>
                  <a:cubicBezTo>
                    <a:pt x="10274" y="55806"/>
                    <a:pt x="791" y="46323"/>
                    <a:pt x="760" y="34621"/>
                  </a:cubicBezTo>
                  <a:lnTo>
                    <a:pt x="76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627;p62">
              <a:extLst>
                <a:ext uri="{FF2B5EF4-FFF2-40B4-BE49-F238E27FC236}">
                  <a16:creationId xmlns:a16="http://schemas.microsoft.com/office/drawing/2014/main" id="{CF01AD25-1C33-41BF-977D-AD14B6CABC8F}"/>
                </a:ext>
              </a:extLst>
            </p:cNvPr>
            <p:cNvSpPr/>
            <p:nvPr/>
          </p:nvSpPr>
          <p:spPr>
            <a:xfrm>
              <a:off x="2310500" y="2928550"/>
              <a:ext cx="738650" cy="1414925"/>
            </a:xfrm>
            <a:custGeom>
              <a:avLst/>
              <a:gdLst/>
              <a:ahLst/>
              <a:cxnLst/>
              <a:rect l="l" t="t" r="r" b="b"/>
              <a:pathLst>
                <a:path w="29546" h="56597" extrusionOk="0">
                  <a:moveTo>
                    <a:pt x="1" y="0"/>
                  </a:moveTo>
                  <a:lnTo>
                    <a:pt x="1" y="34621"/>
                  </a:lnTo>
                  <a:cubicBezTo>
                    <a:pt x="1" y="46749"/>
                    <a:pt x="9849" y="56566"/>
                    <a:pt x="21977" y="56597"/>
                  </a:cubicBezTo>
                  <a:lnTo>
                    <a:pt x="29545" y="56597"/>
                  </a:lnTo>
                  <a:lnTo>
                    <a:pt x="29545" y="55837"/>
                  </a:lnTo>
                  <a:lnTo>
                    <a:pt x="21977" y="55837"/>
                  </a:lnTo>
                  <a:cubicBezTo>
                    <a:pt x="10244" y="55806"/>
                    <a:pt x="76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628;p62">
              <a:extLst>
                <a:ext uri="{FF2B5EF4-FFF2-40B4-BE49-F238E27FC236}">
                  <a16:creationId xmlns:a16="http://schemas.microsoft.com/office/drawing/2014/main" id="{61454E29-764B-4F00-A2F6-80BC7A1771DF}"/>
                </a:ext>
              </a:extLst>
            </p:cNvPr>
            <p:cNvSpPr/>
            <p:nvPr/>
          </p:nvSpPr>
          <p:spPr>
            <a:xfrm>
              <a:off x="203997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629;p62">
              <a:extLst>
                <a:ext uri="{FF2B5EF4-FFF2-40B4-BE49-F238E27FC236}">
                  <a16:creationId xmlns:a16="http://schemas.microsoft.com/office/drawing/2014/main" id="{BD45FC84-A2E5-4E4B-AB09-27452664A3CE}"/>
                </a:ext>
              </a:extLst>
            </p:cNvPr>
            <p:cNvSpPr/>
            <p:nvPr/>
          </p:nvSpPr>
          <p:spPr>
            <a:xfrm>
              <a:off x="1775550" y="2601025"/>
              <a:ext cx="357175" cy="203675"/>
            </a:xfrm>
            <a:custGeom>
              <a:avLst/>
              <a:gdLst/>
              <a:ahLst/>
              <a:cxnLst/>
              <a:rect l="l" t="t" r="r" b="b"/>
              <a:pathLst>
                <a:path w="14287" h="8147" extrusionOk="0">
                  <a:moveTo>
                    <a:pt x="0" y="1"/>
                  </a:moveTo>
                  <a:lnTo>
                    <a:pt x="0" y="8147"/>
                  </a:lnTo>
                  <a:lnTo>
                    <a:pt x="14286" y="8147"/>
                  </a:lnTo>
                  <a:lnTo>
                    <a:pt x="1428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630;p62">
              <a:extLst>
                <a:ext uri="{FF2B5EF4-FFF2-40B4-BE49-F238E27FC236}">
                  <a16:creationId xmlns:a16="http://schemas.microsoft.com/office/drawing/2014/main" id="{9F810344-3AA3-4FFD-8177-E4D80AEEF957}"/>
                </a:ext>
              </a:extLst>
            </p:cNvPr>
            <p:cNvSpPr/>
            <p:nvPr/>
          </p:nvSpPr>
          <p:spPr>
            <a:xfrm>
              <a:off x="1671425" y="2804675"/>
              <a:ext cx="565400" cy="31175"/>
            </a:xfrm>
            <a:custGeom>
              <a:avLst/>
              <a:gdLst/>
              <a:ahLst/>
              <a:cxnLst/>
              <a:rect l="l" t="t" r="r" b="b"/>
              <a:pathLst>
                <a:path w="22616" h="1247" extrusionOk="0">
                  <a:moveTo>
                    <a:pt x="1" y="1"/>
                  </a:moveTo>
                  <a:lnTo>
                    <a:pt x="1" y="1247"/>
                  </a:lnTo>
                  <a:lnTo>
                    <a:pt x="22615" y="1247"/>
                  </a:lnTo>
                  <a:lnTo>
                    <a:pt x="2261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631;p62">
              <a:extLst>
                <a:ext uri="{FF2B5EF4-FFF2-40B4-BE49-F238E27FC236}">
                  <a16:creationId xmlns:a16="http://schemas.microsoft.com/office/drawing/2014/main" id="{59717EBC-9D9B-4C30-A9F4-F4FEAFC79C13}"/>
                </a:ext>
              </a:extLst>
            </p:cNvPr>
            <p:cNvSpPr/>
            <p:nvPr/>
          </p:nvSpPr>
          <p:spPr>
            <a:xfrm>
              <a:off x="2728450" y="1962725"/>
              <a:ext cx="1124650" cy="715075"/>
            </a:xfrm>
            <a:custGeom>
              <a:avLst/>
              <a:gdLst/>
              <a:ahLst/>
              <a:cxnLst/>
              <a:rect l="l" t="t" r="r" b="b"/>
              <a:pathLst>
                <a:path w="44986" h="28603" extrusionOk="0">
                  <a:moveTo>
                    <a:pt x="0" y="0"/>
                  </a:moveTo>
                  <a:lnTo>
                    <a:pt x="0" y="28603"/>
                  </a:lnTo>
                  <a:lnTo>
                    <a:pt x="44986" y="28603"/>
                  </a:lnTo>
                  <a:lnTo>
                    <a:pt x="449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632;p62">
              <a:extLst>
                <a:ext uri="{FF2B5EF4-FFF2-40B4-BE49-F238E27FC236}">
                  <a16:creationId xmlns:a16="http://schemas.microsoft.com/office/drawing/2014/main" id="{3776BDE8-DBB5-412D-A1E6-8E819081CE7E}"/>
                </a:ext>
              </a:extLst>
            </p:cNvPr>
            <p:cNvSpPr/>
            <p:nvPr/>
          </p:nvSpPr>
          <p:spPr>
            <a:xfrm>
              <a:off x="2704875" y="1962725"/>
              <a:ext cx="1125450" cy="715075"/>
            </a:xfrm>
            <a:custGeom>
              <a:avLst/>
              <a:gdLst/>
              <a:ahLst/>
              <a:cxnLst/>
              <a:rect l="l" t="t" r="r" b="b"/>
              <a:pathLst>
                <a:path w="45018" h="28603" extrusionOk="0">
                  <a:moveTo>
                    <a:pt x="1" y="0"/>
                  </a:moveTo>
                  <a:lnTo>
                    <a:pt x="1" y="28603"/>
                  </a:lnTo>
                  <a:lnTo>
                    <a:pt x="45017" y="28603"/>
                  </a:lnTo>
                  <a:lnTo>
                    <a:pt x="4501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633;p62">
              <a:extLst>
                <a:ext uri="{FF2B5EF4-FFF2-40B4-BE49-F238E27FC236}">
                  <a16:creationId xmlns:a16="http://schemas.microsoft.com/office/drawing/2014/main" id="{A745F66A-81FC-4A3F-A545-7DB995B04123}"/>
                </a:ext>
              </a:extLst>
            </p:cNvPr>
            <p:cNvSpPr/>
            <p:nvPr/>
          </p:nvSpPr>
          <p:spPr>
            <a:xfrm>
              <a:off x="2772525" y="2030350"/>
              <a:ext cx="989400" cy="579825"/>
            </a:xfrm>
            <a:custGeom>
              <a:avLst/>
              <a:gdLst/>
              <a:ahLst/>
              <a:cxnLst/>
              <a:rect l="l" t="t" r="r" b="b"/>
              <a:pathLst>
                <a:path w="39576" h="23193" extrusionOk="0">
                  <a:moveTo>
                    <a:pt x="0" y="1"/>
                  </a:moveTo>
                  <a:lnTo>
                    <a:pt x="0" y="23192"/>
                  </a:lnTo>
                  <a:lnTo>
                    <a:pt x="39575" y="23192"/>
                  </a:lnTo>
                  <a:lnTo>
                    <a:pt x="3957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634;p62">
              <a:extLst>
                <a:ext uri="{FF2B5EF4-FFF2-40B4-BE49-F238E27FC236}">
                  <a16:creationId xmlns:a16="http://schemas.microsoft.com/office/drawing/2014/main" id="{16B1CF15-A3DA-47BD-AF6A-2F30AEE6206B}"/>
                </a:ext>
              </a:extLst>
            </p:cNvPr>
            <p:cNvSpPr/>
            <p:nvPr/>
          </p:nvSpPr>
          <p:spPr>
            <a:xfrm>
              <a:off x="2772525" y="2030350"/>
              <a:ext cx="990150" cy="579825"/>
            </a:xfrm>
            <a:custGeom>
              <a:avLst/>
              <a:gdLst/>
              <a:ahLst/>
              <a:cxnLst/>
              <a:rect l="l" t="t" r="r" b="b"/>
              <a:pathLst>
                <a:path w="39606" h="23193" extrusionOk="0">
                  <a:moveTo>
                    <a:pt x="0" y="1"/>
                  </a:moveTo>
                  <a:lnTo>
                    <a:pt x="0" y="23192"/>
                  </a:lnTo>
                  <a:lnTo>
                    <a:pt x="3960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635;p62">
              <a:extLst>
                <a:ext uri="{FF2B5EF4-FFF2-40B4-BE49-F238E27FC236}">
                  <a16:creationId xmlns:a16="http://schemas.microsoft.com/office/drawing/2014/main" id="{A1F11470-D6A4-46E2-881A-8BB47085A906}"/>
                </a:ext>
              </a:extLst>
            </p:cNvPr>
            <p:cNvSpPr/>
            <p:nvPr/>
          </p:nvSpPr>
          <p:spPr>
            <a:xfrm>
              <a:off x="3141825" y="2677775"/>
              <a:ext cx="312350" cy="130725"/>
            </a:xfrm>
            <a:custGeom>
              <a:avLst/>
              <a:gdLst/>
              <a:ahLst/>
              <a:cxnLst/>
              <a:rect l="l" t="t" r="r" b="b"/>
              <a:pathLst>
                <a:path w="12494" h="5229" extrusionOk="0">
                  <a:moveTo>
                    <a:pt x="1" y="1"/>
                  </a:moveTo>
                  <a:lnTo>
                    <a:pt x="1" y="5229"/>
                  </a:lnTo>
                  <a:lnTo>
                    <a:pt x="12493" y="5229"/>
                  </a:lnTo>
                  <a:lnTo>
                    <a:pt x="1249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636;p62">
              <a:extLst>
                <a:ext uri="{FF2B5EF4-FFF2-40B4-BE49-F238E27FC236}">
                  <a16:creationId xmlns:a16="http://schemas.microsoft.com/office/drawing/2014/main" id="{3DD1A885-798C-47B1-A69B-4F0188FF3B5F}"/>
                </a:ext>
              </a:extLst>
            </p:cNvPr>
            <p:cNvSpPr/>
            <p:nvPr/>
          </p:nvSpPr>
          <p:spPr>
            <a:xfrm>
              <a:off x="3051400" y="2808475"/>
              <a:ext cx="493950" cy="27375"/>
            </a:xfrm>
            <a:custGeom>
              <a:avLst/>
              <a:gdLst/>
              <a:ahLst/>
              <a:cxnLst/>
              <a:rect l="l" t="t" r="r" b="b"/>
              <a:pathLst>
                <a:path w="19758" h="1095" extrusionOk="0">
                  <a:moveTo>
                    <a:pt x="0" y="1"/>
                  </a:moveTo>
                  <a:lnTo>
                    <a:pt x="0" y="1095"/>
                  </a:lnTo>
                  <a:lnTo>
                    <a:pt x="19758" y="1095"/>
                  </a:lnTo>
                  <a:lnTo>
                    <a:pt x="1975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637;p62">
              <a:extLst>
                <a:ext uri="{FF2B5EF4-FFF2-40B4-BE49-F238E27FC236}">
                  <a16:creationId xmlns:a16="http://schemas.microsoft.com/office/drawing/2014/main" id="{160870CA-2CCA-4CC3-80C7-F277A6C8BADE}"/>
                </a:ext>
              </a:extLst>
            </p:cNvPr>
            <p:cNvSpPr/>
            <p:nvPr/>
          </p:nvSpPr>
          <p:spPr>
            <a:xfrm>
              <a:off x="2807475" y="3151950"/>
              <a:ext cx="788025" cy="1191525"/>
            </a:xfrm>
            <a:custGeom>
              <a:avLst/>
              <a:gdLst/>
              <a:ahLst/>
              <a:cxnLst/>
              <a:rect l="l" t="t" r="r" b="b"/>
              <a:pathLst>
                <a:path w="31521" h="47661" extrusionOk="0">
                  <a:moveTo>
                    <a:pt x="0" y="1"/>
                  </a:moveTo>
                  <a:lnTo>
                    <a:pt x="0" y="47661"/>
                  </a:lnTo>
                  <a:lnTo>
                    <a:pt x="31521" y="47661"/>
                  </a:lnTo>
                  <a:lnTo>
                    <a:pt x="315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638;p62">
              <a:extLst>
                <a:ext uri="{FF2B5EF4-FFF2-40B4-BE49-F238E27FC236}">
                  <a16:creationId xmlns:a16="http://schemas.microsoft.com/office/drawing/2014/main" id="{3337FE48-C6FC-4562-8C3D-BFBC88F1DCBC}"/>
                </a:ext>
              </a:extLst>
            </p:cNvPr>
            <p:cNvSpPr/>
            <p:nvPr/>
          </p:nvSpPr>
          <p:spPr>
            <a:xfrm>
              <a:off x="2467050" y="3151950"/>
              <a:ext cx="544100" cy="1191525"/>
            </a:xfrm>
            <a:custGeom>
              <a:avLst/>
              <a:gdLst/>
              <a:ahLst/>
              <a:cxnLst/>
              <a:rect l="l" t="t" r="r" b="b"/>
              <a:pathLst>
                <a:path w="21764" h="47661" extrusionOk="0">
                  <a:moveTo>
                    <a:pt x="0" y="1"/>
                  </a:moveTo>
                  <a:lnTo>
                    <a:pt x="0" y="47661"/>
                  </a:lnTo>
                  <a:lnTo>
                    <a:pt x="21763" y="47661"/>
                  </a:lnTo>
                  <a:lnTo>
                    <a:pt x="2176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639;p62">
              <a:extLst>
                <a:ext uri="{FF2B5EF4-FFF2-40B4-BE49-F238E27FC236}">
                  <a16:creationId xmlns:a16="http://schemas.microsoft.com/office/drawing/2014/main" id="{75AA5915-A7DC-4B30-BE17-793F7E1FB9CC}"/>
                </a:ext>
              </a:extLst>
            </p:cNvPr>
            <p:cNvSpPr/>
            <p:nvPr/>
          </p:nvSpPr>
          <p:spPr>
            <a:xfrm>
              <a:off x="2917650" y="3082050"/>
              <a:ext cx="718900" cy="69925"/>
            </a:xfrm>
            <a:custGeom>
              <a:avLst/>
              <a:gdLst/>
              <a:ahLst/>
              <a:cxnLst/>
              <a:rect l="l" t="t" r="r" b="b"/>
              <a:pathLst>
                <a:path w="28756" h="2797" extrusionOk="0">
                  <a:moveTo>
                    <a:pt x="1429" y="0"/>
                  </a:moveTo>
                  <a:cubicBezTo>
                    <a:pt x="639" y="0"/>
                    <a:pt x="1" y="608"/>
                    <a:pt x="1" y="1398"/>
                  </a:cubicBezTo>
                  <a:cubicBezTo>
                    <a:pt x="1" y="2158"/>
                    <a:pt x="639" y="2797"/>
                    <a:pt x="1429" y="2797"/>
                  </a:cubicBezTo>
                  <a:lnTo>
                    <a:pt x="27327" y="2797"/>
                  </a:lnTo>
                  <a:cubicBezTo>
                    <a:pt x="28117" y="2797"/>
                    <a:pt x="28755" y="2158"/>
                    <a:pt x="28755" y="1398"/>
                  </a:cubicBezTo>
                  <a:cubicBezTo>
                    <a:pt x="28755" y="608"/>
                    <a:pt x="28117" y="0"/>
                    <a:pt x="2732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640;p62">
              <a:extLst>
                <a:ext uri="{FF2B5EF4-FFF2-40B4-BE49-F238E27FC236}">
                  <a16:creationId xmlns:a16="http://schemas.microsoft.com/office/drawing/2014/main" id="{BEBE14AD-CB0D-4C10-AAA9-5ADB38FBD38F}"/>
                </a:ext>
              </a:extLst>
            </p:cNvPr>
            <p:cNvSpPr/>
            <p:nvPr/>
          </p:nvSpPr>
          <p:spPr>
            <a:xfrm>
              <a:off x="2428275" y="3082050"/>
              <a:ext cx="614025" cy="69925"/>
            </a:xfrm>
            <a:custGeom>
              <a:avLst/>
              <a:gdLst/>
              <a:ahLst/>
              <a:cxnLst/>
              <a:rect l="l" t="t" r="r" b="b"/>
              <a:pathLst>
                <a:path w="24561" h="2797" extrusionOk="0">
                  <a:moveTo>
                    <a:pt x="1399" y="0"/>
                  </a:moveTo>
                  <a:cubicBezTo>
                    <a:pt x="639" y="0"/>
                    <a:pt x="1" y="608"/>
                    <a:pt x="1" y="1398"/>
                  </a:cubicBezTo>
                  <a:cubicBezTo>
                    <a:pt x="1" y="2158"/>
                    <a:pt x="639" y="2797"/>
                    <a:pt x="1399" y="2797"/>
                  </a:cubicBezTo>
                  <a:lnTo>
                    <a:pt x="23162" y="2797"/>
                  </a:lnTo>
                  <a:cubicBezTo>
                    <a:pt x="23922" y="2797"/>
                    <a:pt x="24561" y="2158"/>
                    <a:pt x="24561" y="1398"/>
                  </a:cubicBezTo>
                  <a:cubicBezTo>
                    <a:pt x="24561" y="608"/>
                    <a:pt x="23953" y="0"/>
                    <a:pt x="2316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641;p62">
              <a:extLst>
                <a:ext uri="{FF2B5EF4-FFF2-40B4-BE49-F238E27FC236}">
                  <a16:creationId xmlns:a16="http://schemas.microsoft.com/office/drawing/2014/main" id="{63848B4E-CAC1-4041-ACCF-12EA41867C6E}"/>
                </a:ext>
              </a:extLst>
            </p:cNvPr>
            <p:cNvSpPr/>
            <p:nvPr/>
          </p:nvSpPr>
          <p:spPr>
            <a:xfrm>
              <a:off x="2467050" y="3151950"/>
              <a:ext cx="544100" cy="9900"/>
            </a:xfrm>
            <a:custGeom>
              <a:avLst/>
              <a:gdLst/>
              <a:ahLst/>
              <a:cxnLst/>
              <a:rect l="l" t="t" r="r" b="b"/>
              <a:pathLst>
                <a:path w="21764" h="396" extrusionOk="0">
                  <a:moveTo>
                    <a:pt x="0" y="1"/>
                  </a:moveTo>
                  <a:lnTo>
                    <a:pt x="0" y="396"/>
                  </a:lnTo>
                  <a:lnTo>
                    <a:pt x="21763" y="396"/>
                  </a:lnTo>
                  <a:lnTo>
                    <a:pt x="2176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642;p62">
              <a:extLst>
                <a:ext uri="{FF2B5EF4-FFF2-40B4-BE49-F238E27FC236}">
                  <a16:creationId xmlns:a16="http://schemas.microsoft.com/office/drawing/2014/main" id="{CC86F27B-8944-4C7D-BD0F-1DAB7261CD32}"/>
                </a:ext>
              </a:extLst>
            </p:cNvPr>
            <p:cNvSpPr/>
            <p:nvPr/>
          </p:nvSpPr>
          <p:spPr>
            <a:xfrm>
              <a:off x="2634975" y="3161825"/>
              <a:ext cx="208225" cy="31950"/>
            </a:xfrm>
            <a:custGeom>
              <a:avLst/>
              <a:gdLst/>
              <a:ahLst/>
              <a:cxnLst/>
              <a:rect l="l" t="t" r="r" b="b"/>
              <a:pathLst>
                <a:path w="8329" h="1278" extrusionOk="0">
                  <a:moveTo>
                    <a:pt x="1" y="1"/>
                  </a:moveTo>
                  <a:lnTo>
                    <a:pt x="973" y="1277"/>
                  </a:lnTo>
                  <a:lnTo>
                    <a:pt x="7356" y="1277"/>
                  </a:lnTo>
                  <a:lnTo>
                    <a:pt x="832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643;p62">
              <a:extLst>
                <a:ext uri="{FF2B5EF4-FFF2-40B4-BE49-F238E27FC236}">
                  <a16:creationId xmlns:a16="http://schemas.microsoft.com/office/drawing/2014/main" id="{2864357C-E43D-408A-B6B1-40694DD08FA2}"/>
                </a:ext>
              </a:extLst>
            </p:cNvPr>
            <p:cNvSpPr/>
            <p:nvPr/>
          </p:nvSpPr>
          <p:spPr>
            <a:xfrm>
              <a:off x="2467050" y="339360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644;p62">
              <a:extLst>
                <a:ext uri="{FF2B5EF4-FFF2-40B4-BE49-F238E27FC236}">
                  <a16:creationId xmlns:a16="http://schemas.microsoft.com/office/drawing/2014/main" id="{86D9B2FB-FC07-4AAD-A530-B1A248A76D43}"/>
                </a:ext>
              </a:extLst>
            </p:cNvPr>
            <p:cNvSpPr/>
            <p:nvPr/>
          </p:nvSpPr>
          <p:spPr>
            <a:xfrm>
              <a:off x="2634975" y="34034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645;p62">
              <a:extLst>
                <a:ext uri="{FF2B5EF4-FFF2-40B4-BE49-F238E27FC236}">
                  <a16:creationId xmlns:a16="http://schemas.microsoft.com/office/drawing/2014/main" id="{8AB39F2E-5608-474D-89A2-89A6913D7107}"/>
                </a:ext>
              </a:extLst>
            </p:cNvPr>
            <p:cNvSpPr/>
            <p:nvPr/>
          </p:nvSpPr>
          <p:spPr>
            <a:xfrm>
              <a:off x="2467050" y="363525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646;p62">
              <a:extLst>
                <a:ext uri="{FF2B5EF4-FFF2-40B4-BE49-F238E27FC236}">
                  <a16:creationId xmlns:a16="http://schemas.microsoft.com/office/drawing/2014/main" id="{B222674C-1BDE-43CD-8FBB-5FA16F3E2F5B}"/>
                </a:ext>
              </a:extLst>
            </p:cNvPr>
            <p:cNvSpPr/>
            <p:nvPr/>
          </p:nvSpPr>
          <p:spPr>
            <a:xfrm>
              <a:off x="2634975" y="364512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647;p62">
              <a:extLst>
                <a:ext uri="{FF2B5EF4-FFF2-40B4-BE49-F238E27FC236}">
                  <a16:creationId xmlns:a16="http://schemas.microsoft.com/office/drawing/2014/main" id="{8D2AC2F9-FBF9-43B7-9EF7-1093493457CE}"/>
                </a:ext>
              </a:extLst>
            </p:cNvPr>
            <p:cNvSpPr/>
            <p:nvPr/>
          </p:nvSpPr>
          <p:spPr>
            <a:xfrm>
              <a:off x="2467050" y="3877650"/>
              <a:ext cx="544100" cy="9150"/>
            </a:xfrm>
            <a:custGeom>
              <a:avLst/>
              <a:gdLst/>
              <a:ahLst/>
              <a:cxnLst/>
              <a:rect l="l" t="t" r="r" b="b"/>
              <a:pathLst>
                <a:path w="21764" h="366"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648;p62">
              <a:extLst>
                <a:ext uri="{FF2B5EF4-FFF2-40B4-BE49-F238E27FC236}">
                  <a16:creationId xmlns:a16="http://schemas.microsoft.com/office/drawing/2014/main" id="{44860DFB-0237-4852-BD01-2EC3DCBEB0D8}"/>
                </a:ext>
              </a:extLst>
            </p:cNvPr>
            <p:cNvSpPr/>
            <p:nvPr/>
          </p:nvSpPr>
          <p:spPr>
            <a:xfrm>
              <a:off x="2634975" y="38867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649;p62">
              <a:extLst>
                <a:ext uri="{FF2B5EF4-FFF2-40B4-BE49-F238E27FC236}">
                  <a16:creationId xmlns:a16="http://schemas.microsoft.com/office/drawing/2014/main" id="{17A69AE0-D775-48D1-872A-9E3F169C07D7}"/>
                </a:ext>
              </a:extLst>
            </p:cNvPr>
            <p:cNvSpPr/>
            <p:nvPr/>
          </p:nvSpPr>
          <p:spPr>
            <a:xfrm>
              <a:off x="2467050" y="4119300"/>
              <a:ext cx="544100" cy="9125"/>
            </a:xfrm>
            <a:custGeom>
              <a:avLst/>
              <a:gdLst/>
              <a:ahLst/>
              <a:cxnLst/>
              <a:rect l="l" t="t" r="r" b="b"/>
              <a:pathLst>
                <a:path w="21764" h="365"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650;p62">
              <a:extLst>
                <a:ext uri="{FF2B5EF4-FFF2-40B4-BE49-F238E27FC236}">
                  <a16:creationId xmlns:a16="http://schemas.microsoft.com/office/drawing/2014/main" id="{C90BD393-3278-4D18-B818-CBB3E4E8B535}"/>
                </a:ext>
              </a:extLst>
            </p:cNvPr>
            <p:cNvSpPr/>
            <p:nvPr/>
          </p:nvSpPr>
          <p:spPr>
            <a:xfrm>
              <a:off x="2634975" y="4129175"/>
              <a:ext cx="208225" cy="31925"/>
            </a:xfrm>
            <a:custGeom>
              <a:avLst/>
              <a:gdLst/>
              <a:ahLst/>
              <a:cxnLst/>
              <a:rect l="l" t="t" r="r" b="b"/>
              <a:pathLst>
                <a:path w="8329" h="1277" extrusionOk="0">
                  <a:moveTo>
                    <a:pt x="1" y="0"/>
                  </a:moveTo>
                  <a:lnTo>
                    <a:pt x="973" y="1277"/>
                  </a:lnTo>
                  <a:lnTo>
                    <a:pt x="7356" y="127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651;p62">
              <a:extLst>
                <a:ext uri="{FF2B5EF4-FFF2-40B4-BE49-F238E27FC236}">
                  <a16:creationId xmlns:a16="http://schemas.microsoft.com/office/drawing/2014/main" id="{76226410-98B7-48BF-BF75-60AB2FBF612F}"/>
                </a:ext>
              </a:extLst>
            </p:cNvPr>
            <p:cNvSpPr/>
            <p:nvPr/>
          </p:nvSpPr>
          <p:spPr>
            <a:xfrm>
              <a:off x="1144075" y="2836600"/>
              <a:ext cx="2823025" cy="100325"/>
            </a:xfrm>
            <a:custGeom>
              <a:avLst/>
              <a:gdLst/>
              <a:ahLst/>
              <a:cxnLst/>
              <a:rect l="l" t="t" r="r" b="b"/>
              <a:pathLst>
                <a:path w="112921" h="4013" extrusionOk="0">
                  <a:moveTo>
                    <a:pt x="2006" y="0"/>
                  </a:moveTo>
                  <a:cubicBezTo>
                    <a:pt x="912" y="0"/>
                    <a:pt x="0" y="882"/>
                    <a:pt x="31" y="2006"/>
                  </a:cubicBezTo>
                  <a:cubicBezTo>
                    <a:pt x="31" y="3101"/>
                    <a:pt x="912" y="4013"/>
                    <a:pt x="2006" y="4013"/>
                  </a:cubicBezTo>
                  <a:lnTo>
                    <a:pt x="110945" y="4013"/>
                  </a:lnTo>
                  <a:cubicBezTo>
                    <a:pt x="112039" y="3982"/>
                    <a:pt x="112920" y="3101"/>
                    <a:pt x="112920" y="2006"/>
                  </a:cubicBezTo>
                  <a:cubicBezTo>
                    <a:pt x="112920" y="882"/>
                    <a:pt x="112039" y="0"/>
                    <a:pt x="1109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652;p62">
              <a:extLst>
                <a:ext uri="{FF2B5EF4-FFF2-40B4-BE49-F238E27FC236}">
                  <a16:creationId xmlns:a16="http://schemas.microsoft.com/office/drawing/2014/main" id="{5A29ABC9-F866-47C1-98F9-3A22BF4D150D}"/>
                </a:ext>
              </a:extLst>
            </p:cNvPr>
            <p:cNvSpPr/>
            <p:nvPr/>
          </p:nvSpPr>
          <p:spPr>
            <a:xfrm>
              <a:off x="634975" y="2836600"/>
              <a:ext cx="3013000" cy="100325"/>
            </a:xfrm>
            <a:custGeom>
              <a:avLst/>
              <a:gdLst/>
              <a:ahLst/>
              <a:cxnLst/>
              <a:rect l="l" t="t" r="r" b="b"/>
              <a:pathLst>
                <a:path w="120520" h="4013" extrusionOk="0">
                  <a:moveTo>
                    <a:pt x="2007" y="0"/>
                  </a:moveTo>
                  <a:cubicBezTo>
                    <a:pt x="882" y="0"/>
                    <a:pt x="1" y="882"/>
                    <a:pt x="1" y="2006"/>
                  </a:cubicBezTo>
                  <a:cubicBezTo>
                    <a:pt x="1" y="3101"/>
                    <a:pt x="882" y="3982"/>
                    <a:pt x="2007" y="4013"/>
                  </a:cubicBezTo>
                  <a:lnTo>
                    <a:pt x="118513" y="4013"/>
                  </a:lnTo>
                  <a:cubicBezTo>
                    <a:pt x="119608" y="4013"/>
                    <a:pt x="120520" y="3101"/>
                    <a:pt x="120520" y="2006"/>
                  </a:cubicBezTo>
                  <a:cubicBezTo>
                    <a:pt x="120520" y="882"/>
                    <a:pt x="119608" y="0"/>
                    <a:pt x="1185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653;p62">
              <a:extLst>
                <a:ext uri="{FF2B5EF4-FFF2-40B4-BE49-F238E27FC236}">
                  <a16:creationId xmlns:a16="http://schemas.microsoft.com/office/drawing/2014/main" id="{D2356E48-E7CE-4833-9E0B-D1F120BB795E}"/>
                </a:ext>
              </a:extLst>
            </p:cNvPr>
            <p:cNvSpPr/>
            <p:nvPr/>
          </p:nvSpPr>
          <p:spPr>
            <a:xfrm>
              <a:off x="2691200" y="2936150"/>
              <a:ext cx="1224225" cy="1407325"/>
            </a:xfrm>
            <a:custGeom>
              <a:avLst/>
              <a:gdLst/>
              <a:ahLst/>
              <a:cxnLst/>
              <a:rect l="l" t="t" r="r" b="b"/>
              <a:pathLst>
                <a:path w="48969" h="56293" extrusionOk="0">
                  <a:moveTo>
                    <a:pt x="6506" y="0"/>
                  </a:moveTo>
                  <a:cubicBezTo>
                    <a:pt x="5928" y="0"/>
                    <a:pt x="5442" y="456"/>
                    <a:pt x="5381" y="1034"/>
                  </a:cubicBezTo>
                  <a:lnTo>
                    <a:pt x="62" y="55047"/>
                  </a:lnTo>
                  <a:cubicBezTo>
                    <a:pt x="1" y="55654"/>
                    <a:pt x="457" y="56232"/>
                    <a:pt x="1095" y="56293"/>
                  </a:cubicBezTo>
                  <a:lnTo>
                    <a:pt x="1186" y="56293"/>
                  </a:lnTo>
                  <a:cubicBezTo>
                    <a:pt x="1764" y="56293"/>
                    <a:pt x="2281" y="55837"/>
                    <a:pt x="2341" y="55259"/>
                  </a:cubicBezTo>
                  <a:lnTo>
                    <a:pt x="7539" y="2310"/>
                  </a:lnTo>
                  <a:lnTo>
                    <a:pt x="46689" y="2310"/>
                  </a:lnTo>
                  <a:lnTo>
                    <a:pt x="46689" y="55138"/>
                  </a:lnTo>
                  <a:cubicBezTo>
                    <a:pt x="46689" y="55898"/>
                    <a:pt x="47259" y="56278"/>
                    <a:pt x="47829" y="56278"/>
                  </a:cubicBezTo>
                  <a:cubicBezTo>
                    <a:pt x="48398" y="56278"/>
                    <a:pt x="48968" y="55898"/>
                    <a:pt x="48968" y="55138"/>
                  </a:cubicBezTo>
                  <a:lnTo>
                    <a:pt x="48968" y="1155"/>
                  </a:lnTo>
                  <a:cubicBezTo>
                    <a:pt x="48968" y="517"/>
                    <a:pt x="48452"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1654;p62">
              <a:extLst>
                <a:ext uri="{FF2B5EF4-FFF2-40B4-BE49-F238E27FC236}">
                  <a16:creationId xmlns:a16="http://schemas.microsoft.com/office/drawing/2014/main" id="{ACB2E1BD-6DFF-42D2-91B7-512B3001C516}"/>
                </a:ext>
              </a:extLst>
            </p:cNvPr>
            <p:cNvSpPr/>
            <p:nvPr/>
          </p:nvSpPr>
          <p:spPr>
            <a:xfrm>
              <a:off x="580275" y="2936150"/>
              <a:ext cx="1224200" cy="1407325"/>
            </a:xfrm>
            <a:custGeom>
              <a:avLst/>
              <a:gdLst/>
              <a:ahLst/>
              <a:cxnLst/>
              <a:rect l="l" t="t" r="r" b="b"/>
              <a:pathLst>
                <a:path w="48968" h="56293" extrusionOk="0">
                  <a:moveTo>
                    <a:pt x="6505" y="0"/>
                  </a:moveTo>
                  <a:cubicBezTo>
                    <a:pt x="5927" y="0"/>
                    <a:pt x="5441" y="456"/>
                    <a:pt x="5380" y="1034"/>
                  </a:cubicBezTo>
                  <a:lnTo>
                    <a:pt x="61" y="55047"/>
                  </a:lnTo>
                  <a:cubicBezTo>
                    <a:pt x="0" y="55654"/>
                    <a:pt x="456" y="56232"/>
                    <a:pt x="1064" y="56293"/>
                  </a:cubicBezTo>
                  <a:lnTo>
                    <a:pt x="1186" y="56293"/>
                  </a:lnTo>
                  <a:cubicBezTo>
                    <a:pt x="1763" y="56293"/>
                    <a:pt x="2280" y="55837"/>
                    <a:pt x="2310" y="55259"/>
                  </a:cubicBezTo>
                  <a:lnTo>
                    <a:pt x="7538" y="2310"/>
                  </a:lnTo>
                  <a:lnTo>
                    <a:pt x="46688" y="2310"/>
                  </a:lnTo>
                  <a:lnTo>
                    <a:pt x="46688" y="55138"/>
                  </a:lnTo>
                  <a:cubicBezTo>
                    <a:pt x="46688" y="55898"/>
                    <a:pt x="47258" y="56278"/>
                    <a:pt x="47828" y="56278"/>
                  </a:cubicBezTo>
                  <a:cubicBezTo>
                    <a:pt x="48398" y="56278"/>
                    <a:pt x="48968" y="55898"/>
                    <a:pt x="48968" y="55138"/>
                  </a:cubicBezTo>
                  <a:lnTo>
                    <a:pt x="48968" y="1155"/>
                  </a:lnTo>
                  <a:cubicBezTo>
                    <a:pt x="48968" y="517"/>
                    <a:pt x="48451"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1655;p62">
              <a:extLst>
                <a:ext uri="{FF2B5EF4-FFF2-40B4-BE49-F238E27FC236}">
                  <a16:creationId xmlns:a16="http://schemas.microsoft.com/office/drawing/2014/main" id="{B18358A7-B00B-400C-8B31-8C690FA6CF24}"/>
                </a:ext>
              </a:extLst>
            </p:cNvPr>
            <p:cNvSpPr/>
            <p:nvPr/>
          </p:nvSpPr>
          <p:spPr>
            <a:xfrm>
              <a:off x="3473900" y="3382200"/>
              <a:ext cx="636050" cy="961275"/>
            </a:xfrm>
            <a:custGeom>
              <a:avLst/>
              <a:gdLst/>
              <a:ahLst/>
              <a:cxnLst/>
              <a:rect l="l" t="t" r="r" b="b"/>
              <a:pathLst>
                <a:path w="25442" h="38451" extrusionOk="0">
                  <a:moveTo>
                    <a:pt x="0" y="0"/>
                  </a:moveTo>
                  <a:lnTo>
                    <a:pt x="0" y="38451"/>
                  </a:lnTo>
                  <a:lnTo>
                    <a:pt x="25442" y="38451"/>
                  </a:lnTo>
                  <a:lnTo>
                    <a:pt x="254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1656;p62">
              <a:extLst>
                <a:ext uri="{FF2B5EF4-FFF2-40B4-BE49-F238E27FC236}">
                  <a16:creationId xmlns:a16="http://schemas.microsoft.com/office/drawing/2014/main" id="{28DF421B-B197-455F-856D-00AE5F0D1453}"/>
                </a:ext>
              </a:extLst>
            </p:cNvPr>
            <p:cNvSpPr/>
            <p:nvPr/>
          </p:nvSpPr>
          <p:spPr>
            <a:xfrm>
              <a:off x="3692000" y="3429300"/>
              <a:ext cx="370075" cy="866300"/>
            </a:xfrm>
            <a:custGeom>
              <a:avLst/>
              <a:gdLst/>
              <a:ahLst/>
              <a:cxnLst/>
              <a:rect l="l" t="t" r="r" b="b"/>
              <a:pathLst>
                <a:path w="14803" h="34652" extrusionOk="0">
                  <a:moveTo>
                    <a:pt x="0" y="1"/>
                  </a:moveTo>
                  <a:lnTo>
                    <a:pt x="0" y="34652"/>
                  </a:lnTo>
                  <a:lnTo>
                    <a:pt x="14803" y="34652"/>
                  </a:lnTo>
                  <a:lnTo>
                    <a:pt x="1480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657;p62">
              <a:extLst>
                <a:ext uri="{FF2B5EF4-FFF2-40B4-BE49-F238E27FC236}">
                  <a16:creationId xmlns:a16="http://schemas.microsoft.com/office/drawing/2014/main" id="{6834B8B8-F757-4B5C-BA74-E5CECE493AA0}"/>
                </a:ext>
              </a:extLst>
            </p:cNvPr>
            <p:cNvSpPr/>
            <p:nvPr/>
          </p:nvSpPr>
          <p:spPr>
            <a:xfrm>
              <a:off x="3710975" y="3448300"/>
              <a:ext cx="332100" cy="828300"/>
            </a:xfrm>
            <a:custGeom>
              <a:avLst/>
              <a:gdLst/>
              <a:ahLst/>
              <a:cxnLst/>
              <a:rect l="l" t="t" r="r" b="b"/>
              <a:pathLst>
                <a:path w="13284" h="33132" extrusionOk="0">
                  <a:moveTo>
                    <a:pt x="1" y="1"/>
                  </a:moveTo>
                  <a:lnTo>
                    <a:pt x="1" y="33132"/>
                  </a:lnTo>
                  <a:lnTo>
                    <a:pt x="13284" y="33132"/>
                  </a:lnTo>
                  <a:lnTo>
                    <a:pt x="1328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1658;p62">
              <a:extLst>
                <a:ext uri="{FF2B5EF4-FFF2-40B4-BE49-F238E27FC236}">
                  <a16:creationId xmlns:a16="http://schemas.microsoft.com/office/drawing/2014/main" id="{490389EB-3645-4DBF-9275-712D45372CFD}"/>
                </a:ext>
              </a:extLst>
            </p:cNvPr>
            <p:cNvSpPr/>
            <p:nvPr/>
          </p:nvSpPr>
          <p:spPr>
            <a:xfrm>
              <a:off x="3198825" y="3382200"/>
              <a:ext cx="439225" cy="961275"/>
            </a:xfrm>
            <a:custGeom>
              <a:avLst/>
              <a:gdLst/>
              <a:ahLst/>
              <a:cxnLst/>
              <a:rect l="l" t="t" r="r" b="b"/>
              <a:pathLst>
                <a:path w="17569" h="38451" extrusionOk="0">
                  <a:moveTo>
                    <a:pt x="0" y="0"/>
                  </a:moveTo>
                  <a:lnTo>
                    <a:pt x="0" y="38451"/>
                  </a:lnTo>
                  <a:lnTo>
                    <a:pt x="17569" y="38451"/>
                  </a:lnTo>
                  <a:lnTo>
                    <a:pt x="1756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1659;p62">
              <a:extLst>
                <a:ext uri="{FF2B5EF4-FFF2-40B4-BE49-F238E27FC236}">
                  <a16:creationId xmlns:a16="http://schemas.microsoft.com/office/drawing/2014/main" id="{FA037B05-DC2C-4FEB-ADA5-A31A5F504CA5}"/>
                </a:ext>
              </a:extLst>
            </p:cNvPr>
            <p:cNvSpPr/>
            <p:nvPr/>
          </p:nvSpPr>
          <p:spPr>
            <a:xfrm>
              <a:off x="3246700" y="3429300"/>
              <a:ext cx="343475" cy="866300"/>
            </a:xfrm>
            <a:custGeom>
              <a:avLst/>
              <a:gdLst/>
              <a:ahLst/>
              <a:cxnLst/>
              <a:rect l="l" t="t" r="r" b="b"/>
              <a:pathLst>
                <a:path w="13739" h="34652" extrusionOk="0">
                  <a:moveTo>
                    <a:pt x="0" y="1"/>
                  </a:moveTo>
                  <a:lnTo>
                    <a:pt x="0" y="34652"/>
                  </a:lnTo>
                  <a:lnTo>
                    <a:pt x="13739" y="34652"/>
                  </a:lnTo>
                  <a:lnTo>
                    <a:pt x="1373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1660;p62">
              <a:extLst>
                <a:ext uri="{FF2B5EF4-FFF2-40B4-BE49-F238E27FC236}">
                  <a16:creationId xmlns:a16="http://schemas.microsoft.com/office/drawing/2014/main" id="{0A03531A-AC0D-4E12-948A-A641E8BC6BB3}"/>
                </a:ext>
              </a:extLst>
            </p:cNvPr>
            <p:cNvSpPr/>
            <p:nvPr/>
          </p:nvSpPr>
          <p:spPr>
            <a:xfrm>
              <a:off x="3280125" y="3512900"/>
              <a:ext cx="276625" cy="16750"/>
            </a:xfrm>
            <a:custGeom>
              <a:avLst/>
              <a:gdLst/>
              <a:ahLst/>
              <a:cxnLst/>
              <a:rect l="l" t="t" r="r" b="b"/>
              <a:pathLst>
                <a:path w="11065" h="670" extrusionOk="0">
                  <a:moveTo>
                    <a:pt x="1" y="0"/>
                  </a:moveTo>
                  <a:lnTo>
                    <a:pt x="1" y="669"/>
                  </a:lnTo>
                  <a:lnTo>
                    <a:pt x="11065" y="669"/>
                  </a:lnTo>
                  <a:lnTo>
                    <a:pt x="1106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1661;p62">
              <a:extLst>
                <a:ext uri="{FF2B5EF4-FFF2-40B4-BE49-F238E27FC236}">
                  <a16:creationId xmlns:a16="http://schemas.microsoft.com/office/drawing/2014/main" id="{8BE1D8F4-1AB2-4431-B9CF-69F9033B90BA}"/>
                </a:ext>
              </a:extLst>
            </p:cNvPr>
            <p:cNvSpPr/>
            <p:nvPr/>
          </p:nvSpPr>
          <p:spPr>
            <a:xfrm>
              <a:off x="3280125" y="3575200"/>
              <a:ext cx="276625" cy="16750"/>
            </a:xfrm>
            <a:custGeom>
              <a:avLst/>
              <a:gdLst/>
              <a:ahLst/>
              <a:cxnLst/>
              <a:rect l="l" t="t" r="r" b="b"/>
              <a:pathLst>
                <a:path w="11065" h="670" extrusionOk="0">
                  <a:moveTo>
                    <a:pt x="1" y="1"/>
                  </a:moveTo>
                  <a:lnTo>
                    <a:pt x="1" y="670"/>
                  </a:lnTo>
                  <a:lnTo>
                    <a:pt x="11065" y="670"/>
                  </a:lnTo>
                  <a:lnTo>
                    <a:pt x="1106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1662;p62">
              <a:extLst>
                <a:ext uri="{FF2B5EF4-FFF2-40B4-BE49-F238E27FC236}">
                  <a16:creationId xmlns:a16="http://schemas.microsoft.com/office/drawing/2014/main" id="{9751937C-2CFF-4B1E-B694-B01A207931A8}"/>
                </a:ext>
              </a:extLst>
            </p:cNvPr>
            <p:cNvSpPr/>
            <p:nvPr/>
          </p:nvSpPr>
          <p:spPr>
            <a:xfrm>
              <a:off x="3362200" y="3686900"/>
              <a:ext cx="98800" cy="84800"/>
            </a:xfrm>
            <a:custGeom>
              <a:avLst/>
              <a:gdLst/>
              <a:ahLst/>
              <a:cxnLst/>
              <a:rect l="l" t="t" r="r" b="b"/>
              <a:pathLst>
                <a:path w="3952" h="3392" extrusionOk="0">
                  <a:moveTo>
                    <a:pt x="2250" y="1"/>
                  </a:moveTo>
                  <a:cubicBezTo>
                    <a:pt x="730" y="1"/>
                    <a:pt x="0" y="1825"/>
                    <a:pt x="1064" y="2889"/>
                  </a:cubicBezTo>
                  <a:cubicBezTo>
                    <a:pt x="1401" y="3236"/>
                    <a:pt x="1823" y="3392"/>
                    <a:pt x="2239" y="3392"/>
                  </a:cubicBezTo>
                  <a:cubicBezTo>
                    <a:pt x="3097" y="3392"/>
                    <a:pt x="3931" y="2727"/>
                    <a:pt x="3952" y="1703"/>
                  </a:cubicBezTo>
                  <a:cubicBezTo>
                    <a:pt x="3952" y="761"/>
                    <a:pt x="3192" y="1"/>
                    <a:pt x="225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1663;p62">
              <a:extLst>
                <a:ext uri="{FF2B5EF4-FFF2-40B4-BE49-F238E27FC236}">
                  <a16:creationId xmlns:a16="http://schemas.microsoft.com/office/drawing/2014/main" id="{02873AEE-B7D0-4EE3-BC3A-29CE884EA34A}"/>
                </a:ext>
              </a:extLst>
            </p:cNvPr>
            <p:cNvSpPr/>
            <p:nvPr/>
          </p:nvSpPr>
          <p:spPr>
            <a:xfrm>
              <a:off x="3397150" y="3708200"/>
              <a:ext cx="42575" cy="42575"/>
            </a:xfrm>
            <a:custGeom>
              <a:avLst/>
              <a:gdLst/>
              <a:ahLst/>
              <a:cxnLst/>
              <a:rect l="l" t="t" r="r" b="b"/>
              <a:pathLst>
                <a:path w="1703" h="1703" extrusionOk="0">
                  <a:moveTo>
                    <a:pt x="852" y="0"/>
                  </a:moveTo>
                  <a:cubicBezTo>
                    <a:pt x="365" y="0"/>
                    <a:pt x="0" y="395"/>
                    <a:pt x="0" y="851"/>
                  </a:cubicBezTo>
                  <a:cubicBezTo>
                    <a:pt x="0" y="1337"/>
                    <a:pt x="365" y="1702"/>
                    <a:pt x="852" y="1702"/>
                  </a:cubicBezTo>
                  <a:cubicBezTo>
                    <a:pt x="1338" y="1702"/>
                    <a:pt x="1703" y="1337"/>
                    <a:pt x="1703" y="851"/>
                  </a:cubicBezTo>
                  <a:cubicBezTo>
                    <a:pt x="1703" y="395"/>
                    <a:pt x="1338" y="0"/>
                    <a:pt x="85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1664;p62">
              <a:extLst>
                <a:ext uri="{FF2B5EF4-FFF2-40B4-BE49-F238E27FC236}">
                  <a16:creationId xmlns:a16="http://schemas.microsoft.com/office/drawing/2014/main" id="{F077A5C8-3DF9-4F30-A210-58A90A6A7F8D}"/>
                </a:ext>
              </a:extLst>
            </p:cNvPr>
            <p:cNvSpPr/>
            <p:nvPr/>
          </p:nvSpPr>
          <p:spPr>
            <a:xfrm>
              <a:off x="867500" y="3384475"/>
              <a:ext cx="508400" cy="959000"/>
            </a:xfrm>
            <a:custGeom>
              <a:avLst/>
              <a:gdLst/>
              <a:ahLst/>
              <a:cxnLst/>
              <a:rect l="l" t="t" r="r" b="b"/>
              <a:pathLst>
                <a:path w="20336" h="38360" extrusionOk="0">
                  <a:moveTo>
                    <a:pt x="1" y="1"/>
                  </a:moveTo>
                  <a:lnTo>
                    <a:pt x="1" y="38360"/>
                  </a:lnTo>
                  <a:lnTo>
                    <a:pt x="20335" y="38360"/>
                  </a:lnTo>
                  <a:lnTo>
                    <a:pt x="203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1665;p62">
              <a:extLst>
                <a:ext uri="{FF2B5EF4-FFF2-40B4-BE49-F238E27FC236}">
                  <a16:creationId xmlns:a16="http://schemas.microsoft.com/office/drawing/2014/main" id="{2D8B883A-7192-4EC5-95DD-1D268D8955B9}"/>
                </a:ext>
              </a:extLst>
            </p:cNvPr>
            <p:cNvSpPr/>
            <p:nvPr/>
          </p:nvSpPr>
          <p:spPr>
            <a:xfrm>
              <a:off x="1057475" y="3437675"/>
              <a:ext cx="265225" cy="852625"/>
            </a:xfrm>
            <a:custGeom>
              <a:avLst/>
              <a:gdLst/>
              <a:ahLst/>
              <a:cxnLst/>
              <a:rect l="l" t="t" r="r" b="b"/>
              <a:pathLst>
                <a:path w="10609" h="34105" extrusionOk="0">
                  <a:moveTo>
                    <a:pt x="1" y="0"/>
                  </a:moveTo>
                  <a:lnTo>
                    <a:pt x="1" y="34104"/>
                  </a:lnTo>
                  <a:lnTo>
                    <a:pt x="10609" y="34104"/>
                  </a:lnTo>
                  <a:lnTo>
                    <a:pt x="1060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1666;p62">
              <a:extLst>
                <a:ext uri="{FF2B5EF4-FFF2-40B4-BE49-F238E27FC236}">
                  <a16:creationId xmlns:a16="http://schemas.microsoft.com/office/drawing/2014/main" id="{83E1868D-27FA-434D-B1B2-0F336DB07F73}"/>
                </a:ext>
              </a:extLst>
            </p:cNvPr>
            <p:cNvSpPr/>
            <p:nvPr/>
          </p:nvSpPr>
          <p:spPr>
            <a:xfrm>
              <a:off x="647900" y="3384475"/>
              <a:ext cx="350325" cy="959000"/>
            </a:xfrm>
            <a:custGeom>
              <a:avLst/>
              <a:gdLst/>
              <a:ahLst/>
              <a:cxnLst/>
              <a:rect l="l" t="t" r="r" b="b"/>
              <a:pathLst>
                <a:path w="14013" h="38360" extrusionOk="0">
                  <a:moveTo>
                    <a:pt x="0" y="1"/>
                  </a:moveTo>
                  <a:lnTo>
                    <a:pt x="0" y="38360"/>
                  </a:lnTo>
                  <a:lnTo>
                    <a:pt x="14013" y="38360"/>
                  </a:lnTo>
                  <a:lnTo>
                    <a:pt x="1401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1667;p62">
              <a:extLst>
                <a:ext uri="{FF2B5EF4-FFF2-40B4-BE49-F238E27FC236}">
                  <a16:creationId xmlns:a16="http://schemas.microsoft.com/office/drawing/2014/main" id="{5B83DF05-A3CA-4947-8C62-A6E91E80BB39}"/>
                </a:ext>
              </a:extLst>
            </p:cNvPr>
            <p:cNvSpPr/>
            <p:nvPr/>
          </p:nvSpPr>
          <p:spPr>
            <a:xfrm>
              <a:off x="685125" y="3422475"/>
              <a:ext cx="275100" cy="883000"/>
            </a:xfrm>
            <a:custGeom>
              <a:avLst/>
              <a:gdLst/>
              <a:ahLst/>
              <a:cxnLst/>
              <a:rect l="l" t="t" r="r" b="b"/>
              <a:pathLst>
                <a:path w="11004" h="35320" extrusionOk="0">
                  <a:moveTo>
                    <a:pt x="1" y="0"/>
                  </a:moveTo>
                  <a:lnTo>
                    <a:pt x="1" y="35320"/>
                  </a:lnTo>
                  <a:lnTo>
                    <a:pt x="11004" y="35320"/>
                  </a:lnTo>
                  <a:lnTo>
                    <a:pt x="1100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668;p62">
              <a:extLst>
                <a:ext uri="{FF2B5EF4-FFF2-40B4-BE49-F238E27FC236}">
                  <a16:creationId xmlns:a16="http://schemas.microsoft.com/office/drawing/2014/main" id="{C0F52F0D-1659-496B-81D8-4AD1A7D1533A}"/>
                </a:ext>
              </a:extLst>
            </p:cNvPr>
            <p:cNvSpPr/>
            <p:nvPr/>
          </p:nvSpPr>
          <p:spPr>
            <a:xfrm>
              <a:off x="712475" y="3422475"/>
              <a:ext cx="221175" cy="41825"/>
            </a:xfrm>
            <a:custGeom>
              <a:avLst/>
              <a:gdLst/>
              <a:ahLst/>
              <a:cxnLst/>
              <a:rect l="l" t="t" r="r" b="b"/>
              <a:pathLst>
                <a:path w="8847" h="1673" extrusionOk="0">
                  <a:moveTo>
                    <a:pt x="1" y="0"/>
                  </a:moveTo>
                  <a:cubicBezTo>
                    <a:pt x="1" y="912"/>
                    <a:pt x="730" y="1672"/>
                    <a:pt x="1673" y="1672"/>
                  </a:cubicBezTo>
                  <a:lnTo>
                    <a:pt x="7174" y="1672"/>
                  </a:lnTo>
                  <a:cubicBezTo>
                    <a:pt x="8117" y="1672"/>
                    <a:pt x="8846" y="912"/>
                    <a:pt x="884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669;p62">
              <a:extLst>
                <a:ext uri="{FF2B5EF4-FFF2-40B4-BE49-F238E27FC236}">
                  <a16:creationId xmlns:a16="http://schemas.microsoft.com/office/drawing/2014/main" id="{8BC76995-B1A4-41E8-8D90-FCC640827A34}"/>
                </a:ext>
              </a:extLst>
            </p:cNvPr>
            <p:cNvSpPr/>
            <p:nvPr/>
          </p:nvSpPr>
          <p:spPr>
            <a:xfrm>
              <a:off x="2065050" y="2803925"/>
              <a:ext cx="245475" cy="31925"/>
            </a:xfrm>
            <a:custGeom>
              <a:avLst/>
              <a:gdLst/>
              <a:ahLst/>
              <a:cxnLst/>
              <a:rect l="l" t="t" r="r" b="b"/>
              <a:pathLst>
                <a:path w="9819" h="1125" extrusionOk="0">
                  <a:moveTo>
                    <a:pt x="1" y="0"/>
                  </a:moveTo>
                  <a:lnTo>
                    <a:pt x="1" y="1125"/>
                  </a:lnTo>
                  <a:lnTo>
                    <a:pt x="9819" y="1125"/>
                  </a:lnTo>
                  <a:lnTo>
                    <a:pt x="981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 name="Google Shape;11;p2">
            <a:extLst>
              <a:ext uri="{FF2B5EF4-FFF2-40B4-BE49-F238E27FC236}">
                <a16:creationId xmlns:a16="http://schemas.microsoft.com/office/drawing/2014/main" id="{781693FC-1D74-419D-8713-8905E809E971}"/>
              </a:ext>
            </a:extLst>
          </p:cNvPr>
          <p:cNvSpPr/>
          <p:nvPr/>
        </p:nvSpPr>
        <p:spPr>
          <a:xfrm rot="2900725" flipH="1">
            <a:off x="8634172" y="4403690"/>
            <a:ext cx="3493975" cy="4013859"/>
          </a:xfrm>
          <a:prstGeom prst="lightningBolt">
            <a:avLst/>
          </a:prstGeom>
          <a:ln/>
          <a:effectLst>
            <a:glow rad="152400">
              <a:schemeClr val="accent1">
                <a:alpha val="28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06" name="Picture 105">
            <a:extLst>
              <a:ext uri="{FF2B5EF4-FFF2-40B4-BE49-F238E27FC236}">
                <a16:creationId xmlns:a16="http://schemas.microsoft.com/office/drawing/2014/main" id="{2621DB03-956E-47A4-A1C6-423D5B6F2F09}"/>
              </a:ext>
            </a:extLst>
          </p:cNvPr>
          <p:cNvPicPr>
            <a:picLocks noChangeAspect="1"/>
          </p:cNvPicPr>
          <p:nvPr/>
        </p:nvPicPr>
        <p:blipFill>
          <a:blip r:embed="rId4"/>
          <a:stretch>
            <a:fillRect/>
          </a:stretch>
        </p:blipFill>
        <p:spPr>
          <a:xfrm>
            <a:off x="2516335" y="2589812"/>
            <a:ext cx="1189950" cy="670339"/>
          </a:xfrm>
          <a:prstGeom prst="rect">
            <a:avLst/>
          </a:prstGeom>
        </p:spPr>
      </p:pic>
      <p:pic>
        <p:nvPicPr>
          <p:cNvPr id="108" name="Picture 107">
            <a:extLst>
              <a:ext uri="{FF2B5EF4-FFF2-40B4-BE49-F238E27FC236}">
                <a16:creationId xmlns:a16="http://schemas.microsoft.com/office/drawing/2014/main" id="{127BDC44-DC92-4291-BAA3-3AA58D802161}"/>
              </a:ext>
            </a:extLst>
          </p:cNvPr>
          <p:cNvPicPr>
            <a:picLocks noChangeAspect="1"/>
          </p:cNvPicPr>
          <p:nvPr/>
        </p:nvPicPr>
        <p:blipFill>
          <a:blip r:embed="rId5"/>
          <a:stretch>
            <a:fillRect/>
          </a:stretch>
        </p:blipFill>
        <p:spPr>
          <a:xfrm>
            <a:off x="3957342" y="2753044"/>
            <a:ext cx="998217" cy="594465"/>
          </a:xfrm>
          <a:prstGeom prst="rect">
            <a:avLst/>
          </a:prstGeom>
        </p:spPr>
      </p:pic>
      <p:pic>
        <p:nvPicPr>
          <p:cNvPr id="104" name="Graphic 103" descr="Skull with solid fill">
            <a:extLst>
              <a:ext uri="{FF2B5EF4-FFF2-40B4-BE49-F238E27FC236}">
                <a16:creationId xmlns:a16="http://schemas.microsoft.com/office/drawing/2014/main" id="{55487088-98D9-4191-A1E0-1C01DBAF0E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95924" y="2740089"/>
            <a:ext cx="302420" cy="302420"/>
          </a:xfrm>
          <a:prstGeom prst="rect">
            <a:avLst/>
          </a:prstGeom>
        </p:spPr>
      </p:pic>
      <p:sp>
        <p:nvSpPr>
          <p:cNvPr id="111" name="Google Shape;12;p2">
            <a:extLst>
              <a:ext uri="{FF2B5EF4-FFF2-40B4-BE49-F238E27FC236}">
                <a16:creationId xmlns:a16="http://schemas.microsoft.com/office/drawing/2014/main" id="{BB650F12-801A-49AD-8D70-8B9422F57B34}"/>
              </a:ext>
            </a:extLst>
          </p:cNvPr>
          <p:cNvSpPr/>
          <p:nvPr/>
        </p:nvSpPr>
        <p:spPr>
          <a:xfrm rot="14523056" flipH="1">
            <a:off x="-541940" y="-1731389"/>
            <a:ext cx="3622467" cy="4425954"/>
          </a:xfrm>
          <a:prstGeom prst="lightningBolt">
            <a:avLst/>
          </a:prstGeom>
          <a:solidFill>
            <a:srgbClr val="212111"/>
          </a:solidFill>
          <a:ln>
            <a:solidFill>
              <a:srgbClr val="41592C"/>
            </a:solidFill>
          </a:ln>
          <a:effectLst>
            <a:glow rad="177800">
              <a:schemeClr val="accent1">
                <a:alpha val="40000"/>
              </a:schemeClr>
            </a:glow>
            <a:softEdge rad="76200"/>
          </a:effectLst>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789;p51">
            <a:extLst>
              <a:ext uri="{FF2B5EF4-FFF2-40B4-BE49-F238E27FC236}">
                <a16:creationId xmlns:a16="http://schemas.microsoft.com/office/drawing/2014/main" id="{5B8E886F-4E5D-4B06-96E2-9902DE1F2A70}"/>
              </a:ext>
            </a:extLst>
          </p:cNvPr>
          <p:cNvSpPr txBox="1">
            <a:spLocks/>
          </p:cNvSpPr>
          <p:nvPr/>
        </p:nvSpPr>
        <p:spPr>
          <a:xfrm>
            <a:off x="7640751" y="4321685"/>
            <a:ext cx="4551249"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Research on time mark mileston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rPr>
              <a:t>Game Comparison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Product Reverse Engineer</a:t>
            </a:r>
            <a:endPar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endParaRPr>
          </a:p>
        </p:txBody>
      </p:sp>
      <p:sp>
        <p:nvSpPr>
          <p:cNvPr id="105" name="Google Shape;5593;p92">
            <a:extLst>
              <a:ext uri="{FF2B5EF4-FFF2-40B4-BE49-F238E27FC236}">
                <a16:creationId xmlns:a16="http://schemas.microsoft.com/office/drawing/2014/main" id="{CE6F521E-F78B-45EA-9943-193DD86760D4}"/>
              </a:ext>
            </a:extLst>
          </p:cNvPr>
          <p:cNvSpPr/>
          <p:nvPr/>
        </p:nvSpPr>
        <p:spPr>
          <a:xfrm>
            <a:off x="7605831" y="434519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5593;p92">
            <a:extLst>
              <a:ext uri="{FF2B5EF4-FFF2-40B4-BE49-F238E27FC236}">
                <a16:creationId xmlns:a16="http://schemas.microsoft.com/office/drawing/2014/main" id="{7F6DA7C4-8A5F-4B9C-84B9-3563E4EF16FD}"/>
              </a:ext>
            </a:extLst>
          </p:cNvPr>
          <p:cNvSpPr/>
          <p:nvPr/>
        </p:nvSpPr>
        <p:spPr>
          <a:xfrm>
            <a:off x="7592876" y="462431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593;p92">
            <a:extLst>
              <a:ext uri="{FF2B5EF4-FFF2-40B4-BE49-F238E27FC236}">
                <a16:creationId xmlns:a16="http://schemas.microsoft.com/office/drawing/2014/main" id="{FA2010D8-344A-43A7-AE89-3872FD166CA9}"/>
              </a:ext>
            </a:extLst>
          </p:cNvPr>
          <p:cNvSpPr/>
          <p:nvPr/>
        </p:nvSpPr>
        <p:spPr>
          <a:xfrm>
            <a:off x="7599354" y="490344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204169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713450"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Past</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306210" y="65724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713450"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Biggest limitation in complex polygon rendering is hardware infrastructure as main and as well as algorithmic approaches in efficiency</a:t>
            </a: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713450" y="4167103"/>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n addition to keeping a steady clock tick per frame for graphics/shaders rendering for Dynamic Global illumination &amp; Reflections and FPS locked tick for logic execution usually (per 60 FPS 1 exec cycle)</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pic>
        <p:nvPicPr>
          <p:cNvPr id="2050" name="Picture 2">
            <a:extLst>
              <a:ext uri="{FF2B5EF4-FFF2-40B4-BE49-F238E27FC236}">
                <a16:creationId xmlns:a16="http://schemas.microsoft.com/office/drawing/2014/main" id="{C1D551E2-D587-444F-B282-FDF0EE0FF9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5981" y="2002204"/>
            <a:ext cx="4944774" cy="345511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91;p86">
            <a:extLst>
              <a:ext uri="{FF2B5EF4-FFF2-40B4-BE49-F238E27FC236}">
                <a16:creationId xmlns:a16="http://schemas.microsoft.com/office/drawing/2014/main" id="{051FF4CF-692B-46DE-B413-208F114C48C8}"/>
              </a:ext>
            </a:extLst>
          </p:cNvPr>
          <p:cNvGrpSpPr/>
          <p:nvPr/>
        </p:nvGrpSpPr>
        <p:grpSpPr>
          <a:xfrm>
            <a:off x="1233487" y="4273478"/>
            <a:ext cx="479963" cy="479963"/>
            <a:chOff x="1190625" y="238125"/>
            <a:chExt cx="5228350" cy="5228350"/>
          </a:xfrm>
        </p:grpSpPr>
        <p:sp>
          <p:nvSpPr>
            <p:cNvPr id="47" name="Google Shape;5292;p86">
              <a:extLst>
                <a:ext uri="{FF2B5EF4-FFF2-40B4-BE49-F238E27FC236}">
                  <a16:creationId xmlns:a16="http://schemas.microsoft.com/office/drawing/2014/main" id="{55EFA541-DED6-4035-B49E-B5F5B0D85D6A}"/>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93;p86">
              <a:extLst>
                <a:ext uri="{FF2B5EF4-FFF2-40B4-BE49-F238E27FC236}">
                  <a16:creationId xmlns:a16="http://schemas.microsoft.com/office/drawing/2014/main" id="{B70F031A-70F4-4AC7-B070-B1B936008DBF}"/>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4;p86">
              <a:extLst>
                <a:ext uri="{FF2B5EF4-FFF2-40B4-BE49-F238E27FC236}">
                  <a16:creationId xmlns:a16="http://schemas.microsoft.com/office/drawing/2014/main" id="{B94792DC-F77B-409A-A203-050CB7D9E2E1}"/>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5;p86">
              <a:extLst>
                <a:ext uri="{FF2B5EF4-FFF2-40B4-BE49-F238E27FC236}">
                  <a16:creationId xmlns:a16="http://schemas.microsoft.com/office/drawing/2014/main" id="{F955CA45-10CD-4717-84E7-1039664BC405}"/>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6;p86">
              <a:extLst>
                <a:ext uri="{FF2B5EF4-FFF2-40B4-BE49-F238E27FC236}">
                  <a16:creationId xmlns:a16="http://schemas.microsoft.com/office/drawing/2014/main" id="{880BCA89-03D3-4557-A3A3-4C81189AF666}"/>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7;p86">
              <a:extLst>
                <a:ext uri="{FF2B5EF4-FFF2-40B4-BE49-F238E27FC236}">
                  <a16:creationId xmlns:a16="http://schemas.microsoft.com/office/drawing/2014/main" id="{F9D39B97-3426-4265-887F-A53F0C684F97}"/>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8;p86">
              <a:extLst>
                <a:ext uri="{FF2B5EF4-FFF2-40B4-BE49-F238E27FC236}">
                  <a16:creationId xmlns:a16="http://schemas.microsoft.com/office/drawing/2014/main" id="{3F29E39C-4672-45AD-B4C0-1CE165689367}"/>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9;p86">
              <a:extLst>
                <a:ext uri="{FF2B5EF4-FFF2-40B4-BE49-F238E27FC236}">
                  <a16:creationId xmlns:a16="http://schemas.microsoft.com/office/drawing/2014/main" id="{8C6A07FE-4A8B-4733-AD94-6FB19886F5D5}"/>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300;p86">
              <a:extLst>
                <a:ext uri="{FF2B5EF4-FFF2-40B4-BE49-F238E27FC236}">
                  <a16:creationId xmlns:a16="http://schemas.microsoft.com/office/drawing/2014/main" id="{9F457FB0-FFD4-4750-9FF8-24FB57357C60}"/>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1;p86">
              <a:extLst>
                <a:ext uri="{FF2B5EF4-FFF2-40B4-BE49-F238E27FC236}">
                  <a16:creationId xmlns:a16="http://schemas.microsoft.com/office/drawing/2014/main" id="{4B3E85D5-F6BE-46C2-BEE2-1F56F13152DE}"/>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5156604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5A3B45A3-8312-4074-8D4E-020F01379F16}"/>
              </a:ext>
            </a:extLst>
          </p:cNvPr>
          <p:cNvGrpSpPr/>
          <p:nvPr/>
        </p:nvGrpSpPr>
        <p:grpSpPr>
          <a:xfrm>
            <a:off x="9547068" y="1913220"/>
            <a:ext cx="1146959" cy="954053"/>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3" name="Group 72">
              <a:extLst>
                <a:ext uri="{FF2B5EF4-FFF2-40B4-BE49-F238E27FC236}">
                  <a16:creationId xmlns:a16="http://schemas.microsoft.com/office/drawing/2014/main" id="{D0C00A9F-6CD1-4D04-85DA-2A446A2E2221}"/>
                </a:ext>
              </a:extLst>
            </p:cNvPr>
            <p:cNvGrpSpPr/>
            <p:nvPr/>
          </p:nvGrpSpPr>
          <p:grpSpPr>
            <a:xfrm>
              <a:off x="5241585" y="4198069"/>
              <a:ext cx="411449" cy="357382"/>
              <a:chOff x="5241585" y="4198069"/>
              <a:chExt cx="411449" cy="357382"/>
            </a:xfrm>
          </p:grpSpPr>
          <p:sp>
            <p:nvSpPr>
              <p:cNvPr id="75" name="Google Shape;658;p48">
                <a:extLst>
                  <a:ext uri="{FF2B5EF4-FFF2-40B4-BE49-F238E27FC236}">
                    <a16:creationId xmlns:a16="http://schemas.microsoft.com/office/drawing/2014/main" id="{1A7BA4C1-911B-4968-91CC-86D9FF20EF29}"/>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659;p48">
                <a:extLst>
                  <a:ext uri="{FF2B5EF4-FFF2-40B4-BE49-F238E27FC236}">
                    <a16:creationId xmlns:a16="http://schemas.microsoft.com/office/drawing/2014/main" id="{70AB00A4-A800-46C2-B29D-A66E597E9C05}"/>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7" name="Google Shape;660;p48">
                <a:extLst>
                  <a:ext uri="{FF2B5EF4-FFF2-40B4-BE49-F238E27FC236}">
                    <a16:creationId xmlns:a16="http://schemas.microsoft.com/office/drawing/2014/main" id="{3CFAE2F8-AD7F-4280-9B68-ACB6A6CE519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 name="Google Shape;661;p48">
              <a:extLst>
                <a:ext uri="{FF2B5EF4-FFF2-40B4-BE49-F238E27FC236}">
                  <a16:creationId xmlns:a16="http://schemas.microsoft.com/office/drawing/2014/main" id="{E1F852DD-B807-48F4-853D-BFBBCAC4A07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itle 1">
            <a:extLst>
              <a:ext uri="{FF2B5EF4-FFF2-40B4-BE49-F238E27FC236}">
                <a16:creationId xmlns:a16="http://schemas.microsoft.com/office/drawing/2014/main" id="{EAE1F391-D916-4830-8E0E-3EDC61FD2F9B}"/>
              </a:ext>
            </a:extLst>
          </p:cNvPr>
          <p:cNvSpPr>
            <a:spLocks noGrp="1"/>
          </p:cNvSpPr>
          <p:nvPr>
            <p:ph type="title"/>
          </p:nvPr>
        </p:nvSpPr>
        <p:spPr>
          <a:xfrm>
            <a:off x="1141413" y="618518"/>
            <a:ext cx="9905998" cy="818396"/>
          </a:xfrm>
        </p:spPr>
        <p:txBody>
          <a:bodyPr/>
          <a:lstStyle/>
          <a:p>
            <a:r>
              <a:rPr lang="en-US" b="1" dirty="0">
                <a:latin typeface="Saira SemiCondensed ExtraBold" panose="00000906000000000000" charset="0"/>
              </a:rPr>
              <a:t>Table of contents | Agenda</a:t>
            </a:r>
          </a:p>
        </p:txBody>
      </p:sp>
      <p:sp>
        <p:nvSpPr>
          <p:cNvPr id="4" name="Google Shape;12;p2">
            <a:extLst>
              <a:ext uri="{FF2B5EF4-FFF2-40B4-BE49-F238E27FC236}">
                <a16:creationId xmlns:a16="http://schemas.microsoft.com/office/drawing/2014/main" id="{3417C127-2529-48A4-A6FA-F73B90C7BD1D}"/>
              </a:ext>
            </a:extLst>
          </p:cNvPr>
          <p:cNvSpPr/>
          <p:nvPr/>
        </p:nvSpPr>
        <p:spPr>
          <a:xfrm rot="2535377" flipH="1">
            <a:off x="9881864" y="-982886"/>
            <a:ext cx="2331093" cy="3202808"/>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726;p49">
            <a:extLst>
              <a:ext uri="{FF2B5EF4-FFF2-40B4-BE49-F238E27FC236}">
                <a16:creationId xmlns:a16="http://schemas.microsoft.com/office/drawing/2014/main" id="{B91FF6A3-8EF9-421F-9363-6C721FBE1879}"/>
              </a:ext>
            </a:extLst>
          </p:cNvPr>
          <p:cNvSpPr/>
          <p:nvPr/>
        </p:nvSpPr>
        <p:spPr>
          <a:xfrm>
            <a:off x="8566091" y="226427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727;p49">
            <a:extLst>
              <a:ext uri="{FF2B5EF4-FFF2-40B4-BE49-F238E27FC236}">
                <a16:creationId xmlns:a16="http://schemas.microsoft.com/office/drawing/2014/main" id="{D0B89849-11B6-4982-BC17-BF683C1E636B}"/>
              </a:ext>
            </a:extLst>
          </p:cNvPr>
          <p:cNvSpPr/>
          <p:nvPr/>
        </p:nvSpPr>
        <p:spPr>
          <a:xfrm>
            <a:off x="9315641" y="56016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728;p49">
            <a:extLst>
              <a:ext uri="{FF2B5EF4-FFF2-40B4-BE49-F238E27FC236}">
                <a16:creationId xmlns:a16="http://schemas.microsoft.com/office/drawing/2014/main" id="{78F25530-B2FD-4970-B1E8-37903F73E42F}"/>
              </a:ext>
            </a:extLst>
          </p:cNvPr>
          <p:cNvSpPr/>
          <p:nvPr/>
        </p:nvSpPr>
        <p:spPr>
          <a:xfrm>
            <a:off x="10677216" y="371657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7" name="Group 236">
            <a:extLst>
              <a:ext uri="{FF2B5EF4-FFF2-40B4-BE49-F238E27FC236}">
                <a16:creationId xmlns:a16="http://schemas.microsoft.com/office/drawing/2014/main" id="{679B6E61-0711-4888-88D6-DB7FA5517545}"/>
              </a:ext>
            </a:extLst>
          </p:cNvPr>
          <p:cNvGrpSpPr/>
          <p:nvPr/>
        </p:nvGrpSpPr>
        <p:grpSpPr>
          <a:xfrm>
            <a:off x="9379963" y="4497336"/>
            <a:ext cx="1187582" cy="1104265"/>
            <a:chOff x="9379963" y="4497336"/>
            <a:chExt cx="1187582" cy="1104265"/>
          </a:xfrm>
        </p:grpSpPr>
        <p:grpSp>
          <p:nvGrpSpPr>
            <p:cNvPr id="199" name="Google Shape;802;p51">
              <a:extLst>
                <a:ext uri="{FF2B5EF4-FFF2-40B4-BE49-F238E27FC236}">
                  <a16:creationId xmlns:a16="http://schemas.microsoft.com/office/drawing/2014/main" id="{9A82A80D-3FE3-4B7E-A752-D08A2C84E04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208" name="Google Shape;803;p51">
                <a:extLst>
                  <a:ext uri="{FF2B5EF4-FFF2-40B4-BE49-F238E27FC236}">
                    <a16:creationId xmlns:a16="http://schemas.microsoft.com/office/drawing/2014/main" id="{14D1BB29-BEA9-4895-AE9A-27FF5B3B1FE8}"/>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9" name="Google Shape;804;p51">
                <a:extLst>
                  <a:ext uri="{FF2B5EF4-FFF2-40B4-BE49-F238E27FC236}">
                    <a16:creationId xmlns:a16="http://schemas.microsoft.com/office/drawing/2014/main" id="{F449D03B-D5AE-46BC-9210-5451D17B6303}"/>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0" name="Google Shape;805;p51">
                <a:extLst>
                  <a:ext uri="{FF2B5EF4-FFF2-40B4-BE49-F238E27FC236}">
                    <a16:creationId xmlns:a16="http://schemas.microsoft.com/office/drawing/2014/main" id="{ABE71DCA-11B0-4C2B-85F2-533D14499AA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1" name="Google Shape;806;p51">
                <a:extLst>
                  <a:ext uri="{FF2B5EF4-FFF2-40B4-BE49-F238E27FC236}">
                    <a16:creationId xmlns:a16="http://schemas.microsoft.com/office/drawing/2014/main" id="{2BB4A1CA-90E5-4DFA-B99C-94E905E95DC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2" name="Google Shape;807;p51">
                <a:extLst>
                  <a:ext uri="{FF2B5EF4-FFF2-40B4-BE49-F238E27FC236}">
                    <a16:creationId xmlns:a16="http://schemas.microsoft.com/office/drawing/2014/main" id="{C2624088-5F12-416A-BBBC-52DC2B6E3B77}"/>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3" name="Google Shape;808;p51">
                <a:extLst>
                  <a:ext uri="{FF2B5EF4-FFF2-40B4-BE49-F238E27FC236}">
                    <a16:creationId xmlns:a16="http://schemas.microsoft.com/office/drawing/2014/main" id="{CA1DCC84-1DFB-450C-81C8-4DA987AB2360}"/>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4" name="Google Shape;809;p51">
                <a:extLst>
                  <a:ext uri="{FF2B5EF4-FFF2-40B4-BE49-F238E27FC236}">
                    <a16:creationId xmlns:a16="http://schemas.microsoft.com/office/drawing/2014/main" id="{2A7D488C-429B-4C91-B262-D7162333D195}"/>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5" name="Google Shape;810;p51">
                <a:extLst>
                  <a:ext uri="{FF2B5EF4-FFF2-40B4-BE49-F238E27FC236}">
                    <a16:creationId xmlns:a16="http://schemas.microsoft.com/office/drawing/2014/main" id="{E1A2FA00-382B-4DB2-8047-C1C8B870F6B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6" name="Google Shape;811;p51">
                <a:extLst>
                  <a:ext uri="{FF2B5EF4-FFF2-40B4-BE49-F238E27FC236}">
                    <a16:creationId xmlns:a16="http://schemas.microsoft.com/office/drawing/2014/main" id="{10FA077E-CDB1-4BC7-A3F6-684F9C48E650}"/>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7" name="Google Shape;812;p51">
                <a:extLst>
                  <a:ext uri="{FF2B5EF4-FFF2-40B4-BE49-F238E27FC236}">
                    <a16:creationId xmlns:a16="http://schemas.microsoft.com/office/drawing/2014/main" id="{E7F638B4-9582-4A46-ADDE-EBF3B8A76642}"/>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8" name="Google Shape;813;p51">
                <a:extLst>
                  <a:ext uri="{FF2B5EF4-FFF2-40B4-BE49-F238E27FC236}">
                    <a16:creationId xmlns:a16="http://schemas.microsoft.com/office/drawing/2014/main" id="{C8391765-9248-455A-A148-472909664220}"/>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9" name="Google Shape;814;p51">
                <a:extLst>
                  <a:ext uri="{FF2B5EF4-FFF2-40B4-BE49-F238E27FC236}">
                    <a16:creationId xmlns:a16="http://schemas.microsoft.com/office/drawing/2014/main" id="{B491D9DB-9B29-4ED4-9380-26A45C88CD3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0" name="Google Shape;815;p51">
                <a:extLst>
                  <a:ext uri="{FF2B5EF4-FFF2-40B4-BE49-F238E27FC236}">
                    <a16:creationId xmlns:a16="http://schemas.microsoft.com/office/drawing/2014/main" id="{DB8F31F2-EE10-4EDB-9FF2-8BE80DC99AD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1" name="Google Shape;816;p51">
                <a:extLst>
                  <a:ext uri="{FF2B5EF4-FFF2-40B4-BE49-F238E27FC236}">
                    <a16:creationId xmlns:a16="http://schemas.microsoft.com/office/drawing/2014/main" id="{E0E06B48-E575-4E2B-B3F6-7B6FFCD542A7}"/>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2" name="Google Shape;817;p51">
                <a:extLst>
                  <a:ext uri="{FF2B5EF4-FFF2-40B4-BE49-F238E27FC236}">
                    <a16:creationId xmlns:a16="http://schemas.microsoft.com/office/drawing/2014/main" id="{017ADDA2-22BE-418E-8405-AC1D655507C9}"/>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3" name="Google Shape;818;p51">
                <a:extLst>
                  <a:ext uri="{FF2B5EF4-FFF2-40B4-BE49-F238E27FC236}">
                    <a16:creationId xmlns:a16="http://schemas.microsoft.com/office/drawing/2014/main" id="{8CA839D7-2DA4-44D2-9673-1927670B891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4" name="Google Shape;819;p51">
                <a:extLst>
                  <a:ext uri="{FF2B5EF4-FFF2-40B4-BE49-F238E27FC236}">
                    <a16:creationId xmlns:a16="http://schemas.microsoft.com/office/drawing/2014/main" id="{9E1DF516-B0A5-4B08-9550-8DDA4A826DD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5" name="Google Shape;820;p51">
                <a:extLst>
                  <a:ext uri="{FF2B5EF4-FFF2-40B4-BE49-F238E27FC236}">
                    <a16:creationId xmlns:a16="http://schemas.microsoft.com/office/drawing/2014/main" id="{C0C89776-593F-4A70-8D5F-ECE830E53F4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6" name="Google Shape;821;p51">
                <a:extLst>
                  <a:ext uri="{FF2B5EF4-FFF2-40B4-BE49-F238E27FC236}">
                    <a16:creationId xmlns:a16="http://schemas.microsoft.com/office/drawing/2014/main" id="{886D6B29-7610-422D-AC4B-7800A87355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7" name="Google Shape;822;p51">
                <a:extLst>
                  <a:ext uri="{FF2B5EF4-FFF2-40B4-BE49-F238E27FC236}">
                    <a16:creationId xmlns:a16="http://schemas.microsoft.com/office/drawing/2014/main" id="{FFA34F7A-FE6D-4891-A3A6-1419D0BC5E9F}"/>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8" name="Google Shape;823;p51">
                <a:extLst>
                  <a:ext uri="{FF2B5EF4-FFF2-40B4-BE49-F238E27FC236}">
                    <a16:creationId xmlns:a16="http://schemas.microsoft.com/office/drawing/2014/main" id="{01BC8C56-AFEA-4027-9BC2-761192883D8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9" name="Google Shape;824;p51">
                <a:extLst>
                  <a:ext uri="{FF2B5EF4-FFF2-40B4-BE49-F238E27FC236}">
                    <a16:creationId xmlns:a16="http://schemas.microsoft.com/office/drawing/2014/main" id="{D95FD00D-538A-485C-AD48-2514F505092D}"/>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0" name="Google Shape;825;p51">
                <a:extLst>
                  <a:ext uri="{FF2B5EF4-FFF2-40B4-BE49-F238E27FC236}">
                    <a16:creationId xmlns:a16="http://schemas.microsoft.com/office/drawing/2014/main" id="{E8B4DB8C-E7F6-4A9B-9A3C-6999CC945A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1" name="Google Shape;826;p51">
                <a:extLst>
                  <a:ext uri="{FF2B5EF4-FFF2-40B4-BE49-F238E27FC236}">
                    <a16:creationId xmlns:a16="http://schemas.microsoft.com/office/drawing/2014/main" id="{CC56D6D3-BC4E-4204-AC24-4B1717A2F18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2" name="Google Shape;827;p51">
                <a:extLst>
                  <a:ext uri="{FF2B5EF4-FFF2-40B4-BE49-F238E27FC236}">
                    <a16:creationId xmlns:a16="http://schemas.microsoft.com/office/drawing/2014/main" id="{9A569249-63A0-46B8-A2E7-34E86F0C0C8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1" name="Group 40">
              <a:extLst>
                <a:ext uri="{FF2B5EF4-FFF2-40B4-BE49-F238E27FC236}">
                  <a16:creationId xmlns:a16="http://schemas.microsoft.com/office/drawing/2014/main" id="{E845B152-7A9C-47CC-8108-01F6CE435F41}"/>
                </a:ext>
              </a:extLst>
            </p:cNvPr>
            <p:cNvGrpSpPr/>
            <p:nvPr/>
          </p:nvGrpSpPr>
          <p:grpSpPr>
            <a:xfrm>
              <a:off x="9459173" y="4651735"/>
              <a:ext cx="965465" cy="814701"/>
              <a:chOff x="2122052" y="4430998"/>
              <a:chExt cx="516998" cy="436265"/>
            </a:xfrm>
          </p:grpSpPr>
          <p:sp>
            <p:nvSpPr>
              <p:cNvPr id="42" name="Google Shape;663;p48">
                <a:extLst>
                  <a:ext uri="{FF2B5EF4-FFF2-40B4-BE49-F238E27FC236}">
                    <a16:creationId xmlns:a16="http://schemas.microsoft.com/office/drawing/2014/main" id="{E4DF6B59-83D7-44E5-9321-1CBFC5D4C4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64;p48">
                <a:extLst>
                  <a:ext uri="{FF2B5EF4-FFF2-40B4-BE49-F238E27FC236}">
                    <a16:creationId xmlns:a16="http://schemas.microsoft.com/office/drawing/2014/main" id="{331A4A0C-40A8-4933-990C-49FDEFCE4DC0}"/>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65;p48">
                <a:extLst>
                  <a:ext uri="{FF2B5EF4-FFF2-40B4-BE49-F238E27FC236}">
                    <a16:creationId xmlns:a16="http://schemas.microsoft.com/office/drawing/2014/main" id="{BE7B27DC-9370-4A95-A274-6B54E604C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66;p48">
                <a:extLst>
                  <a:ext uri="{FF2B5EF4-FFF2-40B4-BE49-F238E27FC236}">
                    <a16:creationId xmlns:a16="http://schemas.microsoft.com/office/drawing/2014/main" id="{C4FEAE79-B836-4AFA-956E-45574946DB46}"/>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67;p48">
                <a:extLst>
                  <a:ext uri="{FF2B5EF4-FFF2-40B4-BE49-F238E27FC236}">
                    <a16:creationId xmlns:a16="http://schemas.microsoft.com/office/drawing/2014/main" id="{4EF5C876-60F7-4DFA-A9F7-0F698153195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68;p48">
                <a:extLst>
                  <a:ext uri="{FF2B5EF4-FFF2-40B4-BE49-F238E27FC236}">
                    <a16:creationId xmlns:a16="http://schemas.microsoft.com/office/drawing/2014/main" id="{BDB1E6AB-2A91-4DE9-BA18-66293A82213C}"/>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669;p48">
                <a:extLst>
                  <a:ext uri="{FF2B5EF4-FFF2-40B4-BE49-F238E27FC236}">
                    <a16:creationId xmlns:a16="http://schemas.microsoft.com/office/drawing/2014/main" id="{39034831-F0FC-4A36-A408-F0C003DC0C7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70;p48">
                <a:extLst>
                  <a:ext uri="{FF2B5EF4-FFF2-40B4-BE49-F238E27FC236}">
                    <a16:creationId xmlns:a16="http://schemas.microsoft.com/office/drawing/2014/main" id="{CA555B6D-5079-4AAC-A44E-A00E464DC8B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71;p48">
                <a:extLst>
                  <a:ext uri="{FF2B5EF4-FFF2-40B4-BE49-F238E27FC236}">
                    <a16:creationId xmlns:a16="http://schemas.microsoft.com/office/drawing/2014/main" id="{BD9FB926-AEE1-40C9-87FF-D5FFABCE82FB}"/>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72;p48">
                <a:extLst>
                  <a:ext uri="{FF2B5EF4-FFF2-40B4-BE49-F238E27FC236}">
                    <a16:creationId xmlns:a16="http://schemas.microsoft.com/office/drawing/2014/main" id="{26C95C5F-B2E1-4097-A15D-DC03FD6A354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673;p48">
                <a:extLst>
                  <a:ext uri="{FF2B5EF4-FFF2-40B4-BE49-F238E27FC236}">
                    <a16:creationId xmlns:a16="http://schemas.microsoft.com/office/drawing/2014/main" id="{73DF952E-A5FB-4812-ADDE-E5C990B910D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74;p48">
                <a:extLst>
                  <a:ext uri="{FF2B5EF4-FFF2-40B4-BE49-F238E27FC236}">
                    <a16:creationId xmlns:a16="http://schemas.microsoft.com/office/drawing/2014/main" id="{9505BEEF-4B4F-4536-8F6C-65D06F256EB5}"/>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75;p48">
                <a:extLst>
                  <a:ext uri="{FF2B5EF4-FFF2-40B4-BE49-F238E27FC236}">
                    <a16:creationId xmlns:a16="http://schemas.microsoft.com/office/drawing/2014/main" id="{CECB23DD-9AB5-4EB5-9AB8-5EE3BEC7659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76;p48">
                <a:extLst>
                  <a:ext uri="{FF2B5EF4-FFF2-40B4-BE49-F238E27FC236}">
                    <a16:creationId xmlns:a16="http://schemas.microsoft.com/office/drawing/2014/main" id="{77BD35B1-AC77-4710-BBDA-3E85E9F63458}"/>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677;p48">
                <a:extLst>
                  <a:ext uri="{FF2B5EF4-FFF2-40B4-BE49-F238E27FC236}">
                    <a16:creationId xmlns:a16="http://schemas.microsoft.com/office/drawing/2014/main" id="{27814F7B-4057-4D1F-A6E2-D456374BDC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678;p48">
                <a:extLst>
                  <a:ext uri="{FF2B5EF4-FFF2-40B4-BE49-F238E27FC236}">
                    <a16:creationId xmlns:a16="http://schemas.microsoft.com/office/drawing/2014/main" id="{20FC8F96-1BD4-465C-A31C-533F248920F6}"/>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679;p48">
                <a:extLst>
                  <a:ext uri="{FF2B5EF4-FFF2-40B4-BE49-F238E27FC236}">
                    <a16:creationId xmlns:a16="http://schemas.microsoft.com/office/drawing/2014/main" id="{9A9912BF-1954-4AE6-9520-C1588741C0F8}"/>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680;p48">
                <a:extLst>
                  <a:ext uri="{FF2B5EF4-FFF2-40B4-BE49-F238E27FC236}">
                    <a16:creationId xmlns:a16="http://schemas.microsoft.com/office/drawing/2014/main" id="{AE770F42-57A2-432F-BF9E-77DAD2BAB08C}"/>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81;p48">
                <a:extLst>
                  <a:ext uri="{FF2B5EF4-FFF2-40B4-BE49-F238E27FC236}">
                    <a16:creationId xmlns:a16="http://schemas.microsoft.com/office/drawing/2014/main" id="{3D1E4847-7936-4A45-A36C-CB40050AD94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82;p48">
                <a:extLst>
                  <a:ext uri="{FF2B5EF4-FFF2-40B4-BE49-F238E27FC236}">
                    <a16:creationId xmlns:a16="http://schemas.microsoft.com/office/drawing/2014/main" id="{B06BEC38-5ED4-4CCC-8157-9362036210C3}"/>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83;p48">
                <a:extLst>
                  <a:ext uri="{FF2B5EF4-FFF2-40B4-BE49-F238E27FC236}">
                    <a16:creationId xmlns:a16="http://schemas.microsoft.com/office/drawing/2014/main" id="{C2CBAEFE-B7FC-47AA-8C85-1C89E3BBBDCF}"/>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84;p48">
                <a:extLst>
                  <a:ext uri="{FF2B5EF4-FFF2-40B4-BE49-F238E27FC236}">
                    <a16:creationId xmlns:a16="http://schemas.microsoft.com/office/drawing/2014/main" id="{5E60BCEB-60A6-41A0-959C-96DF3DF5CAF9}"/>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85;p48">
                <a:extLst>
                  <a:ext uri="{FF2B5EF4-FFF2-40B4-BE49-F238E27FC236}">
                    <a16:creationId xmlns:a16="http://schemas.microsoft.com/office/drawing/2014/main" id="{E7A5ECC6-6843-4356-89F0-0BA2C3A1CBB8}"/>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86;p48">
                <a:extLst>
                  <a:ext uri="{FF2B5EF4-FFF2-40B4-BE49-F238E27FC236}">
                    <a16:creationId xmlns:a16="http://schemas.microsoft.com/office/drawing/2014/main" id="{1B5DFBCC-392B-42EE-8075-99905FB08A9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87;p48">
                <a:extLst>
                  <a:ext uri="{FF2B5EF4-FFF2-40B4-BE49-F238E27FC236}">
                    <a16:creationId xmlns:a16="http://schemas.microsoft.com/office/drawing/2014/main" id="{41A3117F-E6FA-43A2-9E00-D27D3036B15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 name="Google Shape;776;p51">
            <a:extLst>
              <a:ext uri="{FF2B5EF4-FFF2-40B4-BE49-F238E27FC236}">
                <a16:creationId xmlns:a16="http://schemas.microsoft.com/office/drawing/2014/main" id="{6E2FA04C-93C1-462E-8E7C-6D20C25A1F25}"/>
              </a:ext>
            </a:extLst>
          </p:cNvPr>
          <p:cNvSpPr/>
          <p:nvPr/>
        </p:nvSpPr>
        <p:spPr>
          <a:xfrm>
            <a:off x="1291267"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82;p51">
            <a:extLst>
              <a:ext uri="{FF2B5EF4-FFF2-40B4-BE49-F238E27FC236}">
                <a16:creationId xmlns:a16="http://schemas.microsoft.com/office/drawing/2014/main" id="{D74621CE-666A-468B-AE15-AA2287B0CD8C}"/>
              </a:ext>
            </a:extLst>
          </p:cNvPr>
          <p:cNvSpPr txBox="1">
            <a:spLocks/>
          </p:cNvSpPr>
          <p:nvPr/>
        </p:nvSpPr>
        <p:spPr>
          <a:xfrm>
            <a:off x="1261304" y="1878151"/>
            <a:ext cx="813900" cy="875400"/>
          </a:xfrm>
          <a:prstGeom prst="rect">
            <a:avLst/>
          </a:prstGeom>
          <a:effectLst>
            <a:glow>
              <a:schemeClr val="accent1">
                <a:satMod val="175000"/>
              </a:schemeClr>
            </a:glow>
          </a:effectLst>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1</a:t>
            </a:r>
          </a:p>
        </p:txBody>
      </p:sp>
      <p:sp>
        <p:nvSpPr>
          <p:cNvPr id="81" name="Google Shape;776;p51">
            <a:extLst>
              <a:ext uri="{FF2B5EF4-FFF2-40B4-BE49-F238E27FC236}">
                <a16:creationId xmlns:a16="http://schemas.microsoft.com/office/drawing/2014/main" id="{E8B6F9CD-39AB-4531-85A4-170A5C0BBF66}"/>
              </a:ext>
            </a:extLst>
          </p:cNvPr>
          <p:cNvSpPr/>
          <p:nvPr/>
        </p:nvSpPr>
        <p:spPr>
          <a:xfrm>
            <a:off x="1289283"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782;p51">
            <a:extLst>
              <a:ext uri="{FF2B5EF4-FFF2-40B4-BE49-F238E27FC236}">
                <a16:creationId xmlns:a16="http://schemas.microsoft.com/office/drawing/2014/main" id="{422BA151-349B-44BC-867C-357FA338BC96}"/>
              </a:ext>
            </a:extLst>
          </p:cNvPr>
          <p:cNvSpPr txBox="1">
            <a:spLocks/>
          </p:cNvSpPr>
          <p:nvPr/>
        </p:nvSpPr>
        <p:spPr>
          <a:xfrm>
            <a:off x="1259320"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2</a:t>
            </a:r>
          </a:p>
        </p:txBody>
      </p:sp>
      <p:sp>
        <p:nvSpPr>
          <p:cNvPr id="83" name="Google Shape;776;p51">
            <a:extLst>
              <a:ext uri="{FF2B5EF4-FFF2-40B4-BE49-F238E27FC236}">
                <a16:creationId xmlns:a16="http://schemas.microsoft.com/office/drawing/2014/main" id="{E4850C27-B530-4CC2-AC00-7133216F69CA}"/>
              </a:ext>
            </a:extLst>
          </p:cNvPr>
          <p:cNvSpPr/>
          <p:nvPr/>
        </p:nvSpPr>
        <p:spPr>
          <a:xfrm>
            <a:off x="1289283"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782;p51">
            <a:extLst>
              <a:ext uri="{FF2B5EF4-FFF2-40B4-BE49-F238E27FC236}">
                <a16:creationId xmlns:a16="http://schemas.microsoft.com/office/drawing/2014/main" id="{F12079F9-10B5-419B-BC83-AA939584D673}"/>
              </a:ext>
            </a:extLst>
          </p:cNvPr>
          <p:cNvSpPr txBox="1">
            <a:spLocks/>
          </p:cNvSpPr>
          <p:nvPr/>
        </p:nvSpPr>
        <p:spPr>
          <a:xfrm>
            <a:off x="1259320"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3</a:t>
            </a:r>
          </a:p>
        </p:txBody>
      </p:sp>
      <p:sp>
        <p:nvSpPr>
          <p:cNvPr id="101" name="Google Shape;776;p51">
            <a:extLst>
              <a:ext uri="{FF2B5EF4-FFF2-40B4-BE49-F238E27FC236}">
                <a16:creationId xmlns:a16="http://schemas.microsoft.com/office/drawing/2014/main" id="{6F2CC6D8-E8EE-4409-815A-B60FD8BAFE5F}"/>
              </a:ext>
            </a:extLst>
          </p:cNvPr>
          <p:cNvSpPr/>
          <p:nvPr/>
        </p:nvSpPr>
        <p:spPr>
          <a:xfrm>
            <a:off x="5314403"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782;p51">
            <a:extLst>
              <a:ext uri="{FF2B5EF4-FFF2-40B4-BE49-F238E27FC236}">
                <a16:creationId xmlns:a16="http://schemas.microsoft.com/office/drawing/2014/main" id="{33DDF72C-C537-4B01-8C01-1A1535D1C33B}"/>
              </a:ext>
            </a:extLst>
          </p:cNvPr>
          <p:cNvSpPr txBox="1">
            <a:spLocks/>
          </p:cNvSpPr>
          <p:nvPr/>
        </p:nvSpPr>
        <p:spPr>
          <a:xfrm>
            <a:off x="5284440" y="1878151"/>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4</a:t>
            </a:r>
          </a:p>
        </p:txBody>
      </p:sp>
      <p:sp>
        <p:nvSpPr>
          <p:cNvPr id="103" name="Google Shape;776;p51">
            <a:extLst>
              <a:ext uri="{FF2B5EF4-FFF2-40B4-BE49-F238E27FC236}">
                <a16:creationId xmlns:a16="http://schemas.microsoft.com/office/drawing/2014/main" id="{720F78DA-FA30-4207-BAB9-696491B1274D}"/>
              </a:ext>
            </a:extLst>
          </p:cNvPr>
          <p:cNvSpPr/>
          <p:nvPr/>
        </p:nvSpPr>
        <p:spPr>
          <a:xfrm>
            <a:off x="5312419"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782;p51">
            <a:extLst>
              <a:ext uri="{FF2B5EF4-FFF2-40B4-BE49-F238E27FC236}">
                <a16:creationId xmlns:a16="http://schemas.microsoft.com/office/drawing/2014/main" id="{BFF1F449-5DAF-47E0-B0EF-12C64978D54D}"/>
              </a:ext>
            </a:extLst>
          </p:cNvPr>
          <p:cNvSpPr txBox="1">
            <a:spLocks/>
          </p:cNvSpPr>
          <p:nvPr/>
        </p:nvSpPr>
        <p:spPr>
          <a:xfrm>
            <a:off x="5282456"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5</a:t>
            </a:r>
          </a:p>
        </p:txBody>
      </p:sp>
      <p:sp>
        <p:nvSpPr>
          <p:cNvPr id="105" name="Google Shape;776;p51">
            <a:extLst>
              <a:ext uri="{FF2B5EF4-FFF2-40B4-BE49-F238E27FC236}">
                <a16:creationId xmlns:a16="http://schemas.microsoft.com/office/drawing/2014/main" id="{480CD45E-BA9D-4A86-A20C-DAD3D66B554F}"/>
              </a:ext>
            </a:extLst>
          </p:cNvPr>
          <p:cNvSpPr/>
          <p:nvPr/>
        </p:nvSpPr>
        <p:spPr>
          <a:xfrm>
            <a:off x="5312419"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782;p51">
            <a:extLst>
              <a:ext uri="{FF2B5EF4-FFF2-40B4-BE49-F238E27FC236}">
                <a16:creationId xmlns:a16="http://schemas.microsoft.com/office/drawing/2014/main" id="{F3D350C7-F831-4D04-B669-CB308F57C329}"/>
              </a:ext>
            </a:extLst>
          </p:cNvPr>
          <p:cNvSpPr txBox="1">
            <a:spLocks/>
          </p:cNvSpPr>
          <p:nvPr/>
        </p:nvSpPr>
        <p:spPr>
          <a:xfrm>
            <a:off x="5282456"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6</a:t>
            </a:r>
          </a:p>
        </p:txBody>
      </p:sp>
      <p:sp>
        <p:nvSpPr>
          <p:cNvPr id="186" name="Google Shape;789;p51">
            <a:extLst>
              <a:ext uri="{FF2B5EF4-FFF2-40B4-BE49-F238E27FC236}">
                <a16:creationId xmlns:a16="http://schemas.microsoft.com/office/drawing/2014/main" id="{975EEAE4-8625-49DD-816B-0386513D2308}"/>
              </a:ext>
            </a:extLst>
          </p:cNvPr>
          <p:cNvSpPr txBox="1">
            <a:spLocks/>
          </p:cNvSpPr>
          <p:nvPr/>
        </p:nvSpPr>
        <p:spPr>
          <a:xfrm>
            <a:off x="2071451" y="2279924"/>
            <a:ext cx="3404953"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Gameplay Mechanics</a:t>
            </a:r>
            <a:endPar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endParaRPr>
          </a:p>
        </p:txBody>
      </p:sp>
      <p:sp>
        <p:nvSpPr>
          <p:cNvPr id="187" name="Google Shape;790;p51">
            <a:extLst>
              <a:ext uri="{FF2B5EF4-FFF2-40B4-BE49-F238E27FC236}">
                <a16:creationId xmlns:a16="http://schemas.microsoft.com/office/drawing/2014/main" id="{2823E2E2-60F1-42F4-B073-E22565D9A7DB}"/>
              </a:ext>
            </a:extLst>
          </p:cNvPr>
          <p:cNvSpPr txBox="1">
            <a:spLocks/>
          </p:cNvSpPr>
          <p:nvPr/>
        </p:nvSpPr>
        <p:spPr>
          <a:xfrm>
            <a:off x="2071452" y="1938873"/>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sp>
        <p:nvSpPr>
          <p:cNvPr id="188" name="Google Shape;791;p51">
            <a:extLst>
              <a:ext uri="{FF2B5EF4-FFF2-40B4-BE49-F238E27FC236}">
                <a16:creationId xmlns:a16="http://schemas.microsoft.com/office/drawing/2014/main" id="{5A105597-B427-4676-B293-68E4E654B16F}"/>
              </a:ext>
            </a:extLst>
          </p:cNvPr>
          <p:cNvSpPr txBox="1">
            <a:spLocks/>
          </p:cNvSpPr>
          <p:nvPr/>
        </p:nvSpPr>
        <p:spPr>
          <a:xfrm>
            <a:off x="2071452" y="3160429"/>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89" name="Google Shape;792;p51">
            <a:extLst>
              <a:ext uri="{FF2B5EF4-FFF2-40B4-BE49-F238E27FC236}">
                <a16:creationId xmlns:a16="http://schemas.microsoft.com/office/drawing/2014/main" id="{59E58A75-071F-4E45-8DAD-6A6714B47A2E}"/>
              </a:ext>
            </a:extLst>
          </p:cNvPr>
          <p:cNvSpPr txBox="1">
            <a:spLocks/>
          </p:cNvSpPr>
          <p:nvPr/>
        </p:nvSpPr>
        <p:spPr>
          <a:xfrm>
            <a:off x="2071451" y="3525366"/>
            <a:ext cx="3120299" cy="10010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 on different time marks milestones – tech use</a:t>
            </a:r>
            <a:endParaRPr kumimoji="0" lang="el-GR"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comparisons</a:t>
            </a: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reverse engineering</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0" name="Google Shape;793;p51">
            <a:extLst>
              <a:ext uri="{FF2B5EF4-FFF2-40B4-BE49-F238E27FC236}">
                <a16:creationId xmlns:a16="http://schemas.microsoft.com/office/drawing/2014/main" id="{64B2A6DC-BA91-4625-9ED4-1AA86A01B33D}"/>
              </a:ext>
            </a:extLst>
          </p:cNvPr>
          <p:cNvSpPr txBox="1">
            <a:spLocks/>
          </p:cNvSpPr>
          <p:nvPr/>
        </p:nvSpPr>
        <p:spPr>
          <a:xfrm>
            <a:off x="6097232" y="1937204"/>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Sneak peek</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1" name="Google Shape;794;p51">
            <a:extLst>
              <a:ext uri="{FF2B5EF4-FFF2-40B4-BE49-F238E27FC236}">
                <a16:creationId xmlns:a16="http://schemas.microsoft.com/office/drawing/2014/main" id="{C76CB409-D3EA-4C54-99A4-281C5A763DA0}"/>
              </a:ext>
            </a:extLst>
          </p:cNvPr>
          <p:cNvSpPr txBox="1">
            <a:spLocks/>
          </p:cNvSpPr>
          <p:nvPr/>
        </p:nvSpPr>
        <p:spPr>
          <a:xfrm>
            <a:off x="6097229" y="2110640"/>
            <a:ext cx="2521200"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What’s on the table</a:t>
            </a:r>
          </a:p>
        </p:txBody>
      </p:sp>
      <p:sp>
        <p:nvSpPr>
          <p:cNvPr id="192" name="Google Shape;795;p51">
            <a:extLst>
              <a:ext uri="{FF2B5EF4-FFF2-40B4-BE49-F238E27FC236}">
                <a16:creationId xmlns:a16="http://schemas.microsoft.com/office/drawing/2014/main" id="{4BD274A5-DC22-497E-BAE4-3D6280540354}"/>
              </a:ext>
            </a:extLst>
          </p:cNvPr>
          <p:cNvSpPr txBox="1">
            <a:spLocks/>
          </p:cNvSpPr>
          <p:nvPr/>
        </p:nvSpPr>
        <p:spPr>
          <a:xfrm>
            <a:off x="6097232" y="3161596"/>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Project stages</a:t>
            </a:r>
          </a:p>
        </p:txBody>
      </p:sp>
      <p:sp>
        <p:nvSpPr>
          <p:cNvPr id="193" name="Google Shape;796;p51">
            <a:extLst>
              <a:ext uri="{FF2B5EF4-FFF2-40B4-BE49-F238E27FC236}">
                <a16:creationId xmlns:a16="http://schemas.microsoft.com/office/drawing/2014/main" id="{F0F344DB-5CF1-4584-8713-FB4A1E617B93}"/>
              </a:ext>
            </a:extLst>
          </p:cNvPr>
          <p:cNvSpPr txBox="1">
            <a:spLocks/>
          </p:cNvSpPr>
          <p:nvPr/>
        </p:nvSpPr>
        <p:spPr>
          <a:xfrm>
            <a:off x="6097228" y="3731213"/>
            <a:ext cx="2818171"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Unveil of budling stag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rPr>
              <a:t>Develop</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Evolution / Iteration Buil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4" name="Google Shape;797;p51">
            <a:extLst>
              <a:ext uri="{FF2B5EF4-FFF2-40B4-BE49-F238E27FC236}">
                <a16:creationId xmlns:a16="http://schemas.microsoft.com/office/drawing/2014/main" id="{931325B2-B9C8-4B5C-8A93-21677918E3D3}"/>
              </a:ext>
            </a:extLst>
          </p:cNvPr>
          <p:cNvSpPr txBox="1">
            <a:spLocks/>
          </p:cNvSpPr>
          <p:nvPr/>
        </p:nvSpPr>
        <p:spPr>
          <a:xfrm>
            <a:off x="2071452" y="438215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Project goals</a:t>
            </a:r>
          </a:p>
        </p:txBody>
      </p:sp>
      <p:sp>
        <p:nvSpPr>
          <p:cNvPr id="195" name="Google Shape;798;p51">
            <a:extLst>
              <a:ext uri="{FF2B5EF4-FFF2-40B4-BE49-F238E27FC236}">
                <a16:creationId xmlns:a16="http://schemas.microsoft.com/office/drawing/2014/main" id="{33FCF000-970E-4493-8DF5-74F868A575D3}"/>
              </a:ext>
            </a:extLst>
          </p:cNvPr>
          <p:cNvSpPr txBox="1">
            <a:spLocks/>
          </p:cNvSpPr>
          <p:nvPr/>
        </p:nvSpPr>
        <p:spPr>
          <a:xfrm>
            <a:off x="2057353" y="4957804"/>
            <a:ext cx="3150264"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Interactive Genre Gameplay</a:t>
            </a:r>
            <a:r>
              <a:rPr lang="en-US" kern="0" dirty="0">
                <a:solidFill>
                  <a:srgbClr val="FFFFFF"/>
                </a:solidFill>
              </a:rPr>
              <a:t> Mechanic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6" name="Google Shape;799;p51">
            <a:extLst>
              <a:ext uri="{FF2B5EF4-FFF2-40B4-BE49-F238E27FC236}">
                <a16:creationId xmlns:a16="http://schemas.microsoft.com/office/drawing/2014/main" id="{72E52ECA-C3A3-4317-8D7E-4FCA78C26CFB}"/>
              </a:ext>
            </a:extLst>
          </p:cNvPr>
          <p:cNvSpPr txBox="1">
            <a:spLocks/>
          </p:cNvSpPr>
          <p:nvPr/>
        </p:nvSpPr>
        <p:spPr>
          <a:xfrm>
            <a:off x="6097229" y="438617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kern="0" dirty="0">
                <a:solidFill>
                  <a:srgbClr val="F7743C"/>
                </a:solidFill>
              </a:rPr>
              <a:t>Enter th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7" name="Google Shape;800;p51">
            <a:extLst>
              <a:ext uri="{FF2B5EF4-FFF2-40B4-BE49-F238E27FC236}">
                <a16:creationId xmlns:a16="http://schemas.microsoft.com/office/drawing/2014/main" id="{3139B118-FA8D-4DEA-910C-D2D89D151DB7}"/>
              </a:ext>
            </a:extLst>
          </p:cNvPr>
          <p:cNvSpPr txBox="1">
            <a:spLocks/>
          </p:cNvSpPr>
          <p:nvPr/>
        </p:nvSpPr>
        <p:spPr>
          <a:xfrm>
            <a:off x="6097229" y="4548029"/>
            <a:ext cx="2521200" cy="588600"/>
          </a:xfrm>
          <a:prstGeom prst="rect">
            <a:avLst/>
          </a:prstGeom>
          <a:noFill/>
          <a:ln>
            <a:noFill/>
          </a:ln>
          <a:effectLst>
            <a:glow rad="101600">
              <a:schemeClr val="accent1">
                <a:lumMod val="40000"/>
                <a:lumOff val="60000"/>
                <a:alpha val="40000"/>
              </a:schemeClr>
            </a:glo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Said enough!</a:t>
            </a:r>
          </a:p>
        </p:txBody>
      </p:sp>
      <p:grpSp>
        <p:nvGrpSpPr>
          <p:cNvPr id="203" name="Google Shape;831;p51">
            <a:extLst>
              <a:ext uri="{FF2B5EF4-FFF2-40B4-BE49-F238E27FC236}">
                <a16:creationId xmlns:a16="http://schemas.microsoft.com/office/drawing/2014/main" id="{CD7E1590-D195-4A40-96D3-32DDEAFA66EC}"/>
              </a:ext>
            </a:extLst>
          </p:cNvPr>
          <p:cNvGrpSpPr/>
          <p:nvPr/>
        </p:nvGrpSpPr>
        <p:grpSpPr>
          <a:xfrm rot="14053952">
            <a:off x="10370173" y="2426510"/>
            <a:ext cx="161701" cy="641985"/>
            <a:chOff x="7004550" y="3676293"/>
            <a:chExt cx="161700" cy="641982"/>
          </a:xfrm>
        </p:grpSpPr>
        <p:sp>
          <p:nvSpPr>
            <p:cNvPr id="204" name="Google Shape;832;p51">
              <a:extLst>
                <a:ext uri="{FF2B5EF4-FFF2-40B4-BE49-F238E27FC236}">
                  <a16:creationId xmlns:a16="http://schemas.microsoft.com/office/drawing/2014/main" id="{7FDABA01-165A-4E8F-994A-45FC0FA80D21}"/>
                </a:ext>
              </a:extLst>
            </p:cNvPr>
            <p:cNvSpPr/>
            <p:nvPr/>
          </p:nvSpPr>
          <p:spPr>
            <a:xfrm>
              <a:off x="7004550" y="4178475"/>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5" name="Google Shape;833;p51">
              <a:extLst>
                <a:ext uri="{FF2B5EF4-FFF2-40B4-BE49-F238E27FC236}">
                  <a16:creationId xmlns:a16="http://schemas.microsoft.com/office/drawing/2014/main" id="{712F556F-9CB1-476B-8EDC-BBC208BD1332}"/>
                </a:ext>
              </a:extLst>
            </p:cNvPr>
            <p:cNvSpPr/>
            <p:nvPr/>
          </p:nvSpPr>
          <p:spPr>
            <a:xfrm>
              <a:off x="7004550" y="4011081"/>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6" name="Google Shape;834;p51">
              <a:extLst>
                <a:ext uri="{FF2B5EF4-FFF2-40B4-BE49-F238E27FC236}">
                  <a16:creationId xmlns:a16="http://schemas.microsoft.com/office/drawing/2014/main" id="{F14970BA-B3C0-42E8-AF8E-7E42B16D5E83}"/>
                </a:ext>
              </a:extLst>
            </p:cNvPr>
            <p:cNvSpPr/>
            <p:nvPr/>
          </p:nvSpPr>
          <p:spPr>
            <a:xfrm>
              <a:off x="7004550" y="3843687"/>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Google Shape;835;p51">
              <a:extLst>
                <a:ext uri="{FF2B5EF4-FFF2-40B4-BE49-F238E27FC236}">
                  <a16:creationId xmlns:a16="http://schemas.microsoft.com/office/drawing/2014/main" id="{2D826B7B-D5D1-4621-AFF2-4D9F8C11FC8D}"/>
                </a:ext>
              </a:extLst>
            </p:cNvPr>
            <p:cNvSpPr/>
            <p:nvPr/>
          </p:nvSpPr>
          <p:spPr>
            <a:xfrm>
              <a:off x="7004550" y="3676293"/>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34" name="Rectangle 233">
            <a:extLst>
              <a:ext uri="{FF2B5EF4-FFF2-40B4-BE49-F238E27FC236}">
                <a16:creationId xmlns:a16="http://schemas.microsoft.com/office/drawing/2014/main" id="{7F90E6C1-ADC4-4E20-9273-CAD2D1C32E49}"/>
              </a:ext>
            </a:extLst>
          </p:cNvPr>
          <p:cNvSpPr/>
          <p:nvPr/>
        </p:nvSpPr>
        <p:spPr>
          <a:xfrm>
            <a:off x="7332929" y="4317197"/>
            <a:ext cx="1056700"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36721706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3076" name="Picture 4" descr="Unreal Engine Branding Guidelines and Trademark Usage - Unreal Engine">
            <a:extLst>
              <a:ext uri="{FF2B5EF4-FFF2-40B4-BE49-F238E27FC236}">
                <a16:creationId xmlns:a16="http://schemas.microsoft.com/office/drawing/2014/main" id="{949CFE88-C92C-40CF-B8D7-64309C3C06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414" y="230846"/>
            <a:ext cx="2376597" cy="1913213"/>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What is Ray Tracing? - Vention">
            <a:extLst>
              <a:ext uri="{FF2B5EF4-FFF2-40B4-BE49-F238E27FC236}">
                <a16:creationId xmlns:a16="http://schemas.microsoft.com/office/drawing/2014/main" id="{222AD8A7-7D6A-44D3-9ADA-92F5BABEA7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9248" y="2055183"/>
            <a:ext cx="6937599" cy="2927667"/>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Lst>
        </p:spPr>
      </p:pic>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197185"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i="0" u="none" strike="noStrike" kern="0" cap="none" spc="0" normalizeH="0" baseline="0" noProof="0" dirty="0">
                <a:ln>
                  <a:noFill/>
                </a:ln>
                <a:solidFill>
                  <a:srgbClr val="F7743C"/>
                </a:solidFill>
                <a:effectLst/>
                <a:uLnTx/>
                <a:uFillTx/>
                <a:latin typeface="Saira SemiCondensed ExtraBold"/>
                <a:sym typeface="Saira SemiCondensed ExtraBold"/>
              </a:rPr>
              <a:t>Now</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197185"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Stronger Hardware resulted to make Ray- tracing an achievable goal</a:t>
            </a: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197185" y="4167103"/>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Algorithms have improved making possible Virtualized Geometry and eliminating the fact of complex polygon rendering (UE5)</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53;p86">
            <a:extLst>
              <a:ext uri="{FF2B5EF4-FFF2-40B4-BE49-F238E27FC236}">
                <a16:creationId xmlns:a16="http://schemas.microsoft.com/office/drawing/2014/main" id="{AD9C93F9-A832-40DF-A084-7DD6C21905BE}"/>
              </a:ext>
            </a:extLst>
          </p:cNvPr>
          <p:cNvGrpSpPr/>
          <p:nvPr/>
        </p:nvGrpSpPr>
        <p:grpSpPr>
          <a:xfrm>
            <a:off x="720969" y="4167103"/>
            <a:ext cx="480412" cy="433980"/>
            <a:chOff x="1165500" y="492700"/>
            <a:chExt cx="5233250" cy="4727450"/>
          </a:xfrm>
        </p:grpSpPr>
        <p:sp>
          <p:nvSpPr>
            <p:cNvPr id="47" name="Google Shape;5254;p86">
              <a:extLst>
                <a:ext uri="{FF2B5EF4-FFF2-40B4-BE49-F238E27FC236}">
                  <a16:creationId xmlns:a16="http://schemas.microsoft.com/office/drawing/2014/main" id="{E0BB0F32-1F68-4EA2-A941-3F99DD65680A}"/>
                </a:ext>
              </a:extLst>
            </p:cNvPr>
            <p:cNvSpPr/>
            <p:nvPr/>
          </p:nvSpPr>
          <p:spPr>
            <a:xfrm>
              <a:off x="3851050" y="2687300"/>
              <a:ext cx="990775" cy="960475"/>
            </a:xfrm>
            <a:custGeom>
              <a:avLst/>
              <a:gdLst/>
              <a:ahLst/>
              <a:cxnLst/>
              <a:rect l="l" t="t" r="r" b="b"/>
              <a:pathLst>
                <a:path w="39631" h="38419" extrusionOk="0">
                  <a:moveTo>
                    <a:pt x="32912" y="1"/>
                  </a:moveTo>
                  <a:cubicBezTo>
                    <a:pt x="31347" y="1"/>
                    <a:pt x="29778" y="595"/>
                    <a:pt x="28577" y="1784"/>
                  </a:cubicBezTo>
                  <a:lnTo>
                    <a:pt x="2377" y="27984"/>
                  </a:lnTo>
                  <a:cubicBezTo>
                    <a:pt x="0" y="30361"/>
                    <a:pt x="0" y="34233"/>
                    <a:pt x="2377" y="36635"/>
                  </a:cubicBezTo>
                  <a:cubicBezTo>
                    <a:pt x="3578" y="37824"/>
                    <a:pt x="5147" y="38418"/>
                    <a:pt x="6712" y="38418"/>
                  </a:cubicBezTo>
                  <a:cubicBezTo>
                    <a:pt x="8278" y="38418"/>
                    <a:pt x="9840" y="37824"/>
                    <a:pt x="11029" y="36635"/>
                  </a:cubicBezTo>
                  <a:lnTo>
                    <a:pt x="37229" y="10435"/>
                  </a:lnTo>
                  <a:cubicBezTo>
                    <a:pt x="39631" y="8033"/>
                    <a:pt x="39631" y="4161"/>
                    <a:pt x="37229" y="1784"/>
                  </a:cubicBezTo>
                  <a:cubicBezTo>
                    <a:pt x="36040" y="595"/>
                    <a:pt x="34478" y="1"/>
                    <a:pt x="329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55;p86">
              <a:extLst>
                <a:ext uri="{FF2B5EF4-FFF2-40B4-BE49-F238E27FC236}">
                  <a16:creationId xmlns:a16="http://schemas.microsoft.com/office/drawing/2014/main" id="{27F10D3C-70AB-4232-869B-6957554E1906}"/>
                </a:ext>
              </a:extLst>
            </p:cNvPr>
            <p:cNvSpPr/>
            <p:nvPr/>
          </p:nvSpPr>
          <p:spPr>
            <a:xfrm>
              <a:off x="4124925" y="2946325"/>
              <a:ext cx="2273825" cy="2273825"/>
            </a:xfrm>
            <a:custGeom>
              <a:avLst/>
              <a:gdLst/>
              <a:ahLst/>
              <a:cxnLst/>
              <a:rect l="l" t="t" r="r" b="b"/>
              <a:pathLst>
                <a:path w="90953" h="90953" extrusionOk="0">
                  <a:moveTo>
                    <a:pt x="54459" y="12231"/>
                  </a:moveTo>
                  <a:cubicBezTo>
                    <a:pt x="62130" y="12231"/>
                    <a:pt x="68355" y="18456"/>
                    <a:pt x="68355" y="26127"/>
                  </a:cubicBezTo>
                  <a:cubicBezTo>
                    <a:pt x="68355" y="33798"/>
                    <a:pt x="62130" y="40048"/>
                    <a:pt x="54459" y="40048"/>
                  </a:cubicBezTo>
                  <a:cubicBezTo>
                    <a:pt x="46788" y="40048"/>
                    <a:pt x="40538" y="33798"/>
                    <a:pt x="40538" y="26127"/>
                  </a:cubicBezTo>
                  <a:cubicBezTo>
                    <a:pt x="40538" y="18456"/>
                    <a:pt x="46788" y="12231"/>
                    <a:pt x="54459" y="12231"/>
                  </a:cubicBezTo>
                  <a:close/>
                  <a:moveTo>
                    <a:pt x="26127" y="40538"/>
                  </a:moveTo>
                  <a:cubicBezTo>
                    <a:pt x="33798" y="40538"/>
                    <a:pt x="40048" y="46788"/>
                    <a:pt x="40048" y="54459"/>
                  </a:cubicBezTo>
                  <a:cubicBezTo>
                    <a:pt x="40048" y="62106"/>
                    <a:pt x="33798" y="68356"/>
                    <a:pt x="26127" y="68356"/>
                  </a:cubicBezTo>
                  <a:cubicBezTo>
                    <a:pt x="18480" y="68356"/>
                    <a:pt x="12230" y="62106"/>
                    <a:pt x="12230" y="54459"/>
                  </a:cubicBezTo>
                  <a:cubicBezTo>
                    <a:pt x="12230" y="46788"/>
                    <a:pt x="18480" y="40538"/>
                    <a:pt x="26127" y="40538"/>
                  </a:cubicBezTo>
                  <a:close/>
                  <a:moveTo>
                    <a:pt x="64826" y="50905"/>
                  </a:moveTo>
                  <a:cubicBezTo>
                    <a:pt x="72497" y="50905"/>
                    <a:pt x="78723" y="57155"/>
                    <a:pt x="78723" y="64802"/>
                  </a:cubicBezTo>
                  <a:cubicBezTo>
                    <a:pt x="78723" y="72473"/>
                    <a:pt x="72497" y="78723"/>
                    <a:pt x="64826" y="78723"/>
                  </a:cubicBezTo>
                  <a:cubicBezTo>
                    <a:pt x="57155" y="78723"/>
                    <a:pt x="50905" y="72473"/>
                    <a:pt x="50905" y="64802"/>
                  </a:cubicBezTo>
                  <a:cubicBezTo>
                    <a:pt x="50905" y="57155"/>
                    <a:pt x="57155" y="50905"/>
                    <a:pt x="64826" y="50905"/>
                  </a:cubicBezTo>
                  <a:close/>
                  <a:moveTo>
                    <a:pt x="54459" y="1"/>
                  </a:moveTo>
                  <a:cubicBezTo>
                    <a:pt x="47253" y="1"/>
                    <a:pt x="40710" y="2942"/>
                    <a:pt x="35979" y="7672"/>
                  </a:cubicBezTo>
                  <a:lnTo>
                    <a:pt x="7672" y="35980"/>
                  </a:lnTo>
                  <a:cubicBezTo>
                    <a:pt x="2942" y="40710"/>
                    <a:pt x="1" y="47229"/>
                    <a:pt x="1" y="54459"/>
                  </a:cubicBezTo>
                  <a:cubicBezTo>
                    <a:pt x="1" y="68870"/>
                    <a:pt x="11716" y="80586"/>
                    <a:pt x="26127" y="80586"/>
                  </a:cubicBezTo>
                  <a:cubicBezTo>
                    <a:pt x="31715" y="80586"/>
                    <a:pt x="36886" y="78821"/>
                    <a:pt x="41126" y="75831"/>
                  </a:cubicBezTo>
                  <a:cubicBezTo>
                    <a:pt x="45293" y="84752"/>
                    <a:pt x="54336" y="90953"/>
                    <a:pt x="64826" y="90953"/>
                  </a:cubicBezTo>
                  <a:cubicBezTo>
                    <a:pt x="79237" y="90953"/>
                    <a:pt x="90953" y="79213"/>
                    <a:pt x="90953" y="64802"/>
                  </a:cubicBezTo>
                  <a:cubicBezTo>
                    <a:pt x="90953" y="54337"/>
                    <a:pt x="84752" y="45293"/>
                    <a:pt x="75855" y="41126"/>
                  </a:cubicBezTo>
                  <a:cubicBezTo>
                    <a:pt x="78845" y="36886"/>
                    <a:pt x="80585" y="31715"/>
                    <a:pt x="80585" y="26127"/>
                  </a:cubicBezTo>
                  <a:cubicBezTo>
                    <a:pt x="80585" y="11716"/>
                    <a:pt x="68870" y="1"/>
                    <a:pt x="5445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56;p86">
              <a:extLst>
                <a:ext uri="{FF2B5EF4-FFF2-40B4-BE49-F238E27FC236}">
                  <a16:creationId xmlns:a16="http://schemas.microsoft.com/office/drawing/2014/main" id="{D877CD23-2C03-4749-9FE2-7F8E5FFB7C02}"/>
                </a:ext>
              </a:extLst>
            </p:cNvPr>
            <p:cNvSpPr/>
            <p:nvPr/>
          </p:nvSpPr>
          <p:spPr>
            <a:xfrm>
              <a:off x="1165500" y="1189675"/>
              <a:ext cx="1425200" cy="1246600"/>
            </a:xfrm>
            <a:custGeom>
              <a:avLst/>
              <a:gdLst/>
              <a:ahLst/>
              <a:cxnLst/>
              <a:rect l="l" t="t" r="r" b="b"/>
              <a:pathLst>
                <a:path w="57008" h="49864" extrusionOk="0">
                  <a:moveTo>
                    <a:pt x="22156" y="0"/>
                  </a:moveTo>
                  <a:lnTo>
                    <a:pt x="2377" y="19779"/>
                  </a:lnTo>
                  <a:cubicBezTo>
                    <a:pt x="0" y="22156"/>
                    <a:pt x="0" y="26028"/>
                    <a:pt x="2377" y="28430"/>
                  </a:cubicBezTo>
                  <a:cubicBezTo>
                    <a:pt x="3578" y="29619"/>
                    <a:pt x="5147" y="30213"/>
                    <a:pt x="6712" y="30213"/>
                  </a:cubicBezTo>
                  <a:cubicBezTo>
                    <a:pt x="8278" y="30213"/>
                    <a:pt x="9840" y="29619"/>
                    <a:pt x="11029" y="28430"/>
                  </a:cubicBezTo>
                  <a:lnTo>
                    <a:pt x="19803" y="19632"/>
                  </a:lnTo>
                  <a:lnTo>
                    <a:pt x="37376" y="37204"/>
                  </a:lnTo>
                  <a:lnTo>
                    <a:pt x="35146" y="39410"/>
                  </a:lnTo>
                  <a:cubicBezTo>
                    <a:pt x="32744" y="41812"/>
                    <a:pt x="32744" y="45684"/>
                    <a:pt x="35146" y="48062"/>
                  </a:cubicBezTo>
                  <a:cubicBezTo>
                    <a:pt x="36334" y="49263"/>
                    <a:pt x="37897" y="49863"/>
                    <a:pt x="39462" y="49863"/>
                  </a:cubicBezTo>
                  <a:cubicBezTo>
                    <a:pt x="41028" y="49863"/>
                    <a:pt x="42596" y="49263"/>
                    <a:pt x="43797" y="48062"/>
                  </a:cubicBezTo>
                  <a:lnTo>
                    <a:pt x="57008" y="34852"/>
                  </a:lnTo>
                  <a:lnTo>
                    <a:pt x="2215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57;p86">
              <a:extLst>
                <a:ext uri="{FF2B5EF4-FFF2-40B4-BE49-F238E27FC236}">
                  <a16:creationId xmlns:a16="http://schemas.microsoft.com/office/drawing/2014/main" id="{1C900D3A-86E5-4F37-927B-1AF99DDFB430}"/>
                </a:ext>
              </a:extLst>
            </p:cNvPr>
            <p:cNvSpPr/>
            <p:nvPr/>
          </p:nvSpPr>
          <p:spPr>
            <a:xfrm>
              <a:off x="1656900" y="492700"/>
              <a:ext cx="2472950" cy="2458550"/>
            </a:xfrm>
            <a:custGeom>
              <a:avLst/>
              <a:gdLst/>
              <a:ahLst/>
              <a:cxnLst/>
              <a:rect l="l" t="t" r="r" b="b"/>
              <a:pathLst>
                <a:path w="98918" h="98342" extrusionOk="0">
                  <a:moveTo>
                    <a:pt x="6713" y="0"/>
                  </a:moveTo>
                  <a:cubicBezTo>
                    <a:pt x="5147" y="0"/>
                    <a:pt x="3578" y="601"/>
                    <a:pt x="2378" y="1802"/>
                  </a:cubicBezTo>
                  <a:cubicBezTo>
                    <a:pt x="0" y="4179"/>
                    <a:pt x="0" y="8052"/>
                    <a:pt x="2378" y="10453"/>
                  </a:cubicBezTo>
                  <a:lnTo>
                    <a:pt x="90290" y="98342"/>
                  </a:lnTo>
                  <a:lnTo>
                    <a:pt x="98918" y="89690"/>
                  </a:lnTo>
                  <a:lnTo>
                    <a:pt x="11029" y="1802"/>
                  </a:lnTo>
                  <a:cubicBezTo>
                    <a:pt x="9840" y="601"/>
                    <a:pt x="8278" y="0"/>
                    <a:pt x="67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3442349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5217081" y="878662"/>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i="0" u="none" strike="noStrike" kern="0" cap="none" spc="0" normalizeH="0" baseline="0" noProof="0" dirty="0">
                <a:ln>
                  <a:noFill/>
                </a:ln>
                <a:solidFill>
                  <a:srgbClr val="F7743C"/>
                </a:solidFill>
                <a:effectLst/>
                <a:uLnTx/>
                <a:uFillTx/>
                <a:latin typeface="Saira SemiCondensed ExtraBold"/>
                <a:sym typeface="Saira SemiCondensed ExtraBold"/>
              </a:rPr>
              <a:t>Future is</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7689247" y="2653463"/>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nstead of multiple Game Engines fighting in market place why not having 1 main engine and contribute globally to it for making tomorrows dream possible?</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9234884" y="219430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8554095" y="3628580"/>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is actually already happening</a:t>
            </a:r>
          </a:p>
        </p:txBody>
      </p:sp>
      <p:pic>
        <p:nvPicPr>
          <p:cNvPr id="60" name="Picture 4" descr="Unreal Engine Branding Guidelines and Trademark Usage - Unreal Engine">
            <a:extLst>
              <a:ext uri="{FF2B5EF4-FFF2-40B4-BE49-F238E27FC236}">
                <a16:creationId xmlns:a16="http://schemas.microsoft.com/office/drawing/2014/main" id="{94DF2E51-EBB1-41F7-BB9E-0C7CF7BF1C54}"/>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31943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 71">
            <a:extLst>
              <a:ext uri="{FF2B5EF4-FFF2-40B4-BE49-F238E27FC236}">
                <a16:creationId xmlns:a16="http://schemas.microsoft.com/office/drawing/2014/main" id="{B9C54B32-05B1-4F9C-BA4F-7D27BC38A248}"/>
              </a:ext>
            </a:extLst>
          </p:cNvPr>
          <p:cNvGrpSpPr/>
          <p:nvPr/>
        </p:nvGrpSpPr>
        <p:grpSpPr>
          <a:xfrm>
            <a:off x="2414006" y="2380319"/>
            <a:ext cx="7363989" cy="3382062"/>
            <a:chOff x="2493903" y="2380319"/>
            <a:chExt cx="7363989" cy="3382062"/>
          </a:xfrm>
        </p:grpSpPr>
        <p:sp>
          <p:nvSpPr>
            <p:cNvPr id="62" name="Google Shape;5593;p92">
              <a:extLst>
                <a:ext uri="{FF2B5EF4-FFF2-40B4-BE49-F238E27FC236}">
                  <a16:creationId xmlns:a16="http://schemas.microsoft.com/office/drawing/2014/main" id="{C35164A5-1C4A-431F-B6B3-73B1A7F2167C}"/>
                </a:ext>
              </a:extLst>
            </p:cNvPr>
            <p:cNvSpPr/>
            <p:nvPr/>
          </p:nvSpPr>
          <p:spPr>
            <a:xfrm>
              <a:off x="2495921"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593;p92">
              <a:extLst>
                <a:ext uri="{FF2B5EF4-FFF2-40B4-BE49-F238E27FC236}">
                  <a16:creationId xmlns:a16="http://schemas.microsoft.com/office/drawing/2014/main" id="{ED3E2045-A3A8-4490-9DF8-F05AC2070F75}"/>
                </a:ext>
              </a:extLst>
            </p:cNvPr>
            <p:cNvSpPr/>
            <p:nvPr/>
          </p:nvSpPr>
          <p:spPr>
            <a:xfrm>
              <a:off x="2495921"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5593;p92">
              <a:extLst>
                <a:ext uri="{FF2B5EF4-FFF2-40B4-BE49-F238E27FC236}">
                  <a16:creationId xmlns:a16="http://schemas.microsoft.com/office/drawing/2014/main" id="{6180D21E-D7DB-442D-AECC-342308BC4111}"/>
                </a:ext>
              </a:extLst>
            </p:cNvPr>
            <p:cNvSpPr/>
            <p:nvPr/>
          </p:nvSpPr>
          <p:spPr>
            <a:xfrm>
              <a:off x="2495921" y="388395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5593;p92">
              <a:extLst>
                <a:ext uri="{FF2B5EF4-FFF2-40B4-BE49-F238E27FC236}">
                  <a16:creationId xmlns:a16="http://schemas.microsoft.com/office/drawing/2014/main" id="{79C5531D-EAF4-4CD9-AB52-984D36EBE44B}"/>
                </a:ext>
              </a:extLst>
            </p:cNvPr>
            <p:cNvSpPr/>
            <p:nvPr/>
          </p:nvSpPr>
          <p:spPr>
            <a:xfrm>
              <a:off x="2493903" y="533611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5593;p92">
              <a:extLst>
                <a:ext uri="{FF2B5EF4-FFF2-40B4-BE49-F238E27FC236}">
                  <a16:creationId xmlns:a16="http://schemas.microsoft.com/office/drawing/2014/main" id="{3B5F5359-C4E4-4829-80F3-087283B8C37E}"/>
                </a:ext>
              </a:extLst>
            </p:cNvPr>
            <p:cNvSpPr/>
            <p:nvPr/>
          </p:nvSpPr>
          <p:spPr>
            <a:xfrm>
              <a:off x="2495921" y="437032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2738980" y="3167943"/>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Believable Physics System out of the box</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2715236" y="2380319"/>
              <a:ext cx="7127433" cy="98591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Complex Scene Real-time Graphics/Shaders Rendering for Global illumination and Reflections</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1" name="Google Shape;1714;p63">
              <a:extLst>
                <a:ext uri="{FF2B5EF4-FFF2-40B4-BE49-F238E27FC236}">
                  <a16:creationId xmlns:a16="http://schemas.microsoft.com/office/drawing/2014/main" id="{8C93DC3C-B7BA-48E6-86EA-CBEBD775B6BD}"/>
                </a:ext>
              </a:extLst>
            </p:cNvPr>
            <p:cNvSpPr txBox="1">
              <a:spLocks/>
            </p:cNvSpPr>
            <p:nvPr/>
          </p:nvSpPr>
          <p:spPr>
            <a:xfrm>
              <a:off x="2736963" y="3639709"/>
              <a:ext cx="6654943" cy="7073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Easier Workflow and collaboration for same asset edit</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6" name="Google Shape;1714;p63">
              <a:extLst>
                <a:ext uri="{FF2B5EF4-FFF2-40B4-BE49-F238E27FC236}">
                  <a16:creationId xmlns:a16="http://schemas.microsoft.com/office/drawing/2014/main" id="{5C9B9736-AB5C-4324-977E-96750ACBF70B}"/>
                </a:ext>
              </a:extLst>
            </p:cNvPr>
            <p:cNvSpPr txBox="1">
              <a:spLocks/>
            </p:cNvSpPr>
            <p:nvPr/>
          </p:nvSpPr>
          <p:spPr>
            <a:xfrm>
              <a:off x="2709852" y="5092320"/>
              <a:ext cx="7148040"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Large Ecosystem of Support, Ideas, Assets &amp; collaboration</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68" name="Google Shape;1714;p63">
              <a:extLst>
                <a:ext uri="{FF2B5EF4-FFF2-40B4-BE49-F238E27FC236}">
                  <a16:creationId xmlns:a16="http://schemas.microsoft.com/office/drawing/2014/main" id="{D03BAD38-A361-4302-804B-DA8EADAB94EB}"/>
                </a:ext>
              </a:extLst>
            </p:cNvPr>
            <p:cNvSpPr txBox="1">
              <a:spLocks/>
            </p:cNvSpPr>
            <p:nvPr/>
          </p:nvSpPr>
          <p:spPr>
            <a:xfrm>
              <a:off x="2720620" y="4148790"/>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rgbClr val="000000"/>
                </a:buClr>
                <a:buSzPts val="1100"/>
                <a:defRPr/>
              </a:pPr>
              <a:r>
                <a:rPr lang="en-US" sz="1800" b="1" kern="0" dirty="0">
                  <a:solidFill>
                    <a:srgbClr val="D5FA68"/>
                  </a:solidFill>
                </a:rPr>
                <a:t>Animation Support </a:t>
              </a:r>
              <a:r>
                <a:rPr lang="en-US" sz="1800" b="1" kern="0" dirty="0">
                  <a:solidFill>
                    <a:srgbClr val="448B91"/>
                  </a:solidFill>
                </a:rPr>
                <a:t>&amp;</a:t>
              </a:r>
              <a:r>
                <a:rPr lang="en-US" sz="1800" b="1" kern="0" dirty="0">
                  <a:solidFill>
                    <a:srgbClr val="D5FA68"/>
                  </a:solidFill>
                </a:rPr>
                <a:t> </a:t>
              </a:r>
              <a:r>
                <a:rPr kumimoji="0" lang="en-US" sz="1800" b="1" i="0" u="none" strike="noStrike" kern="0" cap="none" spc="0" normalizeH="0" baseline="0" noProof="0" dirty="0">
                  <a:ln>
                    <a:noFill/>
                  </a:ln>
                  <a:solidFill>
                    <a:schemeClr val="tx1"/>
                  </a:solidFill>
                  <a:effectLst/>
                  <a:uLnTx/>
                  <a:uFillTx/>
                  <a:latin typeface="Sora"/>
                  <a:cs typeface="Sora"/>
                  <a:sym typeface="Sora"/>
                </a:rPr>
                <a:t>Character Modeling</a:t>
              </a:r>
            </a:p>
          </p:txBody>
        </p:sp>
        <p:sp>
          <p:nvSpPr>
            <p:cNvPr id="70" name="Google Shape;1714;p63">
              <a:extLst>
                <a:ext uri="{FF2B5EF4-FFF2-40B4-BE49-F238E27FC236}">
                  <a16:creationId xmlns:a16="http://schemas.microsoft.com/office/drawing/2014/main" id="{0222DF66-B5FD-4B9D-9762-C84DCCF877AF}"/>
                </a:ext>
              </a:extLst>
            </p:cNvPr>
            <p:cNvSpPr txBox="1">
              <a:spLocks/>
            </p:cNvSpPr>
            <p:nvPr/>
          </p:nvSpPr>
          <p:spPr>
            <a:xfrm>
              <a:off x="2715236" y="4620556"/>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800" b="1" i="0" u="none" strike="noStrike" kern="0" cap="none" spc="0" normalizeH="0" baseline="0" noProof="0" dirty="0">
                  <a:ln>
                    <a:noFill/>
                  </a:ln>
                  <a:solidFill>
                    <a:schemeClr val="tx1"/>
                  </a:solidFill>
                  <a:effectLst/>
                  <a:uLnTx/>
                  <a:uFillTx/>
                  <a:latin typeface="Sora"/>
                  <a:cs typeface="Sora"/>
                  <a:sym typeface="Sora"/>
                </a:rPr>
                <a:t>Visual Effects (VFX Niagara System)</a:t>
              </a:r>
            </a:p>
          </p:txBody>
        </p:sp>
        <p:sp>
          <p:nvSpPr>
            <p:cNvPr id="71" name="Google Shape;5593;p92">
              <a:extLst>
                <a:ext uri="{FF2B5EF4-FFF2-40B4-BE49-F238E27FC236}">
                  <a16:creationId xmlns:a16="http://schemas.microsoft.com/office/drawing/2014/main" id="{DD97017D-EB07-4B03-AB24-A1864CB48A73}"/>
                </a:ext>
              </a:extLst>
            </p:cNvPr>
            <p:cNvSpPr/>
            <p:nvPr/>
          </p:nvSpPr>
          <p:spPr>
            <a:xfrm>
              <a:off x="2493904" y="484209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5FA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3380057" y="981359"/>
            <a:ext cx="5431887"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50042" y="51177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5747276" y="151654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 name="Title 1">
            <a:extLst>
              <a:ext uri="{FF2B5EF4-FFF2-40B4-BE49-F238E27FC236}">
                <a16:creationId xmlns:a16="http://schemas.microsoft.com/office/drawing/2014/main" id="{81194855-2B10-4294-A2E2-0E25C80F5CD6}"/>
              </a:ext>
            </a:extLst>
          </p:cNvPr>
          <p:cNvSpPr txBox="1">
            <a:spLocks/>
          </p:cNvSpPr>
          <p:nvPr/>
        </p:nvSpPr>
        <p:spPr>
          <a:xfrm>
            <a:off x="7061503" y="1361813"/>
            <a:ext cx="4210442" cy="404713"/>
          </a:xfrm>
          <a:prstGeom prst="rect">
            <a:avLst/>
          </a:prstGeom>
        </p:spPr>
        <p:txBody>
          <a:bodyPr vert="horz" lIns="91440" tIns="45720" rIns="91440" bIns="45720" rtlCol="0" anchor="b">
            <a:normAutofit fontScale="85000" lnSpcReduction="10000"/>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And its in good way for perfection</a:t>
            </a:r>
          </a:p>
        </p:txBody>
      </p:sp>
    </p:spTree>
    <p:extLst>
      <p:ext uri="{BB962C8B-B14F-4D97-AF65-F5344CB8AC3E}">
        <p14:creationId xmlns:p14="http://schemas.microsoft.com/office/powerpoint/2010/main" val="5454418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84" name="Google Shape;5593;p92">
            <a:extLst>
              <a:ext uri="{FF2B5EF4-FFF2-40B4-BE49-F238E27FC236}">
                <a16:creationId xmlns:a16="http://schemas.microsoft.com/office/drawing/2014/main" id="{926D6630-5E6C-4AEA-9010-2496C8CA9098}"/>
              </a:ext>
            </a:extLst>
          </p:cNvPr>
          <p:cNvSpPr/>
          <p:nvPr/>
        </p:nvSpPr>
        <p:spPr>
          <a:xfrm>
            <a:off x="2416024"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5593;p92">
            <a:extLst>
              <a:ext uri="{FF2B5EF4-FFF2-40B4-BE49-F238E27FC236}">
                <a16:creationId xmlns:a16="http://schemas.microsoft.com/office/drawing/2014/main" id="{8DB8DFCE-5E7C-4E41-A87F-D4B190024BB8}"/>
              </a:ext>
            </a:extLst>
          </p:cNvPr>
          <p:cNvSpPr/>
          <p:nvPr/>
        </p:nvSpPr>
        <p:spPr>
          <a:xfrm>
            <a:off x="2416024"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714;p63">
            <a:extLst>
              <a:ext uri="{FF2B5EF4-FFF2-40B4-BE49-F238E27FC236}">
                <a16:creationId xmlns:a16="http://schemas.microsoft.com/office/drawing/2014/main" id="{018136F1-2F2B-4365-8645-E8072CF0CCBF}"/>
              </a:ext>
            </a:extLst>
          </p:cNvPr>
          <p:cNvSpPr txBox="1">
            <a:spLocks/>
          </p:cNvSpPr>
          <p:nvPr/>
        </p:nvSpPr>
        <p:spPr>
          <a:xfrm>
            <a:off x="2659083" y="3167943"/>
            <a:ext cx="6897578"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100% Agnostic/Blur line for VR/AR/Film/Game workflow</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90" name="Google Shape;1714;p63">
            <a:extLst>
              <a:ext uri="{FF2B5EF4-FFF2-40B4-BE49-F238E27FC236}">
                <a16:creationId xmlns:a16="http://schemas.microsoft.com/office/drawing/2014/main" id="{F34B53DD-2ECA-4462-817A-832B18CFA5AB}"/>
              </a:ext>
            </a:extLst>
          </p:cNvPr>
          <p:cNvSpPr txBox="1">
            <a:spLocks/>
          </p:cNvSpPr>
          <p:nvPr/>
        </p:nvSpPr>
        <p:spPr>
          <a:xfrm>
            <a:off x="2635339" y="2380319"/>
            <a:ext cx="7127433" cy="75504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Revolutionized AI System</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5291;p86">
            <a:extLst>
              <a:ext uri="{FF2B5EF4-FFF2-40B4-BE49-F238E27FC236}">
                <a16:creationId xmlns:a16="http://schemas.microsoft.com/office/drawing/2014/main" id="{1643562A-6257-4D87-AE43-E0B34F401FD9}"/>
              </a:ext>
            </a:extLst>
          </p:cNvPr>
          <p:cNvGrpSpPr/>
          <p:nvPr/>
        </p:nvGrpSpPr>
        <p:grpSpPr>
          <a:xfrm>
            <a:off x="5747276" y="1516545"/>
            <a:ext cx="479963" cy="479963"/>
            <a:chOff x="1190625" y="238125"/>
            <a:chExt cx="5228350" cy="5228350"/>
          </a:xfrm>
        </p:grpSpPr>
        <p:sp>
          <p:nvSpPr>
            <p:cNvPr id="71" name="Google Shape;5292;p86">
              <a:extLst>
                <a:ext uri="{FF2B5EF4-FFF2-40B4-BE49-F238E27FC236}">
                  <a16:creationId xmlns:a16="http://schemas.microsoft.com/office/drawing/2014/main" id="{ABF1B882-8664-4F20-A58B-38C286E5E68C}"/>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5293;p86">
              <a:extLst>
                <a:ext uri="{FF2B5EF4-FFF2-40B4-BE49-F238E27FC236}">
                  <a16:creationId xmlns:a16="http://schemas.microsoft.com/office/drawing/2014/main" id="{1C762329-4E91-425E-884F-2B957B289DB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5294;p86">
              <a:extLst>
                <a:ext uri="{FF2B5EF4-FFF2-40B4-BE49-F238E27FC236}">
                  <a16:creationId xmlns:a16="http://schemas.microsoft.com/office/drawing/2014/main" id="{743666F0-D69D-48F9-B984-6989A6B2F2B3}"/>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5295;p86">
              <a:extLst>
                <a:ext uri="{FF2B5EF4-FFF2-40B4-BE49-F238E27FC236}">
                  <a16:creationId xmlns:a16="http://schemas.microsoft.com/office/drawing/2014/main" id="{308FEE33-74DA-490C-B43B-A6FA9DFA09EF}"/>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5296;p86">
              <a:extLst>
                <a:ext uri="{FF2B5EF4-FFF2-40B4-BE49-F238E27FC236}">
                  <a16:creationId xmlns:a16="http://schemas.microsoft.com/office/drawing/2014/main" id="{2AA012A4-65F7-4BF6-978F-0D66BF01BD8F}"/>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5297;p86">
              <a:extLst>
                <a:ext uri="{FF2B5EF4-FFF2-40B4-BE49-F238E27FC236}">
                  <a16:creationId xmlns:a16="http://schemas.microsoft.com/office/drawing/2014/main" id="{FD41BF42-BA4E-4FDC-A45D-02B8BB360266}"/>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5298;p86">
              <a:extLst>
                <a:ext uri="{FF2B5EF4-FFF2-40B4-BE49-F238E27FC236}">
                  <a16:creationId xmlns:a16="http://schemas.microsoft.com/office/drawing/2014/main" id="{73D80217-7490-442C-9003-4FB5C150E6B5}"/>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5299;p86">
              <a:extLst>
                <a:ext uri="{FF2B5EF4-FFF2-40B4-BE49-F238E27FC236}">
                  <a16:creationId xmlns:a16="http://schemas.microsoft.com/office/drawing/2014/main" id="{DA63F66B-5877-486B-93D5-7A40B7021709}"/>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5300;p86">
              <a:extLst>
                <a:ext uri="{FF2B5EF4-FFF2-40B4-BE49-F238E27FC236}">
                  <a16:creationId xmlns:a16="http://schemas.microsoft.com/office/drawing/2014/main" id="{9B129915-3526-49AE-820E-B7E9146FA79A}"/>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5301;p86">
              <a:extLst>
                <a:ext uri="{FF2B5EF4-FFF2-40B4-BE49-F238E27FC236}">
                  <a16:creationId xmlns:a16="http://schemas.microsoft.com/office/drawing/2014/main" id="{5F62B1BA-A766-4BA2-80D1-D75E4BDFFC22}"/>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 name="Google Shape;1713;p63">
            <a:extLst>
              <a:ext uri="{FF2B5EF4-FFF2-40B4-BE49-F238E27FC236}">
                <a16:creationId xmlns:a16="http://schemas.microsoft.com/office/drawing/2014/main" id="{EAF1ABCE-3436-425C-95FE-274602BE65AA}"/>
              </a:ext>
            </a:extLst>
          </p:cNvPr>
          <p:cNvSpPr txBox="1">
            <a:spLocks/>
          </p:cNvSpPr>
          <p:nvPr/>
        </p:nvSpPr>
        <p:spPr>
          <a:xfrm>
            <a:off x="3380057" y="981359"/>
            <a:ext cx="636957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a:t>
            </a:r>
            <a:r>
              <a:rPr lang="en-US" b="1" kern="0" dirty="0">
                <a:solidFill>
                  <a:srgbClr val="448B91"/>
                </a:solidFill>
                <a:effectLst>
                  <a:outerShdw blurRad="38100" dist="38100" dir="2700000" algn="tl">
                    <a:srgbClr val="000000">
                      <a:alpha val="43137"/>
                    </a:srgbClr>
                  </a:outerShdw>
                </a:effectLst>
              </a:rPr>
              <a:t>NOT</a:t>
            </a:r>
            <a:r>
              <a:rPr lang="en-US" b="1" kern="0" dirty="0">
                <a:solidFill>
                  <a:srgbClr val="F7743C"/>
                </a:solidFill>
                <a:effectLst>
                  <a:outerShdw blurRad="38100" dist="38100" dir="2700000" algn="tl">
                    <a:srgbClr val="000000">
                      <a:alpha val="43137"/>
                    </a:srgbClr>
                  </a:outerShdw>
                </a:effectLst>
              </a:rPr>
              <a:t>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spTree>
    <p:extLst>
      <p:ext uri="{BB962C8B-B14F-4D97-AF65-F5344CB8AC3E}">
        <p14:creationId xmlns:p14="http://schemas.microsoft.com/office/powerpoint/2010/main" val="34828010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8F22650-6DA8-4AEC-884F-E2E88B1D8EE7}"/>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D4720F74-9087-4C22-A4A0-A2F7E50E0D5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AE25A543-49E9-4B4A-9329-7FC698B4B87E}"/>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876AC29F-BA9E-4E01-9DD9-5475FDB96B6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A29C4E0-F688-48F2-8A6D-E815FFDA847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6A24CF41-C3A3-420B-809E-06FF87A1A5D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27D3589A-A6F4-4018-828C-07E2476190CA}"/>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05D0C272-410A-4CAB-A311-F29F3231EEEF}"/>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B0F62E77-E46A-4F5A-8A24-73C921756C19}"/>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9A58366C-6F81-4BD3-8346-7E8553C83AA1}"/>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02C4616D-036C-4540-938C-9DDA0214F9A1}"/>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BEC8767B-21F1-4F87-BBE4-C49BF802C57B}"/>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995DC8C8-6DBB-4C3C-9127-2D761B2D209E}"/>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3F727ECB-813A-40BA-A01E-19EC92F4E95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53434BF-9C86-42DD-93B7-748F728486C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7F58780D-B5BC-4C82-AD18-B6FE34C011A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5CEE2A2F-F549-4D2F-AC36-D4B676274CE8}"/>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A07C2243-4494-483E-91E3-1168A73836D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DC86DD3F-685D-4172-9DBD-1970B678ED2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796B4E-A4B9-448E-A267-49CD115D9DAC}"/>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AB50D7F3-130E-4D4C-8AED-A1AF7EB024D7}"/>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B3D86472-DF8F-4E61-80BC-4E53BCC27680}"/>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E59A4105-D512-4982-8B71-F235685F468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571BCF0-065F-4992-AD0D-CD6307EFD13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6BD6AC7-D871-4280-98CC-DD2D9F4180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9AAA1AA9-18D7-450C-BD3B-3D41B302434B}"/>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C3ACAAE4-FC7F-4732-800E-66EBDC9FEEC9}"/>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4DC66122-E88E-4A99-BDCF-DAA9FA1E3F70}"/>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AD3FA82-AAF8-4AC7-B8B0-7D22CBE1B40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429515C4-973F-477D-9CE9-31EC27BE4F22}"/>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01C0C4E4-B4F2-4A07-B28A-78CF54C39520}"/>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934AFBCC-DE85-4063-A2D7-6FF4D5BCFAEA}"/>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7CFD1982-65A8-4882-A3B3-CD652AA7D5D0}"/>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41BFC1FD-6EC6-475B-8AFC-6645E21F166D}"/>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866AA931-FA2F-44A4-8BA8-514DAB5F3240}"/>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6D2476FF-796D-4801-B1DB-20B09084D06E}"/>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26215DCD-EA85-46C2-9355-4F90FC0CB2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4ED74C1B-FE8F-40EF-A837-A1B5845C2906}"/>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4197CB9A-D3C6-4D7E-A686-13AA3AB8BDB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AB5A9CB3-7470-4883-B399-1D709A03C85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B3EEC67-2EE4-4B3B-9EE8-8983F75719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A91C2816-BCA2-4554-8462-E824FAF04494}"/>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E5B14A04-1722-496A-836C-6C4D56B9A1F6}"/>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77A9096F-B868-4B7D-A6A4-F638EC6D131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A64AE929-3F65-4BA9-B86C-0CEF0A74648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8CCCB127-877F-4CB1-9523-B44DF854DC8E}"/>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3B85167B-840D-4E9C-BAE2-6FCB2358AC5F}"/>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13F52EF9-A8F4-4E60-A73B-E6EAF96213E0}"/>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5193444B-9803-4C20-93D4-3E549851E24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A6636B86-5301-4CF6-A686-1A322528AB1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652CB2A6-754C-499E-9B2A-BE6F5539A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C8C4CED6-180D-45D0-A1DD-D00A2487C8F8}"/>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EC96C764-DB1D-428C-8B02-FF5E8779B8FB}"/>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a:xfrm>
            <a:off x="1141410" y="3073397"/>
            <a:ext cx="4878391" cy="3165477"/>
          </a:xfrm>
        </p:spPr>
        <p:txBody>
          <a:bodyPr>
            <a:normAutofit fontScale="85000" lnSpcReduction="20000"/>
          </a:bodyPr>
          <a:lstStyle/>
          <a:p>
            <a:r>
              <a:rPr lang="en-US" dirty="0"/>
              <a:t>Open-World</a:t>
            </a:r>
          </a:p>
          <a:p>
            <a:r>
              <a:rPr lang="en-US" dirty="0"/>
              <a:t>Free-to-play</a:t>
            </a:r>
          </a:p>
          <a:p>
            <a:r>
              <a:rPr lang="en-US" dirty="0"/>
              <a:t>Battle Royale PVP</a:t>
            </a:r>
          </a:p>
          <a:p>
            <a:r>
              <a:rPr lang="en-US" dirty="0"/>
              <a:t>Multiplayer Cooperative TPP</a:t>
            </a:r>
          </a:p>
          <a:p>
            <a:r>
              <a:rPr lang="en-US" dirty="0"/>
              <a:t>Achievements/rewards</a:t>
            </a:r>
          </a:p>
          <a:p>
            <a:r>
              <a:rPr lang="en-US" dirty="0"/>
              <a:t>Learn</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fontScale="85000" lnSpcReduction="20000"/>
          </a:body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None/>
            </a:pPr>
            <a:endParaRPr lang="en-US" dirty="0"/>
          </a:p>
        </p:txBody>
      </p:sp>
      <p:sp>
        <p:nvSpPr>
          <p:cNvPr id="7" name="Google Shape;12;p2">
            <a:extLst>
              <a:ext uri="{FF2B5EF4-FFF2-40B4-BE49-F238E27FC236}">
                <a16:creationId xmlns:a16="http://schemas.microsoft.com/office/drawing/2014/main" id="{DC1C22D9-2F54-42AC-BE0F-AE84C4F9B11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D96C41BA-E524-47E7-A21F-2483A995648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03;p69">
            <a:extLst>
              <a:ext uri="{FF2B5EF4-FFF2-40B4-BE49-F238E27FC236}">
                <a16:creationId xmlns:a16="http://schemas.microsoft.com/office/drawing/2014/main" id="{B7A33C48-E538-4952-903B-84DF357165B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ED48E71D-719A-4E7A-A89A-DACBECDAC7E1}"/>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0E6E357A-B1C5-49E7-B026-753F947D348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0AB59711-E502-477A-807C-F1C173547439}"/>
              </a:ext>
            </a:extLst>
          </p:cNvPr>
          <p:cNvSpPr/>
          <p:nvPr/>
        </p:nvSpPr>
        <p:spPr>
          <a:xfrm>
            <a:off x="7763853" y="56313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C7307C51-43C6-4CA7-9A60-BDC87BBA065D}"/>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177CBF80-0B53-4996-9A74-1F4BFF311A5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5698C605-5B0A-417B-86AA-9E16F282FE22}"/>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CA23DA89-3BCD-469B-A7A7-424839A941B3}"/>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DBA92482-D79B-4FCB-95A0-44DCB48E8843}"/>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38012FEE-8D16-4CA3-B35B-EF6A90F67D48}"/>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B077DDF1-FFDE-4C52-8A46-A3FF3CBF03E7}"/>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16FAC38F-F6B3-4F73-A5F5-93BF06884C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176224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16B5F8B-3925-4037-8FF2-21E705CAD4F3}"/>
              </a:ext>
            </a:extLst>
          </p:cNvPr>
          <p:cNvGrpSpPr/>
          <p:nvPr/>
        </p:nvGrpSpPr>
        <p:grpSpPr>
          <a:xfrm>
            <a:off x="9687728" y="5239065"/>
            <a:ext cx="1187582" cy="1104265"/>
            <a:chOff x="9379963" y="4497336"/>
            <a:chExt cx="1187582" cy="1104265"/>
          </a:xfrm>
        </p:grpSpPr>
        <p:grpSp>
          <p:nvGrpSpPr>
            <p:cNvPr id="18" name="Google Shape;802;p51">
              <a:extLst>
                <a:ext uri="{FF2B5EF4-FFF2-40B4-BE49-F238E27FC236}">
                  <a16:creationId xmlns:a16="http://schemas.microsoft.com/office/drawing/2014/main" id="{79CA3058-A5BD-4DF2-8E34-0281A741D4A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5" name="Google Shape;803;p51">
                <a:extLst>
                  <a:ext uri="{FF2B5EF4-FFF2-40B4-BE49-F238E27FC236}">
                    <a16:creationId xmlns:a16="http://schemas.microsoft.com/office/drawing/2014/main" id="{A90902F5-C530-4AF0-BEBA-57197847772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4;p51">
                <a:extLst>
                  <a:ext uri="{FF2B5EF4-FFF2-40B4-BE49-F238E27FC236}">
                    <a16:creationId xmlns:a16="http://schemas.microsoft.com/office/drawing/2014/main" id="{63083D56-56A0-4628-9262-A14BF02D310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5;p51">
                <a:extLst>
                  <a:ext uri="{FF2B5EF4-FFF2-40B4-BE49-F238E27FC236}">
                    <a16:creationId xmlns:a16="http://schemas.microsoft.com/office/drawing/2014/main" id="{4F731BAE-BBD1-4EB7-B70F-1298D6D99D0E}"/>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6;p51">
                <a:extLst>
                  <a:ext uri="{FF2B5EF4-FFF2-40B4-BE49-F238E27FC236}">
                    <a16:creationId xmlns:a16="http://schemas.microsoft.com/office/drawing/2014/main" id="{3E49F361-F29F-4B80-8174-CE11A3F9BBAD}"/>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7;p51">
                <a:extLst>
                  <a:ext uri="{FF2B5EF4-FFF2-40B4-BE49-F238E27FC236}">
                    <a16:creationId xmlns:a16="http://schemas.microsoft.com/office/drawing/2014/main" id="{A3C42555-0B20-46AD-A462-59A89BFF57AC}"/>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8;p51">
                <a:extLst>
                  <a:ext uri="{FF2B5EF4-FFF2-40B4-BE49-F238E27FC236}">
                    <a16:creationId xmlns:a16="http://schemas.microsoft.com/office/drawing/2014/main" id="{A1A8A4B8-CFDA-45E6-A887-F73953D7444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9;p51">
                <a:extLst>
                  <a:ext uri="{FF2B5EF4-FFF2-40B4-BE49-F238E27FC236}">
                    <a16:creationId xmlns:a16="http://schemas.microsoft.com/office/drawing/2014/main" id="{CAA85AAC-BB4F-48D9-9314-D1B63134514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0;p51">
                <a:extLst>
                  <a:ext uri="{FF2B5EF4-FFF2-40B4-BE49-F238E27FC236}">
                    <a16:creationId xmlns:a16="http://schemas.microsoft.com/office/drawing/2014/main" id="{C8D442F5-871C-4DA3-AC38-BAAAD946CCA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1;p51">
                <a:extLst>
                  <a:ext uri="{FF2B5EF4-FFF2-40B4-BE49-F238E27FC236}">
                    <a16:creationId xmlns:a16="http://schemas.microsoft.com/office/drawing/2014/main" id="{B0C9834C-4C74-4E99-B04D-4C274D67BBF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2;p51">
                <a:extLst>
                  <a:ext uri="{FF2B5EF4-FFF2-40B4-BE49-F238E27FC236}">
                    <a16:creationId xmlns:a16="http://schemas.microsoft.com/office/drawing/2014/main" id="{BF7E7C6F-2A50-40DA-B960-51D69A968540}"/>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3;p51">
                <a:extLst>
                  <a:ext uri="{FF2B5EF4-FFF2-40B4-BE49-F238E27FC236}">
                    <a16:creationId xmlns:a16="http://schemas.microsoft.com/office/drawing/2014/main" id="{32DB3D6D-32CF-4543-B46F-C17D77A4CEF8}"/>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4;p51">
                <a:extLst>
                  <a:ext uri="{FF2B5EF4-FFF2-40B4-BE49-F238E27FC236}">
                    <a16:creationId xmlns:a16="http://schemas.microsoft.com/office/drawing/2014/main" id="{04B85F2B-8497-4331-B19E-D810411CE82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5;p51">
                <a:extLst>
                  <a:ext uri="{FF2B5EF4-FFF2-40B4-BE49-F238E27FC236}">
                    <a16:creationId xmlns:a16="http://schemas.microsoft.com/office/drawing/2014/main" id="{7E377BB5-4341-4B4D-9972-7E51F93CD4C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6;p51">
                <a:extLst>
                  <a:ext uri="{FF2B5EF4-FFF2-40B4-BE49-F238E27FC236}">
                    <a16:creationId xmlns:a16="http://schemas.microsoft.com/office/drawing/2014/main" id="{DAA80321-1EE0-4AB4-9B28-EDBDAB352CC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7;p51">
                <a:extLst>
                  <a:ext uri="{FF2B5EF4-FFF2-40B4-BE49-F238E27FC236}">
                    <a16:creationId xmlns:a16="http://schemas.microsoft.com/office/drawing/2014/main" id="{39551DBD-A198-45F3-B30B-15F9E0A1A8A6}"/>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8;p51">
                <a:extLst>
                  <a:ext uri="{FF2B5EF4-FFF2-40B4-BE49-F238E27FC236}">
                    <a16:creationId xmlns:a16="http://schemas.microsoft.com/office/drawing/2014/main" id="{8DC8BC2F-C0D9-42BE-AA8D-361E7C3CA37F}"/>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9;p51">
                <a:extLst>
                  <a:ext uri="{FF2B5EF4-FFF2-40B4-BE49-F238E27FC236}">
                    <a16:creationId xmlns:a16="http://schemas.microsoft.com/office/drawing/2014/main" id="{0EE24757-596F-4868-BA7D-C7BC5013D6F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0;p51">
                <a:extLst>
                  <a:ext uri="{FF2B5EF4-FFF2-40B4-BE49-F238E27FC236}">
                    <a16:creationId xmlns:a16="http://schemas.microsoft.com/office/drawing/2014/main" id="{1F202E0F-1F00-4AE7-A4D3-1E055D878B7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1;p51">
                <a:extLst>
                  <a:ext uri="{FF2B5EF4-FFF2-40B4-BE49-F238E27FC236}">
                    <a16:creationId xmlns:a16="http://schemas.microsoft.com/office/drawing/2014/main" id="{9E9232B7-534B-4D18-A1A3-3F251EE2F8D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2;p51">
                <a:extLst>
                  <a:ext uri="{FF2B5EF4-FFF2-40B4-BE49-F238E27FC236}">
                    <a16:creationId xmlns:a16="http://schemas.microsoft.com/office/drawing/2014/main" id="{C663CEBD-C2EC-41A5-9E4F-F6F60C92F1C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3;p51">
                <a:extLst>
                  <a:ext uri="{FF2B5EF4-FFF2-40B4-BE49-F238E27FC236}">
                    <a16:creationId xmlns:a16="http://schemas.microsoft.com/office/drawing/2014/main" id="{B85EAF27-787C-490A-8A3F-82885ADCC0A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4;p51">
                <a:extLst>
                  <a:ext uri="{FF2B5EF4-FFF2-40B4-BE49-F238E27FC236}">
                    <a16:creationId xmlns:a16="http://schemas.microsoft.com/office/drawing/2014/main" id="{EBE5B63C-DEE2-48D4-84CB-1B5FD1280FD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5;p51">
                <a:extLst>
                  <a:ext uri="{FF2B5EF4-FFF2-40B4-BE49-F238E27FC236}">
                    <a16:creationId xmlns:a16="http://schemas.microsoft.com/office/drawing/2014/main" id="{B6F4704E-9DCE-4CEC-9E08-516934C6F5D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6;p51">
                <a:extLst>
                  <a:ext uri="{FF2B5EF4-FFF2-40B4-BE49-F238E27FC236}">
                    <a16:creationId xmlns:a16="http://schemas.microsoft.com/office/drawing/2014/main" id="{7ABF9946-EE09-4459-935D-EBF0AB418C9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7;p51">
                <a:extLst>
                  <a:ext uri="{FF2B5EF4-FFF2-40B4-BE49-F238E27FC236}">
                    <a16:creationId xmlns:a16="http://schemas.microsoft.com/office/drawing/2014/main" id="{205A24BC-568A-4558-82C0-8488FDE4A0E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9" name="Group 18">
              <a:extLst>
                <a:ext uri="{FF2B5EF4-FFF2-40B4-BE49-F238E27FC236}">
                  <a16:creationId xmlns:a16="http://schemas.microsoft.com/office/drawing/2014/main" id="{AEC2D205-DF1C-4EC0-8AA6-831910807BF8}"/>
                </a:ext>
              </a:extLst>
            </p:cNvPr>
            <p:cNvGrpSpPr/>
            <p:nvPr/>
          </p:nvGrpSpPr>
          <p:grpSpPr>
            <a:xfrm>
              <a:off x="9459173" y="4651735"/>
              <a:ext cx="965465" cy="814701"/>
              <a:chOff x="2122052" y="4430998"/>
              <a:chExt cx="516998" cy="436265"/>
            </a:xfrm>
          </p:grpSpPr>
          <p:sp>
            <p:nvSpPr>
              <p:cNvPr id="20" name="Google Shape;663;p48">
                <a:extLst>
                  <a:ext uri="{FF2B5EF4-FFF2-40B4-BE49-F238E27FC236}">
                    <a16:creationId xmlns:a16="http://schemas.microsoft.com/office/drawing/2014/main" id="{101711B9-797E-4DFA-8BC2-4383178ACAA5}"/>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4;p48">
                <a:extLst>
                  <a:ext uri="{FF2B5EF4-FFF2-40B4-BE49-F238E27FC236}">
                    <a16:creationId xmlns:a16="http://schemas.microsoft.com/office/drawing/2014/main" id="{813F9F5C-E0EB-4BF5-8BD1-A8BEAC5ED53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5;p48">
                <a:extLst>
                  <a:ext uri="{FF2B5EF4-FFF2-40B4-BE49-F238E27FC236}">
                    <a16:creationId xmlns:a16="http://schemas.microsoft.com/office/drawing/2014/main" id="{F85E4EE0-CB66-43C7-9FD3-23A8FF42C51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6;p48">
                <a:extLst>
                  <a:ext uri="{FF2B5EF4-FFF2-40B4-BE49-F238E27FC236}">
                    <a16:creationId xmlns:a16="http://schemas.microsoft.com/office/drawing/2014/main" id="{D7E65E64-3443-41F4-879E-A794423593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7;p48">
                <a:extLst>
                  <a:ext uri="{FF2B5EF4-FFF2-40B4-BE49-F238E27FC236}">
                    <a16:creationId xmlns:a16="http://schemas.microsoft.com/office/drawing/2014/main" id="{5E0FF82D-7AE4-4CB1-8B9F-38FBE4B10507}"/>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8;p48">
                <a:extLst>
                  <a:ext uri="{FF2B5EF4-FFF2-40B4-BE49-F238E27FC236}">
                    <a16:creationId xmlns:a16="http://schemas.microsoft.com/office/drawing/2014/main" id="{9047A99A-2313-4A55-A3CD-8E4B9195069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669;p48">
                <a:extLst>
                  <a:ext uri="{FF2B5EF4-FFF2-40B4-BE49-F238E27FC236}">
                    <a16:creationId xmlns:a16="http://schemas.microsoft.com/office/drawing/2014/main" id="{43FB2ED2-4B58-4461-A7FA-B75A1CE07AD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0;p48">
                <a:extLst>
                  <a:ext uri="{FF2B5EF4-FFF2-40B4-BE49-F238E27FC236}">
                    <a16:creationId xmlns:a16="http://schemas.microsoft.com/office/drawing/2014/main" id="{77D73E29-A271-4545-8BAF-2BACB20D2A7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1;p48">
                <a:extLst>
                  <a:ext uri="{FF2B5EF4-FFF2-40B4-BE49-F238E27FC236}">
                    <a16:creationId xmlns:a16="http://schemas.microsoft.com/office/drawing/2014/main" id="{7CCA8198-14F4-40C6-9E78-7B48B72C4AC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2;p48">
                <a:extLst>
                  <a:ext uri="{FF2B5EF4-FFF2-40B4-BE49-F238E27FC236}">
                    <a16:creationId xmlns:a16="http://schemas.microsoft.com/office/drawing/2014/main" id="{7A2B02AF-3F2A-4938-8442-65EB4B4356E0}"/>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3;p48">
                <a:extLst>
                  <a:ext uri="{FF2B5EF4-FFF2-40B4-BE49-F238E27FC236}">
                    <a16:creationId xmlns:a16="http://schemas.microsoft.com/office/drawing/2014/main" id="{8EAF2ABE-51D1-4004-A8A5-B537F99F707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4;p48">
                <a:extLst>
                  <a:ext uri="{FF2B5EF4-FFF2-40B4-BE49-F238E27FC236}">
                    <a16:creationId xmlns:a16="http://schemas.microsoft.com/office/drawing/2014/main" id="{586B28B1-0845-4C81-99B2-F467D1F181B9}"/>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5;p48">
                <a:extLst>
                  <a:ext uri="{FF2B5EF4-FFF2-40B4-BE49-F238E27FC236}">
                    <a16:creationId xmlns:a16="http://schemas.microsoft.com/office/drawing/2014/main" id="{E46CED30-B85B-41B1-AD07-68CA48DC78DA}"/>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6;p48">
                <a:extLst>
                  <a:ext uri="{FF2B5EF4-FFF2-40B4-BE49-F238E27FC236}">
                    <a16:creationId xmlns:a16="http://schemas.microsoft.com/office/drawing/2014/main" id="{9F94262D-1A8A-4903-A7CC-5DEB6C3A03A7}"/>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7;p48">
                <a:extLst>
                  <a:ext uri="{FF2B5EF4-FFF2-40B4-BE49-F238E27FC236}">
                    <a16:creationId xmlns:a16="http://schemas.microsoft.com/office/drawing/2014/main" id="{B9B56412-E22D-4C2E-A20E-534B0692767A}"/>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8;p48">
                <a:extLst>
                  <a:ext uri="{FF2B5EF4-FFF2-40B4-BE49-F238E27FC236}">
                    <a16:creationId xmlns:a16="http://schemas.microsoft.com/office/drawing/2014/main" id="{08E2BFF2-6D18-4383-864A-00084C6008D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9;p48">
                <a:extLst>
                  <a:ext uri="{FF2B5EF4-FFF2-40B4-BE49-F238E27FC236}">
                    <a16:creationId xmlns:a16="http://schemas.microsoft.com/office/drawing/2014/main" id="{BC13DB66-8938-432E-9EB7-65D4907FD9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0;p48">
                <a:extLst>
                  <a:ext uri="{FF2B5EF4-FFF2-40B4-BE49-F238E27FC236}">
                    <a16:creationId xmlns:a16="http://schemas.microsoft.com/office/drawing/2014/main" id="{65B8F90F-F7A3-456A-B3D9-94CFD11DD162}"/>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1;p48">
                <a:extLst>
                  <a:ext uri="{FF2B5EF4-FFF2-40B4-BE49-F238E27FC236}">
                    <a16:creationId xmlns:a16="http://schemas.microsoft.com/office/drawing/2014/main" id="{9364E3F3-5F03-4305-98CE-A2F3167B0B0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2;p48">
                <a:extLst>
                  <a:ext uri="{FF2B5EF4-FFF2-40B4-BE49-F238E27FC236}">
                    <a16:creationId xmlns:a16="http://schemas.microsoft.com/office/drawing/2014/main" id="{42EEAC11-3577-4530-A53B-99B08EB45F6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3;p48">
                <a:extLst>
                  <a:ext uri="{FF2B5EF4-FFF2-40B4-BE49-F238E27FC236}">
                    <a16:creationId xmlns:a16="http://schemas.microsoft.com/office/drawing/2014/main" id="{2009A6C3-48E1-4ADD-8643-CD77DBE261F6}"/>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1" name="Google Shape;684;p48">
                <a:extLst>
                  <a:ext uri="{FF2B5EF4-FFF2-40B4-BE49-F238E27FC236}">
                    <a16:creationId xmlns:a16="http://schemas.microsoft.com/office/drawing/2014/main" id="{4BD78215-BEA4-4AD5-B2CC-D620D566BC7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85;p48">
                <a:extLst>
                  <a:ext uri="{FF2B5EF4-FFF2-40B4-BE49-F238E27FC236}">
                    <a16:creationId xmlns:a16="http://schemas.microsoft.com/office/drawing/2014/main" id="{FABC45CD-C4AF-45D3-A4BA-9B1658C6125F}"/>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6;p48">
                <a:extLst>
                  <a:ext uri="{FF2B5EF4-FFF2-40B4-BE49-F238E27FC236}">
                    <a16:creationId xmlns:a16="http://schemas.microsoft.com/office/drawing/2014/main" id="{648BC293-5495-48E9-840A-96E91D6928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7;p48">
                <a:extLst>
                  <a:ext uri="{FF2B5EF4-FFF2-40B4-BE49-F238E27FC236}">
                    <a16:creationId xmlns:a16="http://schemas.microsoft.com/office/drawing/2014/main" id="{3162A85A-6A81-4489-9926-85466F614D1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711354779"/>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15" name="Google Shape;12;p2">
            <a:extLst>
              <a:ext uri="{FF2B5EF4-FFF2-40B4-BE49-F238E27FC236}">
                <a16:creationId xmlns:a16="http://schemas.microsoft.com/office/drawing/2014/main" id="{4AAAB64C-CE04-4238-91DC-EAFA427EC31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D55187C9-C230-4BA5-81D7-86E1B3FAAA5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3;p69">
            <a:extLst>
              <a:ext uri="{FF2B5EF4-FFF2-40B4-BE49-F238E27FC236}">
                <a16:creationId xmlns:a16="http://schemas.microsoft.com/office/drawing/2014/main" id="{60BF81CF-B4FF-4FA9-A2E2-3085E774D3BD}"/>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4;p69">
            <a:extLst>
              <a:ext uri="{FF2B5EF4-FFF2-40B4-BE49-F238E27FC236}">
                <a16:creationId xmlns:a16="http://schemas.microsoft.com/office/drawing/2014/main" id="{E4F24DE2-2850-4B99-B25D-E9816E28CD8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105;p69">
            <a:extLst>
              <a:ext uri="{FF2B5EF4-FFF2-40B4-BE49-F238E27FC236}">
                <a16:creationId xmlns:a16="http://schemas.microsoft.com/office/drawing/2014/main" id="{FA922627-4F0C-47CA-825B-7EDA122F72CF}"/>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106;p69">
            <a:extLst>
              <a:ext uri="{FF2B5EF4-FFF2-40B4-BE49-F238E27FC236}">
                <a16:creationId xmlns:a16="http://schemas.microsoft.com/office/drawing/2014/main" id="{8C6AB910-77D2-4610-A1AD-B3B2F275B1EC}"/>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107;p69">
            <a:extLst>
              <a:ext uri="{FF2B5EF4-FFF2-40B4-BE49-F238E27FC236}">
                <a16:creationId xmlns:a16="http://schemas.microsoft.com/office/drawing/2014/main" id="{7026B48F-3E18-4C4A-8F24-055959D14001}"/>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139;p69">
            <a:extLst>
              <a:ext uri="{FF2B5EF4-FFF2-40B4-BE49-F238E27FC236}">
                <a16:creationId xmlns:a16="http://schemas.microsoft.com/office/drawing/2014/main" id="{3902C7A6-44A1-46B4-B8D4-852DACD770F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 name="Group 75">
            <a:extLst>
              <a:ext uri="{FF2B5EF4-FFF2-40B4-BE49-F238E27FC236}">
                <a16:creationId xmlns:a16="http://schemas.microsoft.com/office/drawing/2014/main" id="{997E8E1C-EE2C-492B-B05E-28310C12B284}"/>
              </a:ext>
            </a:extLst>
          </p:cNvPr>
          <p:cNvGrpSpPr/>
          <p:nvPr/>
        </p:nvGrpSpPr>
        <p:grpSpPr>
          <a:xfrm flipH="1">
            <a:off x="1983260" y="2127291"/>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7" name="Group 76">
              <a:extLst>
                <a:ext uri="{FF2B5EF4-FFF2-40B4-BE49-F238E27FC236}">
                  <a16:creationId xmlns:a16="http://schemas.microsoft.com/office/drawing/2014/main" id="{B7A478B3-E993-4DA4-B97B-888574910FCB}"/>
                </a:ext>
              </a:extLst>
            </p:cNvPr>
            <p:cNvGrpSpPr/>
            <p:nvPr/>
          </p:nvGrpSpPr>
          <p:grpSpPr>
            <a:xfrm>
              <a:off x="5241585" y="4198069"/>
              <a:ext cx="411449" cy="357382"/>
              <a:chOff x="5241585" y="4198069"/>
              <a:chExt cx="411449" cy="357382"/>
            </a:xfrm>
          </p:grpSpPr>
          <p:sp>
            <p:nvSpPr>
              <p:cNvPr id="79" name="Google Shape;658;p48">
                <a:extLst>
                  <a:ext uri="{FF2B5EF4-FFF2-40B4-BE49-F238E27FC236}">
                    <a16:creationId xmlns:a16="http://schemas.microsoft.com/office/drawing/2014/main" id="{E98DF69C-2482-4EEC-97D7-0F5C3024AB90}"/>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659;p48">
                <a:extLst>
                  <a:ext uri="{FF2B5EF4-FFF2-40B4-BE49-F238E27FC236}">
                    <a16:creationId xmlns:a16="http://schemas.microsoft.com/office/drawing/2014/main" id="{A72FB1AB-0DF2-4D34-9363-3EAA74C6FBC2}"/>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1" name="Google Shape;660;p48">
                <a:extLst>
                  <a:ext uri="{FF2B5EF4-FFF2-40B4-BE49-F238E27FC236}">
                    <a16:creationId xmlns:a16="http://schemas.microsoft.com/office/drawing/2014/main" id="{503A0F68-B185-45EE-B9A9-1591BB385E7C}"/>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8" name="Google Shape;661;p48">
              <a:extLst>
                <a:ext uri="{FF2B5EF4-FFF2-40B4-BE49-F238E27FC236}">
                  <a16:creationId xmlns:a16="http://schemas.microsoft.com/office/drawing/2014/main" id="{7AEB09AE-A267-44FA-98AD-C43D30A5454B}"/>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723130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BE471B7-8B2E-45AD-8440-DE5F68251DF5}"/>
              </a:ext>
            </a:extLst>
          </p:cNvPr>
          <p:cNvGrpSpPr/>
          <p:nvPr/>
        </p:nvGrpSpPr>
        <p:grpSpPr>
          <a:xfrm>
            <a:off x="10795312" y="2839521"/>
            <a:ext cx="1187582" cy="1104265"/>
            <a:chOff x="9379963" y="4497336"/>
            <a:chExt cx="1187582" cy="1104265"/>
          </a:xfrm>
        </p:grpSpPr>
        <p:grpSp>
          <p:nvGrpSpPr>
            <p:cNvPr id="15" name="Google Shape;802;p51">
              <a:extLst>
                <a:ext uri="{FF2B5EF4-FFF2-40B4-BE49-F238E27FC236}">
                  <a16:creationId xmlns:a16="http://schemas.microsoft.com/office/drawing/2014/main" id="{7739591E-77DE-4449-A87B-75B522667A06}"/>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2" name="Google Shape;803;p51">
                <a:extLst>
                  <a:ext uri="{FF2B5EF4-FFF2-40B4-BE49-F238E27FC236}">
                    <a16:creationId xmlns:a16="http://schemas.microsoft.com/office/drawing/2014/main" id="{C06924EF-E319-48CB-A38E-9432184B0EEF}"/>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4;p51">
                <a:extLst>
                  <a:ext uri="{FF2B5EF4-FFF2-40B4-BE49-F238E27FC236}">
                    <a16:creationId xmlns:a16="http://schemas.microsoft.com/office/drawing/2014/main" id="{AB62D8AB-E1D7-4CB3-9ECE-9F978CDE7D1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5;p51">
                <a:extLst>
                  <a:ext uri="{FF2B5EF4-FFF2-40B4-BE49-F238E27FC236}">
                    <a16:creationId xmlns:a16="http://schemas.microsoft.com/office/drawing/2014/main" id="{D02F83BE-EA27-4B78-B54B-AD4A8ACC97C4}"/>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06;p51">
                <a:extLst>
                  <a:ext uri="{FF2B5EF4-FFF2-40B4-BE49-F238E27FC236}">
                    <a16:creationId xmlns:a16="http://schemas.microsoft.com/office/drawing/2014/main" id="{96B9BE7A-A940-4646-B6BD-A728BE318152}"/>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7;p51">
                <a:extLst>
                  <a:ext uri="{FF2B5EF4-FFF2-40B4-BE49-F238E27FC236}">
                    <a16:creationId xmlns:a16="http://schemas.microsoft.com/office/drawing/2014/main" id="{CD166461-CAC8-40DB-A830-E891B1A76CBF}"/>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8;p51">
                <a:extLst>
                  <a:ext uri="{FF2B5EF4-FFF2-40B4-BE49-F238E27FC236}">
                    <a16:creationId xmlns:a16="http://schemas.microsoft.com/office/drawing/2014/main" id="{019B0980-1F14-46EB-906C-28924E96DA5D}"/>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9;p51">
                <a:extLst>
                  <a:ext uri="{FF2B5EF4-FFF2-40B4-BE49-F238E27FC236}">
                    <a16:creationId xmlns:a16="http://schemas.microsoft.com/office/drawing/2014/main" id="{6A31C855-C334-4C30-9187-BA87DDFCE2D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0;p51">
                <a:extLst>
                  <a:ext uri="{FF2B5EF4-FFF2-40B4-BE49-F238E27FC236}">
                    <a16:creationId xmlns:a16="http://schemas.microsoft.com/office/drawing/2014/main" id="{F5FEB475-50B0-4B27-8140-D466FA4C9FD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1;p51">
                <a:extLst>
                  <a:ext uri="{FF2B5EF4-FFF2-40B4-BE49-F238E27FC236}">
                    <a16:creationId xmlns:a16="http://schemas.microsoft.com/office/drawing/2014/main" id="{1607B82A-BE30-48CA-AF40-FC3878EBF72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2;p51">
                <a:extLst>
                  <a:ext uri="{FF2B5EF4-FFF2-40B4-BE49-F238E27FC236}">
                    <a16:creationId xmlns:a16="http://schemas.microsoft.com/office/drawing/2014/main" id="{978B8171-1BD9-462B-8740-9C332BBE391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3;p51">
                <a:extLst>
                  <a:ext uri="{FF2B5EF4-FFF2-40B4-BE49-F238E27FC236}">
                    <a16:creationId xmlns:a16="http://schemas.microsoft.com/office/drawing/2014/main" id="{CE398334-4951-4ECE-BB9E-AA58E3C63C0C}"/>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4;p51">
                <a:extLst>
                  <a:ext uri="{FF2B5EF4-FFF2-40B4-BE49-F238E27FC236}">
                    <a16:creationId xmlns:a16="http://schemas.microsoft.com/office/drawing/2014/main" id="{01B7162B-CC0E-47F9-B401-A4E46C8BF257}"/>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5;p51">
                <a:extLst>
                  <a:ext uri="{FF2B5EF4-FFF2-40B4-BE49-F238E27FC236}">
                    <a16:creationId xmlns:a16="http://schemas.microsoft.com/office/drawing/2014/main" id="{E8E0B1D0-893A-4607-BD82-6B430B3947D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6;p51">
                <a:extLst>
                  <a:ext uri="{FF2B5EF4-FFF2-40B4-BE49-F238E27FC236}">
                    <a16:creationId xmlns:a16="http://schemas.microsoft.com/office/drawing/2014/main" id="{09959DF1-D4B3-4885-9AD8-E94F0E7A5F7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7;p51">
                <a:extLst>
                  <a:ext uri="{FF2B5EF4-FFF2-40B4-BE49-F238E27FC236}">
                    <a16:creationId xmlns:a16="http://schemas.microsoft.com/office/drawing/2014/main" id="{8A7D2F81-9164-42B2-B9A7-63A6893F34B0}"/>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8;p51">
                <a:extLst>
                  <a:ext uri="{FF2B5EF4-FFF2-40B4-BE49-F238E27FC236}">
                    <a16:creationId xmlns:a16="http://schemas.microsoft.com/office/drawing/2014/main" id="{39F72EC7-2BDF-47D0-8632-3A4A1D26FF30}"/>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9;p51">
                <a:extLst>
                  <a:ext uri="{FF2B5EF4-FFF2-40B4-BE49-F238E27FC236}">
                    <a16:creationId xmlns:a16="http://schemas.microsoft.com/office/drawing/2014/main" id="{9A65341A-5BE8-47F0-B7E4-B44460CCC6C6}"/>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0;p51">
                <a:extLst>
                  <a:ext uri="{FF2B5EF4-FFF2-40B4-BE49-F238E27FC236}">
                    <a16:creationId xmlns:a16="http://schemas.microsoft.com/office/drawing/2014/main" id="{363E97CE-D640-44EE-92E0-2CDBFA0AF30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1;p51">
                <a:extLst>
                  <a:ext uri="{FF2B5EF4-FFF2-40B4-BE49-F238E27FC236}">
                    <a16:creationId xmlns:a16="http://schemas.microsoft.com/office/drawing/2014/main" id="{768156DE-2469-4C4A-A662-1DE7F81E24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2;p51">
                <a:extLst>
                  <a:ext uri="{FF2B5EF4-FFF2-40B4-BE49-F238E27FC236}">
                    <a16:creationId xmlns:a16="http://schemas.microsoft.com/office/drawing/2014/main" id="{18887192-D336-476D-8089-C286FE9FECF7}"/>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3;p51">
                <a:extLst>
                  <a:ext uri="{FF2B5EF4-FFF2-40B4-BE49-F238E27FC236}">
                    <a16:creationId xmlns:a16="http://schemas.microsoft.com/office/drawing/2014/main" id="{850EE15C-354D-4E69-96C3-BCCF580B5A2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4;p51">
                <a:extLst>
                  <a:ext uri="{FF2B5EF4-FFF2-40B4-BE49-F238E27FC236}">
                    <a16:creationId xmlns:a16="http://schemas.microsoft.com/office/drawing/2014/main" id="{B791791E-F8AE-4113-B367-A72AE8BD3CF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5;p51">
                <a:extLst>
                  <a:ext uri="{FF2B5EF4-FFF2-40B4-BE49-F238E27FC236}">
                    <a16:creationId xmlns:a16="http://schemas.microsoft.com/office/drawing/2014/main" id="{0B7AFC2A-A1A7-47F3-973F-A332BCE8E7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6;p51">
                <a:extLst>
                  <a:ext uri="{FF2B5EF4-FFF2-40B4-BE49-F238E27FC236}">
                    <a16:creationId xmlns:a16="http://schemas.microsoft.com/office/drawing/2014/main" id="{A7B0C489-FA18-47F7-ADB4-15ED90C8F21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7;p51">
                <a:extLst>
                  <a:ext uri="{FF2B5EF4-FFF2-40B4-BE49-F238E27FC236}">
                    <a16:creationId xmlns:a16="http://schemas.microsoft.com/office/drawing/2014/main" id="{1709D1A9-8BEC-4EAB-84FB-CCA03757C07B}"/>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6" name="Group 15">
              <a:extLst>
                <a:ext uri="{FF2B5EF4-FFF2-40B4-BE49-F238E27FC236}">
                  <a16:creationId xmlns:a16="http://schemas.microsoft.com/office/drawing/2014/main" id="{252F5520-9D09-4A6F-94AB-C5BB79B0DAB7}"/>
                </a:ext>
              </a:extLst>
            </p:cNvPr>
            <p:cNvGrpSpPr/>
            <p:nvPr/>
          </p:nvGrpSpPr>
          <p:grpSpPr>
            <a:xfrm>
              <a:off x="9459173" y="4651735"/>
              <a:ext cx="965465" cy="814701"/>
              <a:chOff x="2122052" y="4430998"/>
              <a:chExt cx="516998" cy="436265"/>
            </a:xfrm>
          </p:grpSpPr>
          <p:sp>
            <p:nvSpPr>
              <p:cNvPr id="17" name="Google Shape;663;p48">
                <a:extLst>
                  <a:ext uri="{FF2B5EF4-FFF2-40B4-BE49-F238E27FC236}">
                    <a16:creationId xmlns:a16="http://schemas.microsoft.com/office/drawing/2014/main" id="{0F21EFFA-A027-4A90-8705-00488DC96B06}"/>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4;p48">
                <a:extLst>
                  <a:ext uri="{FF2B5EF4-FFF2-40B4-BE49-F238E27FC236}">
                    <a16:creationId xmlns:a16="http://schemas.microsoft.com/office/drawing/2014/main" id="{0087D4B3-55DD-467F-AC65-765414F14D0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5;p48">
                <a:extLst>
                  <a:ext uri="{FF2B5EF4-FFF2-40B4-BE49-F238E27FC236}">
                    <a16:creationId xmlns:a16="http://schemas.microsoft.com/office/drawing/2014/main" id="{3772820C-0BDA-4AE7-AD6B-B25DCA8E7EC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66;p48">
                <a:extLst>
                  <a:ext uri="{FF2B5EF4-FFF2-40B4-BE49-F238E27FC236}">
                    <a16:creationId xmlns:a16="http://schemas.microsoft.com/office/drawing/2014/main" id="{9DF8AACA-2A7E-4EBE-B26D-D8472484087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7;p48">
                <a:extLst>
                  <a:ext uri="{FF2B5EF4-FFF2-40B4-BE49-F238E27FC236}">
                    <a16:creationId xmlns:a16="http://schemas.microsoft.com/office/drawing/2014/main" id="{A2AF6C2F-302E-4829-A5BC-92CB47CD9BB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8;p48">
                <a:extLst>
                  <a:ext uri="{FF2B5EF4-FFF2-40B4-BE49-F238E27FC236}">
                    <a16:creationId xmlns:a16="http://schemas.microsoft.com/office/drawing/2014/main" id="{ABF01EF6-6B8E-4D95-8754-21AE68BF558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669;p48">
                <a:extLst>
                  <a:ext uri="{FF2B5EF4-FFF2-40B4-BE49-F238E27FC236}">
                    <a16:creationId xmlns:a16="http://schemas.microsoft.com/office/drawing/2014/main" id="{E39C42D1-F012-4F8C-A354-0259CD696E65}"/>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0;p48">
                <a:extLst>
                  <a:ext uri="{FF2B5EF4-FFF2-40B4-BE49-F238E27FC236}">
                    <a16:creationId xmlns:a16="http://schemas.microsoft.com/office/drawing/2014/main" id="{69991ED3-494B-4081-99F6-E06A9E1080D7}"/>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1;p48">
                <a:extLst>
                  <a:ext uri="{FF2B5EF4-FFF2-40B4-BE49-F238E27FC236}">
                    <a16:creationId xmlns:a16="http://schemas.microsoft.com/office/drawing/2014/main" id="{D21C3985-13BD-4A21-9392-9677663E83E7}"/>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2;p48">
                <a:extLst>
                  <a:ext uri="{FF2B5EF4-FFF2-40B4-BE49-F238E27FC236}">
                    <a16:creationId xmlns:a16="http://schemas.microsoft.com/office/drawing/2014/main" id="{81BA3FA1-FB36-4539-BA6F-9F3C1C893E19}"/>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3;p48">
                <a:extLst>
                  <a:ext uri="{FF2B5EF4-FFF2-40B4-BE49-F238E27FC236}">
                    <a16:creationId xmlns:a16="http://schemas.microsoft.com/office/drawing/2014/main" id="{A1232CC1-B449-46CD-8EDD-B9AB0A3422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4;p48">
                <a:extLst>
                  <a:ext uri="{FF2B5EF4-FFF2-40B4-BE49-F238E27FC236}">
                    <a16:creationId xmlns:a16="http://schemas.microsoft.com/office/drawing/2014/main" id="{B4FD0FFC-8C8E-47D4-9BEF-AC7E74F40942}"/>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5;p48">
                <a:extLst>
                  <a:ext uri="{FF2B5EF4-FFF2-40B4-BE49-F238E27FC236}">
                    <a16:creationId xmlns:a16="http://schemas.microsoft.com/office/drawing/2014/main" id="{25642356-1E18-4BA9-B24E-757012668D3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6;p48">
                <a:extLst>
                  <a:ext uri="{FF2B5EF4-FFF2-40B4-BE49-F238E27FC236}">
                    <a16:creationId xmlns:a16="http://schemas.microsoft.com/office/drawing/2014/main" id="{8A59F92E-46C2-48DF-9081-E74A971A010C}"/>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7;p48">
                <a:extLst>
                  <a:ext uri="{FF2B5EF4-FFF2-40B4-BE49-F238E27FC236}">
                    <a16:creationId xmlns:a16="http://schemas.microsoft.com/office/drawing/2014/main" id="{DF155B60-37C4-4103-8FC0-0DF1213ABD98}"/>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8;p48">
                <a:extLst>
                  <a:ext uri="{FF2B5EF4-FFF2-40B4-BE49-F238E27FC236}">
                    <a16:creationId xmlns:a16="http://schemas.microsoft.com/office/drawing/2014/main" id="{4ACB5368-B21A-49C4-A076-82B7DC4FC58A}"/>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9;p48">
                <a:extLst>
                  <a:ext uri="{FF2B5EF4-FFF2-40B4-BE49-F238E27FC236}">
                    <a16:creationId xmlns:a16="http://schemas.microsoft.com/office/drawing/2014/main" id="{328CB766-66B6-48CC-BA46-7BF911ED6A9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0;p48">
                <a:extLst>
                  <a:ext uri="{FF2B5EF4-FFF2-40B4-BE49-F238E27FC236}">
                    <a16:creationId xmlns:a16="http://schemas.microsoft.com/office/drawing/2014/main" id="{8BC6165F-3E0B-42C5-946C-436BD5CB0E7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1;p48">
                <a:extLst>
                  <a:ext uri="{FF2B5EF4-FFF2-40B4-BE49-F238E27FC236}">
                    <a16:creationId xmlns:a16="http://schemas.microsoft.com/office/drawing/2014/main" id="{FFB088B9-DD8F-4590-9123-1A8655272BC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2;p48">
                <a:extLst>
                  <a:ext uri="{FF2B5EF4-FFF2-40B4-BE49-F238E27FC236}">
                    <a16:creationId xmlns:a16="http://schemas.microsoft.com/office/drawing/2014/main" id="{9B8A2619-CF6F-478C-BCC8-EC833DD22A1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3;p48">
                <a:extLst>
                  <a:ext uri="{FF2B5EF4-FFF2-40B4-BE49-F238E27FC236}">
                    <a16:creationId xmlns:a16="http://schemas.microsoft.com/office/drawing/2014/main" id="{723C74EB-1E2D-4FCA-802A-7F27E34F1A18}"/>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684;p48">
                <a:extLst>
                  <a:ext uri="{FF2B5EF4-FFF2-40B4-BE49-F238E27FC236}">
                    <a16:creationId xmlns:a16="http://schemas.microsoft.com/office/drawing/2014/main" id="{F492CD27-E4A0-42B0-A3EE-E165A62FE7A3}"/>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5;p48">
                <a:extLst>
                  <a:ext uri="{FF2B5EF4-FFF2-40B4-BE49-F238E27FC236}">
                    <a16:creationId xmlns:a16="http://schemas.microsoft.com/office/drawing/2014/main" id="{AE69E486-3B51-4904-A480-00FD0FCC5B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6;p48">
                <a:extLst>
                  <a:ext uri="{FF2B5EF4-FFF2-40B4-BE49-F238E27FC236}">
                    <a16:creationId xmlns:a16="http://schemas.microsoft.com/office/drawing/2014/main" id="{06AC6028-6893-4F54-B936-01DB030EE32A}"/>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7;p48">
                <a:extLst>
                  <a:ext uri="{FF2B5EF4-FFF2-40B4-BE49-F238E27FC236}">
                    <a16:creationId xmlns:a16="http://schemas.microsoft.com/office/drawing/2014/main" id="{40781E69-0057-4CEC-BE08-2E27FABDD26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 name="Title 6">
            <a:extLst>
              <a:ext uri="{FF2B5EF4-FFF2-40B4-BE49-F238E27FC236}">
                <a16:creationId xmlns:a16="http://schemas.microsoft.com/office/drawing/2014/main" id="{406D48AF-0110-406C-897C-553828400D2F}"/>
              </a:ext>
            </a:extLst>
          </p:cNvPr>
          <p:cNvSpPr>
            <a:spLocks noGrp="1"/>
          </p:cNvSpPr>
          <p:nvPr>
            <p:ph type="title"/>
          </p:nvPr>
        </p:nvSpPr>
        <p:spPr/>
        <p:txBody>
          <a:bodyPr>
            <a:normAutofit fontScale="90000"/>
          </a:bodyPr>
          <a:lstStyle/>
          <a:p>
            <a:r>
              <a:rPr lang="en-US" b="0" i="0" dirty="0">
                <a:solidFill>
                  <a:srgbClr val="F7743C"/>
                </a:solidFill>
                <a:effectLst/>
                <a:latin typeface="charter"/>
              </a:rPr>
              <a:t>The metaverse is already here — it’s called </a:t>
            </a:r>
            <a:r>
              <a:rPr lang="en-US" b="0" i="0" dirty="0">
                <a:solidFill>
                  <a:srgbClr val="F7743C"/>
                </a:solidFill>
                <a:effectLst/>
                <a:latin typeface="charter"/>
                <a:hlinkClick r:id="rId3"/>
              </a:rPr>
              <a:t>Fortnite</a:t>
            </a:r>
            <a:br>
              <a:rPr lang="en-US" b="0" i="0" dirty="0">
                <a:solidFill>
                  <a:srgbClr val="F7743C"/>
                </a:solidFill>
                <a:effectLst/>
                <a:latin typeface="charter"/>
              </a:rPr>
            </a:br>
            <a:endParaRPr lang="en-US" dirty="0">
              <a:solidFill>
                <a:srgbClr val="F7743C"/>
              </a:solidFill>
            </a:endParaRPr>
          </a:p>
        </p:txBody>
      </p:sp>
      <p:sp>
        <p:nvSpPr>
          <p:cNvPr id="9" name="Text Placeholder 8">
            <a:extLst>
              <a:ext uri="{FF2B5EF4-FFF2-40B4-BE49-F238E27FC236}">
                <a16:creationId xmlns:a16="http://schemas.microsoft.com/office/drawing/2014/main" id="{2B23D810-4B31-4C5E-9631-C42C3F42DC19}"/>
              </a:ext>
            </a:extLst>
          </p:cNvPr>
          <p:cNvSpPr>
            <a:spLocks noGrp="1"/>
          </p:cNvSpPr>
          <p:nvPr>
            <p:ph type="body" sz="half" idx="2"/>
          </p:nvPr>
        </p:nvSpPr>
        <p:spPr>
          <a:xfrm>
            <a:off x="1141364" y="5124019"/>
            <a:ext cx="9910859" cy="1251023"/>
          </a:xfrm>
        </p:spPr>
        <p:txBody>
          <a:bodyPr>
            <a:noAutofit/>
          </a:bodyPr>
          <a:lstStyle/>
          <a:p>
            <a:r>
              <a:rPr lang="en-US" sz="1800" dirty="0"/>
              <a:t>A multiplatform centralized place for hanging out with friends/family, explore, entertainment, learn and the most important it’s consistent with vast evolution and development for years to come. Isn’t just a game it’s a place. A virtual universe.</a:t>
            </a:r>
          </a:p>
        </p:txBody>
      </p:sp>
      <p:sp>
        <p:nvSpPr>
          <p:cNvPr id="12" name="Google Shape;11;p2">
            <a:extLst>
              <a:ext uri="{FF2B5EF4-FFF2-40B4-BE49-F238E27FC236}">
                <a16:creationId xmlns:a16="http://schemas.microsoft.com/office/drawing/2014/main" id="{FD468994-1341-4F6E-91EF-396890BB8112}"/>
              </a:ext>
            </a:extLst>
          </p:cNvPr>
          <p:cNvSpPr/>
          <p:nvPr/>
        </p:nvSpPr>
        <p:spPr>
          <a:xfrm rot="19800010">
            <a:off x="-957180" y="4698164"/>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p2">
            <a:extLst>
              <a:ext uri="{FF2B5EF4-FFF2-40B4-BE49-F238E27FC236}">
                <a16:creationId xmlns:a16="http://schemas.microsoft.com/office/drawing/2014/main" id="{93F3EF3E-1134-47F1-B370-F86F36D248D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3;p69">
            <a:extLst>
              <a:ext uri="{FF2B5EF4-FFF2-40B4-BE49-F238E27FC236}">
                <a16:creationId xmlns:a16="http://schemas.microsoft.com/office/drawing/2014/main" id="{48F68862-6F37-4724-B799-6EFE201FD98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04;p69">
            <a:extLst>
              <a:ext uri="{FF2B5EF4-FFF2-40B4-BE49-F238E27FC236}">
                <a16:creationId xmlns:a16="http://schemas.microsoft.com/office/drawing/2014/main" id="{B92335A9-1CDE-4CF0-9E6F-EFE5EF5EA80C}"/>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6;p69">
            <a:extLst>
              <a:ext uri="{FF2B5EF4-FFF2-40B4-BE49-F238E27FC236}">
                <a16:creationId xmlns:a16="http://schemas.microsoft.com/office/drawing/2014/main" id="{931E51D9-EC56-45B0-B63F-582E87625A0A}"/>
              </a:ext>
            </a:extLst>
          </p:cNvPr>
          <p:cNvSpPr/>
          <p:nvPr/>
        </p:nvSpPr>
        <p:spPr>
          <a:xfrm>
            <a:off x="7761745" y="49526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7;p69">
            <a:extLst>
              <a:ext uri="{FF2B5EF4-FFF2-40B4-BE49-F238E27FC236}">
                <a16:creationId xmlns:a16="http://schemas.microsoft.com/office/drawing/2014/main" id="{97100B24-D1A9-4632-90AA-9F9835C9FEBB}"/>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1" name="Picture Placeholder 10">
            <a:extLst>
              <a:ext uri="{FF2B5EF4-FFF2-40B4-BE49-F238E27FC236}">
                <a16:creationId xmlns:a16="http://schemas.microsoft.com/office/drawing/2014/main" id="{13075C54-F3FC-446B-B03F-ACA592B05C8E}"/>
              </a:ext>
            </a:extLst>
          </p:cNvPr>
          <p:cNvPicPr>
            <a:picLocks noGrp="1" noChangeAspect="1"/>
          </p:cNvPicPr>
          <p:nvPr>
            <p:ph type="pic" idx="1"/>
          </p:nvPr>
        </p:nvPicPr>
        <p:blipFill>
          <a:blip r:embed="rId4"/>
          <a:srcRect t="20377" b="20377"/>
          <a:stretch>
            <a:fillRect/>
          </a:stretch>
        </p:blipFill>
        <p:spPr>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73" name="Group 72">
            <a:extLst>
              <a:ext uri="{FF2B5EF4-FFF2-40B4-BE49-F238E27FC236}">
                <a16:creationId xmlns:a16="http://schemas.microsoft.com/office/drawing/2014/main" id="{BBCB1B02-8D9B-48CE-85B6-FB45CC123695}"/>
              </a:ext>
            </a:extLst>
          </p:cNvPr>
          <p:cNvGrpSpPr/>
          <p:nvPr/>
        </p:nvGrpSpPr>
        <p:grpSpPr>
          <a:xfrm rot="10573177">
            <a:off x="318950" y="352936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4" name="Group 73">
              <a:extLst>
                <a:ext uri="{FF2B5EF4-FFF2-40B4-BE49-F238E27FC236}">
                  <a16:creationId xmlns:a16="http://schemas.microsoft.com/office/drawing/2014/main" id="{1F99EF53-57EC-4E67-AC00-2CEB6842E1AC}"/>
                </a:ext>
              </a:extLst>
            </p:cNvPr>
            <p:cNvGrpSpPr/>
            <p:nvPr/>
          </p:nvGrpSpPr>
          <p:grpSpPr>
            <a:xfrm>
              <a:off x="5241585" y="4198069"/>
              <a:ext cx="411449" cy="357382"/>
              <a:chOff x="5241585" y="4198069"/>
              <a:chExt cx="411449" cy="357382"/>
            </a:xfrm>
          </p:grpSpPr>
          <p:sp>
            <p:nvSpPr>
              <p:cNvPr id="76" name="Google Shape;658;p48">
                <a:extLst>
                  <a:ext uri="{FF2B5EF4-FFF2-40B4-BE49-F238E27FC236}">
                    <a16:creationId xmlns:a16="http://schemas.microsoft.com/office/drawing/2014/main" id="{EEFE0F60-A4EE-4582-B636-769C62A5B51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659;p48">
                <a:extLst>
                  <a:ext uri="{FF2B5EF4-FFF2-40B4-BE49-F238E27FC236}">
                    <a16:creationId xmlns:a16="http://schemas.microsoft.com/office/drawing/2014/main" id="{30FE21F0-8ADA-4F9F-8C54-726AA374E6DC}"/>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8" name="Google Shape;660;p48">
                <a:extLst>
                  <a:ext uri="{FF2B5EF4-FFF2-40B4-BE49-F238E27FC236}">
                    <a16:creationId xmlns:a16="http://schemas.microsoft.com/office/drawing/2014/main" id="{E7460A84-1D55-4F93-B1C5-38CEDD942A95}"/>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5" name="Google Shape;661;p48">
              <a:extLst>
                <a:ext uri="{FF2B5EF4-FFF2-40B4-BE49-F238E27FC236}">
                  <a16:creationId xmlns:a16="http://schemas.microsoft.com/office/drawing/2014/main" id="{C83C80E7-6E96-4FDA-B15C-12AA10675ABF}"/>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4441226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lstStyle/>
          <a:p>
            <a:r>
              <a:rPr lang="en-US" dirty="0"/>
              <a:t>Co-op horror Survival FPP</a:t>
            </a:r>
          </a:p>
          <a:p>
            <a:r>
              <a:rPr lang="en-US" dirty="0"/>
              <a:t>Explore/Investigate</a:t>
            </a:r>
          </a:p>
          <a:p>
            <a:r>
              <a:rPr lang="en-US" dirty="0"/>
              <a:t>Puzzle</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lstStyle/>
          <a:p>
            <a:r>
              <a:rPr lang="en-US" dirty="0"/>
              <a:t>Co-op horror Survival FPP</a:t>
            </a:r>
          </a:p>
          <a:p>
            <a:r>
              <a:rPr lang="en-US" dirty="0"/>
              <a:t>Explore/Investigate</a:t>
            </a:r>
          </a:p>
          <a:p>
            <a:r>
              <a:rPr lang="en-US" dirty="0"/>
              <a:t>Puzzle</a:t>
            </a:r>
          </a:p>
          <a:p>
            <a:r>
              <a:rPr lang="en-US" dirty="0"/>
              <a:t>Entertainment</a:t>
            </a:r>
          </a:p>
          <a:p>
            <a:endParaRPr lang="en-US" dirty="0"/>
          </a:p>
        </p:txBody>
      </p:sp>
      <p:sp>
        <p:nvSpPr>
          <p:cNvPr id="7" name="Google Shape;11;p2">
            <a:extLst>
              <a:ext uri="{FF2B5EF4-FFF2-40B4-BE49-F238E27FC236}">
                <a16:creationId xmlns:a16="http://schemas.microsoft.com/office/drawing/2014/main" id="{ED6147FD-E1FE-4CB5-9F7E-02FE701DAE04}"/>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AF5E3706-6350-4F4C-9995-60E90807621D}"/>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 name="Group 8">
            <a:extLst>
              <a:ext uri="{FF2B5EF4-FFF2-40B4-BE49-F238E27FC236}">
                <a16:creationId xmlns:a16="http://schemas.microsoft.com/office/drawing/2014/main" id="{A526EFE8-8E27-4F36-97FC-6CABEF950E54}"/>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C0C31E2B-4F64-489E-BCDB-C17587342A6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733173BB-D127-4486-A93F-6C0290C7FD87}"/>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B310A12-1347-4D60-9579-806CE8BDCBF0}"/>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5C82FC8F-71BF-4260-801C-8D95A67ADD13}"/>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A24A8120-6E83-4304-9517-A00CF2D159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198BB409-9D51-4321-B6C9-902AA58305AD}"/>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10CB89FB-B56E-4844-B766-540CA56EC429}"/>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8C41E988-C368-4C2E-96FE-8A72371FBE5E}"/>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6D3BA849-5838-4958-8911-3C05AC4FCEB9}"/>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68DB3609-7061-4E4A-AF2F-858F362D40DB}"/>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C4998EF7-7933-4ECD-AA8A-F15E64AA5415}"/>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59F701B0-C794-4A2B-A02C-E582BD514A75}"/>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87F1DB29-C515-474B-987F-2D80E7B162F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B90E9036-9B35-47C3-B628-2C55B04EF93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4D6ED763-458A-4D9A-A1E9-E7A7ED1D4734}"/>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905522C9-9F61-4B35-A6C9-246FB380E91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9E1B00FD-4ACD-4C80-920E-34956971C55A}"/>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7131DA82-8270-45B6-95EE-6814E5E56D45}"/>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97BB2906-AD14-4FBE-97AC-CAC9E804E51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DB0C995F-885B-4A17-AFD8-AE55955050FB}"/>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8072007A-0689-4AA2-B876-CA11609407F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5DF5205E-7F50-436C-A235-10E78C24A71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0CF28699-55C6-406A-BFEB-FE2077D8CAB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E53F1C01-F870-47E2-B826-C52CE96B7373}"/>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AF5E4A2E-C910-4E78-BB3F-3D5FC84CDCDD}"/>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9C2BE4F5-9539-4AA1-9763-BE345AE6513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C4D5D5E9-E6BF-47EC-8047-935916FA5AE9}"/>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926FAB3-34B4-4DB5-8B1C-FC3AD380CAC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8D11F3E9-D625-4C87-9AAB-F8C9B1C6013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71F8C657-6600-4577-9FF1-7D194C1977C3}"/>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34E55F53-70A5-40A5-B53C-77E93724E89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A954ADE6-4C98-49C7-8088-AB374A38AFAA}"/>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0A4D56D-7D3A-471E-ABCA-FF3722FD410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492CE6E2-F0CF-49DC-8312-2F3A91CA6DB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A3F6A8BE-511E-43CC-ABF0-C9D9DE2EFF7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B04D7669-913A-41B5-BD80-0022A6E81F64}"/>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1794522E-5247-404C-92AD-B8BDE8DCA385}"/>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3736E37B-984F-43FC-A823-28F1A097701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B3996EDB-F110-4493-B2F8-80BDDC6CD8C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74F76B7-E725-421C-8C2B-EF0078665096}"/>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D59E5AD5-6D7C-49B7-BBFE-3B369441D9B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8EAB4DF8-D333-44B0-B113-DE46FF033F17}"/>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5446699D-5CBC-413D-9054-E2E8C88B6964}"/>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5A38A283-6147-4255-9D34-AD9C0353846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138BA0D3-D1CA-437D-AA7B-239D111AB2F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93C8D7FC-7C7A-4AFC-A352-0EBD3BB6BD00}"/>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423B88DA-FA6C-4957-86F3-1150AF72FA3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82B191C1-CCFC-48BC-99C9-A61FD0E8B409}"/>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F9F1ED93-67A9-460E-8C95-9BBE53ABA45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D04A01AA-6C9F-43DA-9091-D6CC38737A64}"/>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E7819AB2-3B4A-474D-9BF1-14DAEC41BD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8AAF801E-55CF-4FB8-BE17-80F45BFC463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4CBD5917-7B1D-4A41-A5CC-B1B4AA0A3F56}"/>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FDE3D2B9-7EDF-4D5E-809B-2356C0458293}"/>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47698A9C-E127-4949-B2F5-C13B35E049B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3CA62A14-E03F-47C0-B20F-9473FF63AF69}"/>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BE95ECAD-F7E5-40BF-AA8E-E310C41E445C}"/>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EE884736-F7CA-4E86-AB36-68D394A4B76D}"/>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 name="Group 73">
            <a:extLst>
              <a:ext uri="{FF2B5EF4-FFF2-40B4-BE49-F238E27FC236}">
                <a16:creationId xmlns:a16="http://schemas.microsoft.com/office/drawing/2014/main" id="{D912EF4F-659B-49EF-AACC-B273F81C8E3C}"/>
              </a:ext>
            </a:extLst>
          </p:cNvPr>
          <p:cNvGrpSpPr/>
          <p:nvPr/>
        </p:nvGrpSpPr>
        <p:grpSpPr>
          <a:xfrm flipH="1">
            <a:off x="1078666" y="1753686"/>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5" name="Group 74">
              <a:extLst>
                <a:ext uri="{FF2B5EF4-FFF2-40B4-BE49-F238E27FC236}">
                  <a16:creationId xmlns:a16="http://schemas.microsoft.com/office/drawing/2014/main" id="{F4EE0F1A-4E89-4D51-9770-0F21E63557F1}"/>
                </a:ext>
              </a:extLst>
            </p:cNvPr>
            <p:cNvGrpSpPr/>
            <p:nvPr/>
          </p:nvGrpSpPr>
          <p:grpSpPr>
            <a:xfrm>
              <a:off x="5241585" y="4198069"/>
              <a:ext cx="411449" cy="357382"/>
              <a:chOff x="5241585" y="4198069"/>
              <a:chExt cx="411449" cy="357382"/>
            </a:xfrm>
          </p:grpSpPr>
          <p:sp>
            <p:nvSpPr>
              <p:cNvPr id="77" name="Google Shape;658;p48">
                <a:extLst>
                  <a:ext uri="{FF2B5EF4-FFF2-40B4-BE49-F238E27FC236}">
                    <a16:creationId xmlns:a16="http://schemas.microsoft.com/office/drawing/2014/main" id="{75F9BC87-B2A4-4E8F-B17B-9D58CBD1049F}"/>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659;p48">
                <a:extLst>
                  <a:ext uri="{FF2B5EF4-FFF2-40B4-BE49-F238E27FC236}">
                    <a16:creationId xmlns:a16="http://schemas.microsoft.com/office/drawing/2014/main" id="{4D1216B6-9C5B-401D-8B36-045B3C44AE4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9" name="Google Shape;660;p48">
                <a:extLst>
                  <a:ext uri="{FF2B5EF4-FFF2-40B4-BE49-F238E27FC236}">
                    <a16:creationId xmlns:a16="http://schemas.microsoft.com/office/drawing/2014/main" id="{5874EB9A-6AD5-4279-AD6E-F7F606F50F70}"/>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661;p48">
              <a:extLst>
                <a:ext uri="{FF2B5EF4-FFF2-40B4-BE49-F238E27FC236}">
                  <a16:creationId xmlns:a16="http://schemas.microsoft.com/office/drawing/2014/main" id="{D253CB67-EA3A-40A7-80DB-E9BCA121D9DC}"/>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6133584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457739185"/>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5" name="Google Shape;11;p2">
            <a:extLst>
              <a:ext uri="{FF2B5EF4-FFF2-40B4-BE49-F238E27FC236}">
                <a16:creationId xmlns:a16="http://schemas.microsoft.com/office/drawing/2014/main" id="{A0E669F5-FA3A-4F59-B001-D933A11CB47D}"/>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2;p2">
            <a:extLst>
              <a:ext uri="{FF2B5EF4-FFF2-40B4-BE49-F238E27FC236}">
                <a16:creationId xmlns:a16="http://schemas.microsoft.com/office/drawing/2014/main" id="{27EB92BD-3CE8-4229-A8F8-499F755B7B03}"/>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 name="Group 6">
            <a:extLst>
              <a:ext uri="{FF2B5EF4-FFF2-40B4-BE49-F238E27FC236}">
                <a16:creationId xmlns:a16="http://schemas.microsoft.com/office/drawing/2014/main" id="{C33F19A8-D7F3-41CB-A8AA-6A2FC3624F5C}"/>
              </a:ext>
            </a:extLst>
          </p:cNvPr>
          <p:cNvGrpSpPr/>
          <p:nvPr/>
        </p:nvGrpSpPr>
        <p:grpSpPr>
          <a:xfrm>
            <a:off x="9687728" y="5239065"/>
            <a:ext cx="1187582" cy="1104265"/>
            <a:chOff x="9379963" y="4497336"/>
            <a:chExt cx="1187582" cy="1104265"/>
          </a:xfrm>
        </p:grpSpPr>
        <p:grpSp>
          <p:nvGrpSpPr>
            <p:cNvPr id="8" name="Google Shape;802;p51">
              <a:extLst>
                <a:ext uri="{FF2B5EF4-FFF2-40B4-BE49-F238E27FC236}">
                  <a16:creationId xmlns:a16="http://schemas.microsoft.com/office/drawing/2014/main" id="{11273DBF-9E99-4FA6-A6EA-77A914B60A6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D1C4DD4C-4DE0-4990-8278-2C43222A134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5DCDD84-5A4B-40D4-8C73-1361C9D61F26}"/>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E1374A6-15C6-4F8B-839C-4472E7D6DBB2}"/>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F9D28621-E0ED-4AF4-80CE-42CDF6E72C2F}"/>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440875BD-4FC4-4A5F-82EF-65CE9588CB7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BCD293A4-174B-4235-9CB7-E77980F546BA}"/>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EB130C6B-DB26-4BCC-AEE7-A4E6E348F7F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324A197E-F031-4531-A2C0-7769A7B8308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42F2E4F4-4822-41D1-9D20-72DCCACFBBC4}"/>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15F7F201-99BE-4BBF-B540-3A477A14CE5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E1710006-8351-48E3-85FD-41CAB7435117}"/>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53E63302-07B5-44C8-8C0C-FED982A6D730}"/>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E2B57D6-394F-42DF-BE55-5C3AB139A7F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1B246A47-B882-4219-8486-79913D5E4A0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477CF51C-A8BB-45D0-9FA7-640BFF173C0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E5992995-EE3C-4EB0-806F-E5978249C26B}"/>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F6E6F50E-7A2E-4572-869D-CAB42B31547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8A251B-396B-4BAB-AE71-9554D8DF493A}"/>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4ECBEE63-6E22-4CA5-9592-64F4586C1629}"/>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51D056E6-C7E9-4685-9378-62A0E21A9C2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C7CB1F48-BEC5-4E17-AF3F-37169DD2AC5B}"/>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D744C6F-FC70-48A1-A162-D381DD53679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121377A-34FB-488A-814C-D51F85F418C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50683ED4-7399-4B06-862A-8DB150CD5EB6}"/>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DCD94F6F-6D7B-4933-96F5-95A4A57D34D5}"/>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9" name="Group 8">
              <a:extLst>
                <a:ext uri="{FF2B5EF4-FFF2-40B4-BE49-F238E27FC236}">
                  <a16:creationId xmlns:a16="http://schemas.microsoft.com/office/drawing/2014/main" id="{14232E43-10D0-42F1-B2AB-EAC0031C1982}"/>
                </a:ext>
              </a:extLst>
            </p:cNvPr>
            <p:cNvGrpSpPr/>
            <p:nvPr/>
          </p:nvGrpSpPr>
          <p:grpSpPr>
            <a:xfrm>
              <a:off x="9459173" y="4651735"/>
              <a:ext cx="965465" cy="814701"/>
              <a:chOff x="2122052" y="4430998"/>
              <a:chExt cx="516998" cy="436265"/>
            </a:xfrm>
          </p:grpSpPr>
          <p:sp>
            <p:nvSpPr>
              <p:cNvPr id="10" name="Google Shape;663;p48">
                <a:extLst>
                  <a:ext uri="{FF2B5EF4-FFF2-40B4-BE49-F238E27FC236}">
                    <a16:creationId xmlns:a16="http://schemas.microsoft.com/office/drawing/2014/main" id="{720DA236-91FC-40BC-AE17-CEFD0C10574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4;p48">
                <a:extLst>
                  <a:ext uri="{FF2B5EF4-FFF2-40B4-BE49-F238E27FC236}">
                    <a16:creationId xmlns:a16="http://schemas.microsoft.com/office/drawing/2014/main" id="{47D82347-9559-44B8-AF95-7DEBE6109E5D}"/>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5;p48">
                <a:extLst>
                  <a:ext uri="{FF2B5EF4-FFF2-40B4-BE49-F238E27FC236}">
                    <a16:creationId xmlns:a16="http://schemas.microsoft.com/office/drawing/2014/main" id="{C4533DD4-F4E5-494C-ABB6-168DC22AE30F}"/>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F0AA2493-5AC6-4BDE-B5BF-8E6AF0D2CA8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FC951839-CE51-470E-B7DC-3727283F8C19}"/>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D4ED0C6-8856-4C5A-A1E5-6B73F4924920}"/>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7A81D431-9B87-4190-B461-DD39DCB03048}"/>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8AE9FD3E-D3CC-4F58-A25E-DF7F347421E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A3346EC4-AA77-4898-8243-087B5F7EC4C2}"/>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C8AB0E89-BA65-4BBC-9348-AE5CF5BA2D21}"/>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525F3A07-DDE9-4D6C-A13B-F22C8E0E03E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374375DA-D9A7-485F-AF59-2E3733A28D11}"/>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92CDF497-9EDC-4FCF-B2AE-AA5648C43485}"/>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E65D57FA-F1DB-4116-96D7-7E82C39C82FE}"/>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F2326D58-5394-4C51-BA4D-486801ED8BEE}"/>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F6942E1A-FF75-4B9F-9298-BCE70D15113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701AFAB6-16A4-4BE6-B4C3-D530A544BB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6CB8528A-B255-4C87-8A80-E7654EB998C8}"/>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AE79E7DD-59F8-4644-8C84-440E9AB96CA9}"/>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F0F6853D-D478-4CD4-95E9-9B90964FEAB8}"/>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C64F2BF6-B523-452D-A075-B2E42B07AB47}"/>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C9A82F08-575A-4E7F-B90D-FF762EA2402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C40C7BCD-1606-4AA1-91D4-003CF21A9ABD}"/>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47577F39-42F9-4BC4-849D-D0FB5AFBF48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CC7A3327-C50A-4461-8529-752C831FF5F5}"/>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D65FBBEA-87F5-435C-8F40-1A61076AC351}"/>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D56F0D8B-8D51-401F-9377-AD8C3E2742C0}"/>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1020B0C4-2A29-4B25-B00B-114E861F5F66}"/>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F5CAA3B2-9121-4A01-A0A2-A0B40CFBCBE1}"/>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EA8EC17C-2791-4E63-A953-2650679C1A50}"/>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A18EC33E-BB00-4BD3-B46D-75B52BB3CFC6}"/>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63CB21FA-D5F9-4504-BEE0-199B115BB968}"/>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FE9A443E-B5CB-4BAA-89A0-EA1D1577B9B4}"/>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9D9F0E63-02CF-4968-B07A-72C507295F0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E0AD2859-F3EF-4E4F-A44B-659AA6221E5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C01617E1-B294-43CF-AA11-8ABAD3CD9B5D}"/>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C69B3678-4E95-4B3D-B2A0-3F700CBE5890}"/>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632870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3)</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a:p>
            <a:endParaRPr lang="en-US" dirty="0"/>
          </a:p>
          <a:p>
            <a:endParaRPr lang="en-US" dirty="0"/>
          </a:p>
          <a:p>
            <a:endParaRPr lang="en-US" dirty="0"/>
          </a:p>
        </p:txBody>
      </p:sp>
      <p:sp>
        <p:nvSpPr>
          <p:cNvPr id="7" name="Google Shape;1714;p63">
            <a:extLst>
              <a:ext uri="{FF2B5EF4-FFF2-40B4-BE49-F238E27FC236}">
                <a16:creationId xmlns:a16="http://schemas.microsoft.com/office/drawing/2014/main" id="{4704C884-3290-4D6D-891D-CCEADAB3813E}"/>
              </a:ext>
            </a:extLst>
          </p:cNvPr>
          <p:cNvSpPr txBox="1">
            <a:spLocks/>
          </p:cNvSpPr>
          <p:nvPr/>
        </p:nvSpPr>
        <p:spPr>
          <a:xfrm>
            <a:off x="5161114" y="1066802"/>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Mechanics Overview</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8" name="Google Shape;11;p2">
            <a:extLst>
              <a:ext uri="{FF2B5EF4-FFF2-40B4-BE49-F238E27FC236}">
                <a16:creationId xmlns:a16="http://schemas.microsoft.com/office/drawing/2014/main" id="{B7382167-AB86-4ACF-B621-BBC8A4FE3F42}"/>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p2">
            <a:extLst>
              <a:ext uri="{FF2B5EF4-FFF2-40B4-BE49-F238E27FC236}">
                <a16:creationId xmlns:a16="http://schemas.microsoft.com/office/drawing/2014/main" id="{5DDCD3E9-19CD-4005-990E-EEF8139B1488}"/>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 name="Group 9">
            <a:extLst>
              <a:ext uri="{FF2B5EF4-FFF2-40B4-BE49-F238E27FC236}">
                <a16:creationId xmlns:a16="http://schemas.microsoft.com/office/drawing/2014/main" id="{4665B14E-8580-4338-A6BB-A1CE669FA01E}"/>
              </a:ext>
            </a:extLst>
          </p:cNvPr>
          <p:cNvGrpSpPr/>
          <p:nvPr/>
        </p:nvGrpSpPr>
        <p:grpSpPr>
          <a:xfrm>
            <a:off x="9687728" y="5239065"/>
            <a:ext cx="1187582" cy="1104265"/>
            <a:chOff x="9379963" y="4497336"/>
            <a:chExt cx="1187582" cy="1104265"/>
          </a:xfrm>
        </p:grpSpPr>
        <p:grpSp>
          <p:nvGrpSpPr>
            <p:cNvPr id="11" name="Google Shape;802;p51">
              <a:extLst>
                <a:ext uri="{FF2B5EF4-FFF2-40B4-BE49-F238E27FC236}">
                  <a16:creationId xmlns:a16="http://schemas.microsoft.com/office/drawing/2014/main" id="{6ABEC905-FBB6-40C3-8A46-3F207928201C}"/>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8" name="Google Shape;803;p51">
                <a:extLst>
                  <a:ext uri="{FF2B5EF4-FFF2-40B4-BE49-F238E27FC236}">
                    <a16:creationId xmlns:a16="http://schemas.microsoft.com/office/drawing/2014/main" id="{5DB6A31A-D6EB-4594-860F-D844B4200789}"/>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4;p51">
                <a:extLst>
                  <a:ext uri="{FF2B5EF4-FFF2-40B4-BE49-F238E27FC236}">
                    <a16:creationId xmlns:a16="http://schemas.microsoft.com/office/drawing/2014/main" id="{DA129B08-4512-495C-9436-F8E043CCA88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5;p51">
                <a:extLst>
                  <a:ext uri="{FF2B5EF4-FFF2-40B4-BE49-F238E27FC236}">
                    <a16:creationId xmlns:a16="http://schemas.microsoft.com/office/drawing/2014/main" id="{EAEE08C4-4AD6-48B0-BC0A-F99130E7991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6;p51">
                <a:extLst>
                  <a:ext uri="{FF2B5EF4-FFF2-40B4-BE49-F238E27FC236}">
                    <a16:creationId xmlns:a16="http://schemas.microsoft.com/office/drawing/2014/main" id="{DF1EFB98-6F9E-4803-8BC8-A4CA045AEF44}"/>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7;p51">
                <a:extLst>
                  <a:ext uri="{FF2B5EF4-FFF2-40B4-BE49-F238E27FC236}">
                    <a16:creationId xmlns:a16="http://schemas.microsoft.com/office/drawing/2014/main" id="{6B12D690-EFF8-4E80-A646-B252207A3E8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8;p51">
                <a:extLst>
                  <a:ext uri="{FF2B5EF4-FFF2-40B4-BE49-F238E27FC236}">
                    <a16:creationId xmlns:a16="http://schemas.microsoft.com/office/drawing/2014/main" id="{F9096375-62EC-4652-9F33-0F095984B02E}"/>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9;p51">
                <a:extLst>
                  <a:ext uri="{FF2B5EF4-FFF2-40B4-BE49-F238E27FC236}">
                    <a16:creationId xmlns:a16="http://schemas.microsoft.com/office/drawing/2014/main" id="{55446D20-3667-4C44-BFF5-BB8BDC00C66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0;p51">
                <a:extLst>
                  <a:ext uri="{FF2B5EF4-FFF2-40B4-BE49-F238E27FC236}">
                    <a16:creationId xmlns:a16="http://schemas.microsoft.com/office/drawing/2014/main" id="{370B325D-DF38-41CA-8DE6-A3FD3F4E768F}"/>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1;p51">
                <a:extLst>
                  <a:ext uri="{FF2B5EF4-FFF2-40B4-BE49-F238E27FC236}">
                    <a16:creationId xmlns:a16="http://schemas.microsoft.com/office/drawing/2014/main" id="{04BEA906-735E-46C2-80D2-B547DB652716}"/>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2;p51">
                <a:extLst>
                  <a:ext uri="{FF2B5EF4-FFF2-40B4-BE49-F238E27FC236}">
                    <a16:creationId xmlns:a16="http://schemas.microsoft.com/office/drawing/2014/main" id="{974AF8F4-033F-499A-B284-19289BBA181F}"/>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3;p51">
                <a:extLst>
                  <a:ext uri="{FF2B5EF4-FFF2-40B4-BE49-F238E27FC236}">
                    <a16:creationId xmlns:a16="http://schemas.microsoft.com/office/drawing/2014/main" id="{37E3D31D-64B1-40FB-8438-3C1D79445CA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4;p51">
                <a:extLst>
                  <a:ext uri="{FF2B5EF4-FFF2-40B4-BE49-F238E27FC236}">
                    <a16:creationId xmlns:a16="http://schemas.microsoft.com/office/drawing/2014/main" id="{9343772A-363A-4862-A29D-DEE8CCFDB17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5;p51">
                <a:extLst>
                  <a:ext uri="{FF2B5EF4-FFF2-40B4-BE49-F238E27FC236}">
                    <a16:creationId xmlns:a16="http://schemas.microsoft.com/office/drawing/2014/main" id="{AA34DDE5-86C6-4BCE-B93C-834FCB63C68F}"/>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6;p51">
                <a:extLst>
                  <a:ext uri="{FF2B5EF4-FFF2-40B4-BE49-F238E27FC236}">
                    <a16:creationId xmlns:a16="http://schemas.microsoft.com/office/drawing/2014/main" id="{8C67CD48-BA2E-4813-A65E-3664959C06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7;p51">
                <a:extLst>
                  <a:ext uri="{FF2B5EF4-FFF2-40B4-BE49-F238E27FC236}">
                    <a16:creationId xmlns:a16="http://schemas.microsoft.com/office/drawing/2014/main" id="{E2A2F6A3-9048-447F-8FA4-CF10431A936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8;p51">
                <a:extLst>
                  <a:ext uri="{FF2B5EF4-FFF2-40B4-BE49-F238E27FC236}">
                    <a16:creationId xmlns:a16="http://schemas.microsoft.com/office/drawing/2014/main" id="{0F6F510C-6A29-4C14-B82B-A27E0683AAC1}"/>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9;p51">
                <a:extLst>
                  <a:ext uri="{FF2B5EF4-FFF2-40B4-BE49-F238E27FC236}">
                    <a16:creationId xmlns:a16="http://schemas.microsoft.com/office/drawing/2014/main" id="{0E0FB224-A21C-4553-B6E7-07F26BA6C18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0;p51">
                <a:extLst>
                  <a:ext uri="{FF2B5EF4-FFF2-40B4-BE49-F238E27FC236}">
                    <a16:creationId xmlns:a16="http://schemas.microsoft.com/office/drawing/2014/main" id="{5B39D2B7-C74F-4A46-828F-BF345512B63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1;p51">
                <a:extLst>
                  <a:ext uri="{FF2B5EF4-FFF2-40B4-BE49-F238E27FC236}">
                    <a16:creationId xmlns:a16="http://schemas.microsoft.com/office/drawing/2014/main" id="{DA1D174D-CF32-4FB3-AB67-11AF1CBB60D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2;p51">
                <a:extLst>
                  <a:ext uri="{FF2B5EF4-FFF2-40B4-BE49-F238E27FC236}">
                    <a16:creationId xmlns:a16="http://schemas.microsoft.com/office/drawing/2014/main" id="{079D1319-52DB-4534-8A47-5F18721A2D5E}"/>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3;p51">
                <a:extLst>
                  <a:ext uri="{FF2B5EF4-FFF2-40B4-BE49-F238E27FC236}">
                    <a16:creationId xmlns:a16="http://schemas.microsoft.com/office/drawing/2014/main" id="{2B79991E-C2F2-4FD0-8D43-2444F0EBA3C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4;p51">
                <a:extLst>
                  <a:ext uri="{FF2B5EF4-FFF2-40B4-BE49-F238E27FC236}">
                    <a16:creationId xmlns:a16="http://schemas.microsoft.com/office/drawing/2014/main" id="{CA176A40-2539-4200-91BE-FDC98991E93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5;p51">
                <a:extLst>
                  <a:ext uri="{FF2B5EF4-FFF2-40B4-BE49-F238E27FC236}">
                    <a16:creationId xmlns:a16="http://schemas.microsoft.com/office/drawing/2014/main" id="{59296DFC-FBE6-4E94-AF11-076498760E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6;p51">
                <a:extLst>
                  <a:ext uri="{FF2B5EF4-FFF2-40B4-BE49-F238E27FC236}">
                    <a16:creationId xmlns:a16="http://schemas.microsoft.com/office/drawing/2014/main" id="{0D80077B-B9A6-4409-BAF8-DBBFDADE0F6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7;p51">
                <a:extLst>
                  <a:ext uri="{FF2B5EF4-FFF2-40B4-BE49-F238E27FC236}">
                    <a16:creationId xmlns:a16="http://schemas.microsoft.com/office/drawing/2014/main" id="{4DFB6E6C-231C-4B16-B83E-E6E09A830C92}"/>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2" name="Group 11">
              <a:extLst>
                <a:ext uri="{FF2B5EF4-FFF2-40B4-BE49-F238E27FC236}">
                  <a16:creationId xmlns:a16="http://schemas.microsoft.com/office/drawing/2014/main" id="{61CAA4D1-1360-47F5-ABAA-B6090A5F4C2F}"/>
                </a:ext>
              </a:extLst>
            </p:cNvPr>
            <p:cNvGrpSpPr/>
            <p:nvPr/>
          </p:nvGrpSpPr>
          <p:grpSpPr>
            <a:xfrm>
              <a:off x="9459173" y="4651735"/>
              <a:ext cx="965465" cy="814701"/>
              <a:chOff x="2122052" y="4430998"/>
              <a:chExt cx="516998" cy="436265"/>
            </a:xfrm>
          </p:grpSpPr>
          <p:sp>
            <p:nvSpPr>
              <p:cNvPr id="13" name="Google Shape;663;p48">
                <a:extLst>
                  <a:ext uri="{FF2B5EF4-FFF2-40B4-BE49-F238E27FC236}">
                    <a16:creationId xmlns:a16="http://schemas.microsoft.com/office/drawing/2014/main" id="{45EF5086-4E28-4D35-92AC-BBC2F2708F7A}"/>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4;p48">
                <a:extLst>
                  <a:ext uri="{FF2B5EF4-FFF2-40B4-BE49-F238E27FC236}">
                    <a16:creationId xmlns:a16="http://schemas.microsoft.com/office/drawing/2014/main" id="{1DC69CEC-16C5-4891-9047-5CF5210D80F1}"/>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5;p48">
                <a:extLst>
                  <a:ext uri="{FF2B5EF4-FFF2-40B4-BE49-F238E27FC236}">
                    <a16:creationId xmlns:a16="http://schemas.microsoft.com/office/drawing/2014/main" id="{44B84F77-8A89-447C-9D56-52509ADE8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6;p48">
                <a:extLst>
                  <a:ext uri="{FF2B5EF4-FFF2-40B4-BE49-F238E27FC236}">
                    <a16:creationId xmlns:a16="http://schemas.microsoft.com/office/drawing/2014/main" id="{7A6CC6B8-87DB-4431-861F-DC4FA7F53F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7;p48">
                <a:extLst>
                  <a:ext uri="{FF2B5EF4-FFF2-40B4-BE49-F238E27FC236}">
                    <a16:creationId xmlns:a16="http://schemas.microsoft.com/office/drawing/2014/main" id="{266573E5-9534-4EF8-B0AB-9CC38DF4168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8;p48">
                <a:extLst>
                  <a:ext uri="{FF2B5EF4-FFF2-40B4-BE49-F238E27FC236}">
                    <a16:creationId xmlns:a16="http://schemas.microsoft.com/office/drawing/2014/main" id="{81486D8F-504B-4819-8CC3-2AF4A676C72F}"/>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9" name="Google Shape;669;p48">
                <a:extLst>
                  <a:ext uri="{FF2B5EF4-FFF2-40B4-BE49-F238E27FC236}">
                    <a16:creationId xmlns:a16="http://schemas.microsoft.com/office/drawing/2014/main" id="{D17B11F1-2A6B-44B6-B9C2-FAF23C553E39}"/>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0;p48">
                <a:extLst>
                  <a:ext uri="{FF2B5EF4-FFF2-40B4-BE49-F238E27FC236}">
                    <a16:creationId xmlns:a16="http://schemas.microsoft.com/office/drawing/2014/main" id="{F0A34EB4-81EB-4AD8-96BE-5B5F3DA343E5}"/>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1;p48">
                <a:extLst>
                  <a:ext uri="{FF2B5EF4-FFF2-40B4-BE49-F238E27FC236}">
                    <a16:creationId xmlns:a16="http://schemas.microsoft.com/office/drawing/2014/main" id="{69D2530F-3F15-4538-A722-7A0589210A5A}"/>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2;p48">
                <a:extLst>
                  <a:ext uri="{FF2B5EF4-FFF2-40B4-BE49-F238E27FC236}">
                    <a16:creationId xmlns:a16="http://schemas.microsoft.com/office/drawing/2014/main" id="{AA290D68-5571-4202-821C-D6C2EC339D04}"/>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3;p48">
                <a:extLst>
                  <a:ext uri="{FF2B5EF4-FFF2-40B4-BE49-F238E27FC236}">
                    <a16:creationId xmlns:a16="http://schemas.microsoft.com/office/drawing/2014/main" id="{DD7A282A-1230-4E4C-B588-8FA3341CD3C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4;p48">
                <a:extLst>
                  <a:ext uri="{FF2B5EF4-FFF2-40B4-BE49-F238E27FC236}">
                    <a16:creationId xmlns:a16="http://schemas.microsoft.com/office/drawing/2014/main" id="{155ABF0A-2D70-4A90-8D7A-B48DD262C4A7}"/>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5;p48">
                <a:extLst>
                  <a:ext uri="{FF2B5EF4-FFF2-40B4-BE49-F238E27FC236}">
                    <a16:creationId xmlns:a16="http://schemas.microsoft.com/office/drawing/2014/main" id="{361DFD1C-2EB7-4F27-BBB8-250EE020825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6;p48">
                <a:extLst>
                  <a:ext uri="{FF2B5EF4-FFF2-40B4-BE49-F238E27FC236}">
                    <a16:creationId xmlns:a16="http://schemas.microsoft.com/office/drawing/2014/main" id="{8F398D03-171E-4021-B59E-82151315F13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7;p48">
                <a:extLst>
                  <a:ext uri="{FF2B5EF4-FFF2-40B4-BE49-F238E27FC236}">
                    <a16:creationId xmlns:a16="http://schemas.microsoft.com/office/drawing/2014/main" id="{FE0697ED-C04C-4C1B-B36F-EFB839CA3C31}"/>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8;p48">
                <a:extLst>
                  <a:ext uri="{FF2B5EF4-FFF2-40B4-BE49-F238E27FC236}">
                    <a16:creationId xmlns:a16="http://schemas.microsoft.com/office/drawing/2014/main" id="{FA2F1649-E502-4F73-97F1-E964D99F6C0D}"/>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9;p48">
                <a:extLst>
                  <a:ext uri="{FF2B5EF4-FFF2-40B4-BE49-F238E27FC236}">
                    <a16:creationId xmlns:a16="http://schemas.microsoft.com/office/drawing/2014/main" id="{262DADEE-19A0-45D0-925B-0F7F11811C1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0;p48">
                <a:extLst>
                  <a:ext uri="{FF2B5EF4-FFF2-40B4-BE49-F238E27FC236}">
                    <a16:creationId xmlns:a16="http://schemas.microsoft.com/office/drawing/2014/main" id="{86619DCC-A873-4556-8557-323B13682D7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1;p48">
                <a:extLst>
                  <a:ext uri="{FF2B5EF4-FFF2-40B4-BE49-F238E27FC236}">
                    <a16:creationId xmlns:a16="http://schemas.microsoft.com/office/drawing/2014/main" id="{05EB8FEF-8AD4-423A-B4BF-38A5AE80F7E3}"/>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2;p48">
                <a:extLst>
                  <a:ext uri="{FF2B5EF4-FFF2-40B4-BE49-F238E27FC236}">
                    <a16:creationId xmlns:a16="http://schemas.microsoft.com/office/drawing/2014/main" id="{FFC12229-B60B-4999-9442-828D3E6F302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83;p48">
                <a:extLst>
                  <a:ext uri="{FF2B5EF4-FFF2-40B4-BE49-F238E27FC236}">
                    <a16:creationId xmlns:a16="http://schemas.microsoft.com/office/drawing/2014/main" id="{182AE3CD-83E8-496F-94AF-BEDB21918D8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4" name="Google Shape;684;p48">
                <a:extLst>
                  <a:ext uri="{FF2B5EF4-FFF2-40B4-BE49-F238E27FC236}">
                    <a16:creationId xmlns:a16="http://schemas.microsoft.com/office/drawing/2014/main" id="{A6447216-2346-4AD6-894E-C8BA8DFC25BC}"/>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5;p48">
                <a:extLst>
                  <a:ext uri="{FF2B5EF4-FFF2-40B4-BE49-F238E27FC236}">
                    <a16:creationId xmlns:a16="http://schemas.microsoft.com/office/drawing/2014/main" id="{EDC6EDFC-3CFA-47EF-94C0-F0E54058752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6;p48">
                <a:extLst>
                  <a:ext uri="{FF2B5EF4-FFF2-40B4-BE49-F238E27FC236}">
                    <a16:creationId xmlns:a16="http://schemas.microsoft.com/office/drawing/2014/main" id="{56BC013D-B0E4-4640-844F-02EC2DD72A4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7;p48">
                <a:extLst>
                  <a:ext uri="{FF2B5EF4-FFF2-40B4-BE49-F238E27FC236}">
                    <a16:creationId xmlns:a16="http://schemas.microsoft.com/office/drawing/2014/main" id="{08E447EB-1219-4207-8036-BDBCAA39625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3" name="Google Shape;2103;p69">
            <a:extLst>
              <a:ext uri="{FF2B5EF4-FFF2-40B4-BE49-F238E27FC236}">
                <a16:creationId xmlns:a16="http://schemas.microsoft.com/office/drawing/2014/main" id="{DCA55E48-DEB4-40A4-BA9E-47D007E9E7E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4;p69">
            <a:extLst>
              <a:ext uri="{FF2B5EF4-FFF2-40B4-BE49-F238E27FC236}">
                <a16:creationId xmlns:a16="http://schemas.microsoft.com/office/drawing/2014/main" id="{FB397BA1-29DF-47ED-923F-E3C72FF7B4C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5;p69">
            <a:extLst>
              <a:ext uri="{FF2B5EF4-FFF2-40B4-BE49-F238E27FC236}">
                <a16:creationId xmlns:a16="http://schemas.microsoft.com/office/drawing/2014/main" id="{D9AC62FC-F371-44F0-8E96-C187F0963DDE}"/>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6;p69">
            <a:extLst>
              <a:ext uri="{FF2B5EF4-FFF2-40B4-BE49-F238E27FC236}">
                <a16:creationId xmlns:a16="http://schemas.microsoft.com/office/drawing/2014/main" id="{351C4A5A-AD7C-4ED3-A251-3352FC47DF85}"/>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7;p69">
            <a:extLst>
              <a:ext uri="{FF2B5EF4-FFF2-40B4-BE49-F238E27FC236}">
                <a16:creationId xmlns:a16="http://schemas.microsoft.com/office/drawing/2014/main" id="{ABC977F3-2F9B-4149-9754-DD9D90C6DF9A}"/>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39;p69">
            <a:extLst>
              <a:ext uri="{FF2B5EF4-FFF2-40B4-BE49-F238E27FC236}">
                <a16:creationId xmlns:a16="http://schemas.microsoft.com/office/drawing/2014/main" id="{4F2C91DE-6F06-4CBF-9072-DE8BDE4C689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5" name="Group 74">
            <a:extLst>
              <a:ext uri="{FF2B5EF4-FFF2-40B4-BE49-F238E27FC236}">
                <a16:creationId xmlns:a16="http://schemas.microsoft.com/office/drawing/2014/main" id="{CBA75EFD-9F2C-4DDC-8399-096F4098F83D}"/>
              </a:ext>
            </a:extLst>
          </p:cNvPr>
          <p:cNvGrpSpPr/>
          <p:nvPr/>
        </p:nvGrpSpPr>
        <p:grpSpPr>
          <a:xfrm rot="19506448">
            <a:off x="8543352" y="101584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6" name="Group 75">
              <a:extLst>
                <a:ext uri="{FF2B5EF4-FFF2-40B4-BE49-F238E27FC236}">
                  <a16:creationId xmlns:a16="http://schemas.microsoft.com/office/drawing/2014/main" id="{FFB98457-3811-4583-A9B2-0AB463510202}"/>
                </a:ext>
              </a:extLst>
            </p:cNvPr>
            <p:cNvGrpSpPr/>
            <p:nvPr/>
          </p:nvGrpSpPr>
          <p:grpSpPr>
            <a:xfrm>
              <a:off x="5241585" y="4198069"/>
              <a:ext cx="411449" cy="357382"/>
              <a:chOff x="5241585" y="4198069"/>
              <a:chExt cx="411449" cy="357382"/>
            </a:xfrm>
          </p:grpSpPr>
          <p:sp>
            <p:nvSpPr>
              <p:cNvPr id="78" name="Google Shape;658;p48">
                <a:extLst>
                  <a:ext uri="{FF2B5EF4-FFF2-40B4-BE49-F238E27FC236}">
                    <a16:creationId xmlns:a16="http://schemas.microsoft.com/office/drawing/2014/main" id="{99B76786-D247-4E18-8904-3239A3F2459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659;p48">
                <a:extLst>
                  <a:ext uri="{FF2B5EF4-FFF2-40B4-BE49-F238E27FC236}">
                    <a16:creationId xmlns:a16="http://schemas.microsoft.com/office/drawing/2014/main" id="{BC45A078-D8F3-4216-8461-F74B118401A6}"/>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0" name="Google Shape;660;p48">
                <a:extLst>
                  <a:ext uri="{FF2B5EF4-FFF2-40B4-BE49-F238E27FC236}">
                    <a16:creationId xmlns:a16="http://schemas.microsoft.com/office/drawing/2014/main" id="{0A702995-1A62-4838-9E00-989875BF4D73}"/>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7" name="Google Shape;661;p48">
              <a:extLst>
                <a:ext uri="{FF2B5EF4-FFF2-40B4-BE49-F238E27FC236}">
                  <a16:creationId xmlns:a16="http://schemas.microsoft.com/office/drawing/2014/main" id="{96B8F370-673E-4C8E-AAC1-6EC09979DF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0181283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Google Shape;890;p53">
            <a:extLst>
              <a:ext uri="{FF2B5EF4-FFF2-40B4-BE49-F238E27FC236}">
                <a16:creationId xmlns:a16="http://schemas.microsoft.com/office/drawing/2014/main" id="{C6C3116B-1BD9-49C4-A1DB-5E4D44D76067}"/>
              </a:ext>
            </a:extLst>
          </p:cNvPr>
          <p:cNvSpPr txBox="1">
            <a:spLocks/>
          </p:cNvSpPr>
          <p:nvPr/>
        </p:nvSpPr>
        <p:spPr>
          <a:xfrm>
            <a:off x="1927300" y="148557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1</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340" name="Google Shape;888;p53">
            <a:extLst>
              <a:ext uri="{FF2B5EF4-FFF2-40B4-BE49-F238E27FC236}">
                <a16:creationId xmlns:a16="http://schemas.microsoft.com/office/drawing/2014/main" id="{EE62F21A-F9B4-4747-AFED-814B0A84EDED}"/>
              </a:ext>
            </a:extLst>
          </p:cNvPr>
          <p:cNvSpPr txBox="1">
            <a:spLocks/>
          </p:cNvSpPr>
          <p:nvPr/>
        </p:nvSpPr>
        <p:spPr>
          <a:xfrm>
            <a:off x="1845600" y="2854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3500" b="0" i="0" u="none" strike="noStrike" kern="0" cap="none" spc="0" normalizeH="0" baseline="0" noProof="0" dirty="0">
                <a:ln>
                  <a:noFill/>
                </a:ln>
                <a:solidFill>
                  <a:srgbClr val="F7743C"/>
                </a:solidFill>
                <a:uLnTx/>
                <a:uFillTx/>
                <a:latin typeface="Saira SemiCondensed ExtraBold"/>
                <a:sym typeface="Saira SemiCondensed ExtraBold"/>
              </a:rPr>
              <a:t>About the project</a:t>
            </a:r>
          </a:p>
        </p:txBody>
      </p:sp>
      <p:cxnSp>
        <p:nvCxnSpPr>
          <p:cNvPr id="341" name="Google Shape;1186;p53">
            <a:extLst>
              <a:ext uri="{FF2B5EF4-FFF2-40B4-BE49-F238E27FC236}">
                <a16:creationId xmlns:a16="http://schemas.microsoft.com/office/drawing/2014/main" id="{0770EA63-AAD2-477B-80EB-C38F920C5A58}"/>
              </a:ext>
            </a:extLst>
          </p:cNvPr>
          <p:cNvCxnSpPr>
            <a:cxnSpLocks/>
          </p:cNvCxnSpPr>
          <p:nvPr/>
        </p:nvCxnSpPr>
        <p:spPr>
          <a:xfrm flipH="1">
            <a:off x="-218750" y="3716625"/>
            <a:ext cx="6098850" cy="0"/>
          </a:xfrm>
          <a:prstGeom prst="straightConnector1">
            <a:avLst/>
          </a:prstGeom>
          <a:noFill/>
          <a:ln w="19050" cap="flat" cmpd="sng">
            <a:solidFill>
              <a:schemeClr val="accent1"/>
            </a:solidFill>
            <a:prstDash val="solid"/>
            <a:round/>
            <a:headEnd type="none" w="med" len="med"/>
            <a:tailEnd type="none" w="med" len="med"/>
          </a:ln>
        </p:spPr>
      </p:cxnSp>
      <p:sp>
        <p:nvSpPr>
          <p:cNvPr id="342" name="Google Shape;1187;p53">
            <a:extLst>
              <a:ext uri="{FF2B5EF4-FFF2-40B4-BE49-F238E27FC236}">
                <a16:creationId xmlns:a16="http://schemas.microsoft.com/office/drawing/2014/main" id="{1656FF20-9139-4779-BEB5-36050D6B8729}"/>
              </a:ext>
            </a:extLst>
          </p:cNvPr>
          <p:cNvSpPr/>
          <p:nvPr/>
        </p:nvSpPr>
        <p:spPr>
          <a:xfrm rot="10800000" flipH="1">
            <a:off x="863183" y="1778807"/>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4" name="Google Shape;1189;p53">
            <a:extLst>
              <a:ext uri="{FF2B5EF4-FFF2-40B4-BE49-F238E27FC236}">
                <a16:creationId xmlns:a16="http://schemas.microsoft.com/office/drawing/2014/main" id="{C19E0291-9DD7-4CE3-8E10-EAAA674C6AF8}"/>
              </a:ext>
            </a:extLst>
          </p:cNvPr>
          <p:cNvGrpSpPr/>
          <p:nvPr/>
        </p:nvGrpSpPr>
        <p:grpSpPr>
          <a:xfrm>
            <a:off x="858359" y="3973299"/>
            <a:ext cx="1111238" cy="1033276"/>
            <a:chOff x="4818730" y="3307263"/>
            <a:chExt cx="1827512" cy="1699300"/>
          </a:xfrm>
        </p:grpSpPr>
        <p:sp>
          <p:nvSpPr>
            <p:cNvPr id="355" name="Google Shape;1190;p53">
              <a:extLst>
                <a:ext uri="{FF2B5EF4-FFF2-40B4-BE49-F238E27FC236}">
                  <a16:creationId xmlns:a16="http://schemas.microsoft.com/office/drawing/2014/main" id="{E0DFD8B2-61DF-4876-B8AC-8AAC0973C2F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1191;p53">
              <a:extLst>
                <a:ext uri="{FF2B5EF4-FFF2-40B4-BE49-F238E27FC236}">
                  <a16:creationId xmlns:a16="http://schemas.microsoft.com/office/drawing/2014/main" id="{30E2F605-DA2A-470F-BA63-59BB2DEF16C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1192;p53">
              <a:extLst>
                <a:ext uri="{FF2B5EF4-FFF2-40B4-BE49-F238E27FC236}">
                  <a16:creationId xmlns:a16="http://schemas.microsoft.com/office/drawing/2014/main" id="{1C9AABE9-EE61-4E03-AD4B-4976AF3698D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1193;p53">
              <a:extLst>
                <a:ext uri="{FF2B5EF4-FFF2-40B4-BE49-F238E27FC236}">
                  <a16:creationId xmlns:a16="http://schemas.microsoft.com/office/drawing/2014/main" id="{A38D675C-E4BF-4AAB-BE69-6125A0C42039}"/>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1194;p53">
              <a:extLst>
                <a:ext uri="{FF2B5EF4-FFF2-40B4-BE49-F238E27FC236}">
                  <a16:creationId xmlns:a16="http://schemas.microsoft.com/office/drawing/2014/main" id="{62A28D83-0485-4292-A63B-C998FCB54EC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1195;p53">
              <a:extLst>
                <a:ext uri="{FF2B5EF4-FFF2-40B4-BE49-F238E27FC236}">
                  <a16:creationId xmlns:a16="http://schemas.microsoft.com/office/drawing/2014/main" id="{FDA1DD02-FBEA-4FC0-BF43-BDE3C143D898}"/>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1196;p53">
              <a:extLst>
                <a:ext uri="{FF2B5EF4-FFF2-40B4-BE49-F238E27FC236}">
                  <a16:creationId xmlns:a16="http://schemas.microsoft.com/office/drawing/2014/main" id="{61EF76B4-C402-4391-9662-001703F2DF4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1197;p53">
              <a:extLst>
                <a:ext uri="{FF2B5EF4-FFF2-40B4-BE49-F238E27FC236}">
                  <a16:creationId xmlns:a16="http://schemas.microsoft.com/office/drawing/2014/main" id="{BA0CAD99-EE62-423A-A2D1-08BC6B072F81}"/>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1198;p53">
              <a:extLst>
                <a:ext uri="{FF2B5EF4-FFF2-40B4-BE49-F238E27FC236}">
                  <a16:creationId xmlns:a16="http://schemas.microsoft.com/office/drawing/2014/main" id="{9968258D-C06E-46B7-B080-430C7C8DE0CE}"/>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1199;p53">
              <a:extLst>
                <a:ext uri="{FF2B5EF4-FFF2-40B4-BE49-F238E27FC236}">
                  <a16:creationId xmlns:a16="http://schemas.microsoft.com/office/drawing/2014/main" id="{8C713E86-C035-4F85-BE3C-908177CEBD6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1200;p53">
              <a:extLst>
                <a:ext uri="{FF2B5EF4-FFF2-40B4-BE49-F238E27FC236}">
                  <a16:creationId xmlns:a16="http://schemas.microsoft.com/office/drawing/2014/main" id="{18C41CDE-0B9E-4A62-9C9E-D54CC9A69C58}"/>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1201;p53">
              <a:extLst>
                <a:ext uri="{FF2B5EF4-FFF2-40B4-BE49-F238E27FC236}">
                  <a16:creationId xmlns:a16="http://schemas.microsoft.com/office/drawing/2014/main" id="{BCFE7FDF-1E73-418C-9D5C-6A0164FD80F6}"/>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1202;p53">
              <a:extLst>
                <a:ext uri="{FF2B5EF4-FFF2-40B4-BE49-F238E27FC236}">
                  <a16:creationId xmlns:a16="http://schemas.microsoft.com/office/drawing/2014/main" id="{4A2B6FAE-18C6-4BCE-B93C-5610CDD9532E}"/>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1203;p53">
              <a:extLst>
                <a:ext uri="{FF2B5EF4-FFF2-40B4-BE49-F238E27FC236}">
                  <a16:creationId xmlns:a16="http://schemas.microsoft.com/office/drawing/2014/main" id="{2178714D-2E52-473F-BCCF-FA3013E30611}"/>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1204;p53">
              <a:extLst>
                <a:ext uri="{FF2B5EF4-FFF2-40B4-BE49-F238E27FC236}">
                  <a16:creationId xmlns:a16="http://schemas.microsoft.com/office/drawing/2014/main" id="{3CE530B5-F233-412E-A80B-4289635B548E}"/>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1205;p53">
              <a:extLst>
                <a:ext uri="{FF2B5EF4-FFF2-40B4-BE49-F238E27FC236}">
                  <a16:creationId xmlns:a16="http://schemas.microsoft.com/office/drawing/2014/main" id="{08A51620-85B4-41AA-B2CF-F88097D461DE}"/>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1206;p53">
              <a:extLst>
                <a:ext uri="{FF2B5EF4-FFF2-40B4-BE49-F238E27FC236}">
                  <a16:creationId xmlns:a16="http://schemas.microsoft.com/office/drawing/2014/main" id="{20A89574-FBDF-4DEB-8F9C-EF8DC0FD8F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1207;p53">
              <a:extLst>
                <a:ext uri="{FF2B5EF4-FFF2-40B4-BE49-F238E27FC236}">
                  <a16:creationId xmlns:a16="http://schemas.microsoft.com/office/drawing/2014/main" id="{60E84C9C-9CF5-4BE5-B770-74C47069E673}"/>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1208;p53">
              <a:extLst>
                <a:ext uri="{FF2B5EF4-FFF2-40B4-BE49-F238E27FC236}">
                  <a16:creationId xmlns:a16="http://schemas.microsoft.com/office/drawing/2014/main" id="{818CDA1C-B53A-45C6-BA87-B41E4448E8E3}"/>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1209;p53">
              <a:extLst>
                <a:ext uri="{FF2B5EF4-FFF2-40B4-BE49-F238E27FC236}">
                  <a16:creationId xmlns:a16="http://schemas.microsoft.com/office/drawing/2014/main" id="{38A6FC7D-E89E-4614-813A-D74D92A44E70}"/>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1210;p53">
              <a:extLst>
                <a:ext uri="{FF2B5EF4-FFF2-40B4-BE49-F238E27FC236}">
                  <a16:creationId xmlns:a16="http://schemas.microsoft.com/office/drawing/2014/main" id="{F9495E9F-FDE8-4871-A046-A3CE8D4B60B8}"/>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1211;p53">
              <a:extLst>
                <a:ext uri="{FF2B5EF4-FFF2-40B4-BE49-F238E27FC236}">
                  <a16:creationId xmlns:a16="http://schemas.microsoft.com/office/drawing/2014/main" id="{C8E9D92A-2DE3-43E1-80AC-F01CF3110B73}"/>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1212;p53">
              <a:extLst>
                <a:ext uri="{FF2B5EF4-FFF2-40B4-BE49-F238E27FC236}">
                  <a16:creationId xmlns:a16="http://schemas.microsoft.com/office/drawing/2014/main" id="{F7E71B1F-2C13-45E2-B117-3BE3BFC1B856}"/>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1213;p53">
              <a:extLst>
                <a:ext uri="{FF2B5EF4-FFF2-40B4-BE49-F238E27FC236}">
                  <a16:creationId xmlns:a16="http://schemas.microsoft.com/office/drawing/2014/main" id="{FF570CED-460C-4060-8C36-83ED2E98A62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1214;p53">
              <a:extLst>
                <a:ext uri="{FF2B5EF4-FFF2-40B4-BE49-F238E27FC236}">
                  <a16:creationId xmlns:a16="http://schemas.microsoft.com/office/drawing/2014/main" id="{EDCC82C9-1DDE-419E-A0FC-E4A16A68475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5" name="Google Shape;1215;p53">
            <a:extLst>
              <a:ext uri="{FF2B5EF4-FFF2-40B4-BE49-F238E27FC236}">
                <a16:creationId xmlns:a16="http://schemas.microsoft.com/office/drawing/2014/main" id="{CB05E098-EA0B-4491-8982-1BA4CFA2B9C4}"/>
              </a:ext>
            </a:extLst>
          </p:cNvPr>
          <p:cNvSpPr/>
          <p:nvPr/>
        </p:nvSpPr>
        <p:spPr>
          <a:xfrm>
            <a:off x="3102501" y="5273743"/>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1216;p53">
            <a:extLst>
              <a:ext uri="{FF2B5EF4-FFF2-40B4-BE49-F238E27FC236}">
                <a16:creationId xmlns:a16="http://schemas.microsoft.com/office/drawing/2014/main" id="{2A8D3E67-7FAE-4F46-9FC8-636C779F77F5}"/>
              </a:ext>
            </a:extLst>
          </p:cNvPr>
          <p:cNvSpPr/>
          <p:nvPr/>
        </p:nvSpPr>
        <p:spPr>
          <a:xfrm>
            <a:off x="3163009" y="818263"/>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1217;p53">
            <a:extLst>
              <a:ext uri="{FF2B5EF4-FFF2-40B4-BE49-F238E27FC236}">
                <a16:creationId xmlns:a16="http://schemas.microsoft.com/office/drawing/2014/main" id="{53541A03-0CE6-429C-BA8F-24B334A371A7}"/>
              </a:ext>
            </a:extLst>
          </p:cNvPr>
          <p:cNvSpPr/>
          <p:nvPr/>
        </p:nvSpPr>
        <p:spPr>
          <a:xfrm>
            <a:off x="10595191" y="905070"/>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8" name="Google Shape;1218;p53">
            <a:extLst>
              <a:ext uri="{FF2B5EF4-FFF2-40B4-BE49-F238E27FC236}">
                <a16:creationId xmlns:a16="http://schemas.microsoft.com/office/drawing/2014/main" id="{D061E24B-5EF6-4734-B357-F571FEBCB7F6}"/>
              </a:ext>
            </a:extLst>
          </p:cNvPr>
          <p:cNvGrpSpPr/>
          <p:nvPr/>
        </p:nvGrpSpPr>
        <p:grpSpPr>
          <a:xfrm rot="14053952">
            <a:off x="5251637" y="5282781"/>
            <a:ext cx="213162" cy="846295"/>
            <a:chOff x="7004550" y="3676293"/>
            <a:chExt cx="161700" cy="641982"/>
          </a:xfrm>
        </p:grpSpPr>
        <p:sp>
          <p:nvSpPr>
            <p:cNvPr id="351" name="Google Shape;1219;p53">
              <a:extLst>
                <a:ext uri="{FF2B5EF4-FFF2-40B4-BE49-F238E27FC236}">
                  <a16:creationId xmlns:a16="http://schemas.microsoft.com/office/drawing/2014/main" id="{A79ECB03-3A78-4E45-808F-6A6968A21A22}"/>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1220;p53">
              <a:extLst>
                <a:ext uri="{FF2B5EF4-FFF2-40B4-BE49-F238E27FC236}">
                  <a16:creationId xmlns:a16="http://schemas.microsoft.com/office/drawing/2014/main" id="{E47CA958-5857-4BAF-954E-22C25E059FDF}"/>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1221;p53">
              <a:extLst>
                <a:ext uri="{FF2B5EF4-FFF2-40B4-BE49-F238E27FC236}">
                  <a16:creationId xmlns:a16="http://schemas.microsoft.com/office/drawing/2014/main" id="{14C76F69-90F6-495B-A6BF-772BAE2ECC14}"/>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1222;p53">
              <a:extLst>
                <a:ext uri="{FF2B5EF4-FFF2-40B4-BE49-F238E27FC236}">
                  <a16:creationId xmlns:a16="http://schemas.microsoft.com/office/drawing/2014/main" id="{1061D21C-376A-4E3A-95C2-4680DF165F0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9" name="Google Shape;1223;p53">
            <a:extLst>
              <a:ext uri="{FF2B5EF4-FFF2-40B4-BE49-F238E27FC236}">
                <a16:creationId xmlns:a16="http://schemas.microsoft.com/office/drawing/2014/main" id="{3CDB2536-7DA6-4E38-901B-5448B4EFA12E}"/>
              </a:ext>
            </a:extLst>
          </p:cNvPr>
          <p:cNvSpPr/>
          <p:nvPr/>
        </p:nvSpPr>
        <p:spPr>
          <a:xfrm>
            <a:off x="6166604" y="2134665"/>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1224;p53">
            <a:extLst>
              <a:ext uri="{FF2B5EF4-FFF2-40B4-BE49-F238E27FC236}">
                <a16:creationId xmlns:a16="http://schemas.microsoft.com/office/drawing/2014/main" id="{2C97D3E4-F559-4679-B2B5-0FF82D46625C}"/>
              </a:ext>
            </a:extLst>
          </p:cNvPr>
          <p:cNvSpPr/>
          <p:nvPr/>
        </p:nvSpPr>
        <p:spPr>
          <a:xfrm>
            <a:off x="11083701" y="4935612"/>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1187;p53">
            <a:extLst>
              <a:ext uri="{FF2B5EF4-FFF2-40B4-BE49-F238E27FC236}">
                <a16:creationId xmlns:a16="http://schemas.microsoft.com/office/drawing/2014/main" id="{3BC9A20B-A25E-4CDD-BA20-7EA31FFA33D9}"/>
              </a:ext>
            </a:extLst>
          </p:cNvPr>
          <p:cNvSpPr/>
          <p:nvPr/>
        </p:nvSpPr>
        <p:spPr>
          <a:xfrm rot="10800000" flipH="1">
            <a:off x="5862627" y="36459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11;p2">
            <a:extLst>
              <a:ext uri="{FF2B5EF4-FFF2-40B4-BE49-F238E27FC236}">
                <a16:creationId xmlns:a16="http://schemas.microsoft.com/office/drawing/2014/main" id="{73209BDA-FF76-446D-AEAF-3CD16457E14A}"/>
              </a:ext>
            </a:extLst>
          </p:cNvPr>
          <p:cNvSpPr/>
          <p:nvPr/>
        </p:nvSpPr>
        <p:spPr>
          <a:xfrm rot="1074665" flipH="1">
            <a:off x="5104928" y="-993910"/>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TextBox 388">
            <a:extLst>
              <a:ext uri="{FF2B5EF4-FFF2-40B4-BE49-F238E27FC236}">
                <a16:creationId xmlns:a16="http://schemas.microsoft.com/office/drawing/2014/main" id="{E4C207C3-1AAB-4401-A6E5-A4EE27960F46}"/>
              </a:ext>
            </a:extLst>
          </p:cNvPr>
          <p:cNvSpPr txBox="1"/>
          <p:nvPr/>
        </p:nvSpPr>
        <p:spPr>
          <a:xfrm>
            <a:off x="846342" y="-34732"/>
            <a:ext cx="7061200" cy="435184"/>
          </a:xfrm>
          <a:prstGeom prst="rect">
            <a:avLst/>
          </a:prstGeom>
          <a:noFill/>
        </p:spPr>
        <p:txBody>
          <a:bodyPr wrap="square">
            <a:spAutoFit/>
          </a:bodyPr>
          <a:lstStyle/>
          <a:p>
            <a:pPr marL="0" marR="0" lvl="0" indent="0" algn="l" defTabSz="914400" rtl="0" eaLnBrk="1" fontAlgn="auto" latinLnBrk="0" hangingPunct="1">
              <a:lnSpc>
                <a:spcPct val="120000"/>
              </a:lnSpc>
              <a:spcBef>
                <a:spcPts val="1000"/>
              </a:spcBef>
              <a:spcAft>
                <a:spcPts val="0"/>
              </a:spcAft>
              <a:buClrTx/>
              <a:buSzPct val="125000"/>
              <a:buFont typeface="Arial" panose="020B0604020202020204" pitchFamily="34" charset="0"/>
              <a:buNone/>
              <a:tabLst/>
              <a:defRPr/>
            </a:pPr>
            <a:r>
              <a:rPr kumimoji="0" lang="en-US" sz="2000" b="0" i="0" u="none" strike="noStrike" kern="1200" cap="all" spc="0" normalizeH="0" baseline="0" noProof="0" dirty="0">
                <a:ln>
                  <a:noFill/>
                </a:ln>
                <a:solidFill>
                  <a:srgbClr val="D8FC68"/>
                </a:solidFill>
                <a:effectLst>
                  <a:outerShdw blurRad="152400" dist="38100" dir="2700000" algn="tl">
                    <a:srgbClr val="000000">
                      <a:alpha val="36000"/>
                    </a:srgbClr>
                  </a:outerShdw>
                </a:effectLst>
                <a:uLnTx/>
                <a:uFillTx/>
                <a:latin typeface="Tw Cen MT" panose="020B0602020104020603"/>
                <a:ea typeface="+mn-ea"/>
                <a:cs typeface="+mn-cs"/>
              </a:rPr>
              <a:t>Gameplay Mechanics</a:t>
            </a:r>
          </a:p>
        </p:txBody>
      </p:sp>
      <p:grpSp>
        <p:nvGrpSpPr>
          <p:cNvPr id="390" name="Google Shape;891;p53">
            <a:extLst>
              <a:ext uri="{FF2B5EF4-FFF2-40B4-BE49-F238E27FC236}">
                <a16:creationId xmlns:a16="http://schemas.microsoft.com/office/drawing/2014/main" id="{FD9B3223-12B2-4154-B708-69A07053B1B2}"/>
              </a:ext>
            </a:extLst>
          </p:cNvPr>
          <p:cNvGrpSpPr/>
          <p:nvPr/>
        </p:nvGrpSpPr>
        <p:grpSpPr>
          <a:xfrm>
            <a:off x="7321846" y="2021770"/>
            <a:ext cx="3923167" cy="4082711"/>
            <a:chOff x="5032847" y="888966"/>
            <a:chExt cx="3537900" cy="3681776"/>
          </a:xfrm>
        </p:grpSpPr>
        <p:sp>
          <p:nvSpPr>
            <p:cNvPr id="391" name="Google Shape;892;p53">
              <a:extLst>
                <a:ext uri="{FF2B5EF4-FFF2-40B4-BE49-F238E27FC236}">
                  <a16:creationId xmlns:a16="http://schemas.microsoft.com/office/drawing/2014/main" id="{D7500257-4037-4E85-8AD1-73D4B449B503}"/>
                </a:ext>
              </a:extLst>
            </p:cNvPr>
            <p:cNvSpPr/>
            <p:nvPr/>
          </p:nvSpPr>
          <p:spPr>
            <a:xfrm>
              <a:off x="5032847" y="4047000"/>
              <a:ext cx="3537900" cy="52374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241454">
                <a:alpha val="458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893;p53">
              <a:extLst>
                <a:ext uri="{FF2B5EF4-FFF2-40B4-BE49-F238E27FC236}">
                  <a16:creationId xmlns:a16="http://schemas.microsoft.com/office/drawing/2014/main" id="{F1321B16-1D80-4FE7-B815-B59555EBCD17}"/>
                </a:ext>
              </a:extLst>
            </p:cNvPr>
            <p:cNvGrpSpPr/>
            <p:nvPr/>
          </p:nvGrpSpPr>
          <p:grpSpPr>
            <a:xfrm>
              <a:off x="5117540" y="888966"/>
              <a:ext cx="3368830" cy="3591052"/>
              <a:chOff x="5126869" y="785625"/>
              <a:chExt cx="3583481" cy="3819862"/>
            </a:xfrm>
          </p:grpSpPr>
          <p:sp>
            <p:nvSpPr>
              <p:cNvPr id="393" name="Google Shape;894;p53">
                <a:extLst>
                  <a:ext uri="{FF2B5EF4-FFF2-40B4-BE49-F238E27FC236}">
                    <a16:creationId xmlns:a16="http://schemas.microsoft.com/office/drawing/2014/main" id="{40B0D4ED-7C3F-4B61-8566-3BBA376AA570}"/>
                  </a:ext>
                </a:extLst>
              </p:cNvPr>
              <p:cNvSpPr/>
              <p:nvPr/>
            </p:nvSpPr>
            <p:spPr>
              <a:xfrm>
                <a:off x="6132477" y="3262844"/>
                <a:ext cx="824631" cy="198568"/>
              </a:xfrm>
              <a:custGeom>
                <a:avLst/>
                <a:gdLst/>
                <a:ahLst/>
                <a:cxnLst/>
                <a:rect l="l" t="t" r="r" b="b"/>
                <a:pathLst>
                  <a:path w="45142" h="10870" extrusionOk="0">
                    <a:moveTo>
                      <a:pt x="18375" y="1"/>
                    </a:moveTo>
                    <a:lnTo>
                      <a:pt x="0" y="2330"/>
                    </a:lnTo>
                    <a:lnTo>
                      <a:pt x="22552" y="10870"/>
                    </a:lnTo>
                    <a:lnTo>
                      <a:pt x="45141" y="7690"/>
                    </a:lnTo>
                    <a:lnTo>
                      <a:pt x="183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895;p53">
                <a:extLst>
                  <a:ext uri="{FF2B5EF4-FFF2-40B4-BE49-F238E27FC236}">
                    <a16:creationId xmlns:a16="http://schemas.microsoft.com/office/drawing/2014/main" id="{D1C4C272-C5B3-4D18-BEC1-8CFDD618A5F8}"/>
                  </a:ext>
                </a:extLst>
              </p:cNvPr>
              <p:cNvSpPr/>
              <p:nvPr/>
            </p:nvSpPr>
            <p:spPr>
              <a:xfrm>
                <a:off x="6544446" y="3403321"/>
                <a:ext cx="414015" cy="882722"/>
              </a:xfrm>
              <a:custGeom>
                <a:avLst/>
                <a:gdLst/>
                <a:ahLst/>
                <a:cxnLst/>
                <a:rect l="l" t="t" r="r" b="b"/>
                <a:pathLst>
                  <a:path w="22664" h="48322" extrusionOk="0">
                    <a:moveTo>
                      <a:pt x="22589" y="0"/>
                    </a:moveTo>
                    <a:lnTo>
                      <a:pt x="0" y="3180"/>
                    </a:lnTo>
                    <a:lnTo>
                      <a:pt x="74" y="48321"/>
                    </a:lnTo>
                    <a:lnTo>
                      <a:pt x="22663" y="43404"/>
                    </a:lnTo>
                    <a:lnTo>
                      <a:pt x="2258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896;p53">
                <a:extLst>
                  <a:ext uri="{FF2B5EF4-FFF2-40B4-BE49-F238E27FC236}">
                    <a16:creationId xmlns:a16="http://schemas.microsoft.com/office/drawing/2014/main" id="{A38A79D9-E1FE-4391-8CA4-1B730ED37BDD}"/>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897;p53">
                <a:extLst>
                  <a:ext uri="{FF2B5EF4-FFF2-40B4-BE49-F238E27FC236}">
                    <a16:creationId xmlns:a16="http://schemas.microsoft.com/office/drawing/2014/main" id="{21B890EF-3657-4F41-A7A7-3D22549D2F5A}"/>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898;p53">
                <a:extLst>
                  <a:ext uri="{FF2B5EF4-FFF2-40B4-BE49-F238E27FC236}">
                    <a16:creationId xmlns:a16="http://schemas.microsoft.com/office/drawing/2014/main" id="{F905DC22-03C7-4AAC-802C-85A243AEF4DB}"/>
                  </a:ext>
                </a:extLst>
              </p:cNvPr>
              <p:cNvSpPr/>
              <p:nvPr/>
            </p:nvSpPr>
            <p:spPr>
              <a:xfrm>
                <a:off x="6552556" y="3464773"/>
                <a:ext cx="391710" cy="191827"/>
              </a:xfrm>
              <a:custGeom>
                <a:avLst/>
                <a:gdLst/>
                <a:ahLst/>
                <a:cxnLst/>
                <a:rect l="l" t="t" r="r" b="b"/>
                <a:pathLst>
                  <a:path w="21443" h="10501" extrusionOk="0">
                    <a:moveTo>
                      <a:pt x="21443" y="1"/>
                    </a:moveTo>
                    <a:lnTo>
                      <a:pt x="11720" y="4179"/>
                    </a:lnTo>
                    <a:lnTo>
                      <a:pt x="0" y="1591"/>
                    </a:lnTo>
                    <a:lnTo>
                      <a:pt x="0" y="7580"/>
                    </a:lnTo>
                    <a:lnTo>
                      <a:pt x="12385" y="10501"/>
                    </a:lnTo>
                    <a:lnTo>
                      <a:pt x="21443" y="6027"/>
                    </a:lnTo>
                    <a:lnTo>
                      <a:pt x="2144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899;p53">
                <a:extLst>
                  <a:ext uri="{FF2B5EF4-FFF2-40B4-BE49-F238E27FC236}">
                    <a16:creationId xmlns:a16="http://schemas.microsoft.com/office/drawing/2014/main" id="{8E9E2E66-65FC-4C96-9041-A73504997E8B}"/>
                  </a:ext>
                </a:extLst>
              </p:cNvPr>
              <p:cNvSpPr/>
              <p:nvPr/>
            </p:nvSpPr>
            <p:spPr>
              <a:xfrm>
                <a:off x="6552556" y="3622147"/>
                <a:ext cx="392386" cy="191133"/>
              </a:xfrm>
              <a:custGeom>
                <a:avLst/>
                <a:gdLst/>
                <a:ahLst/>
                <a:cxnLst/>
                <a:rect l="l" t="t" r="r" b="b"/>
                <a:pathLst>
                  <a:path w="21480" h="10463" extrusionOk="0">
                    <a:moveTo>
                      <a:pt x="21480" y="0"/>
                    </a:moveTo>
                    <a:lnTo>
                      <a:pt x="11757" y="4141"/>
                    </a:lnTo>
                    <a:lnTo>
                      <a:pt x="0" y="1590"/>
                    </a:lnTo>
                    <a:lnTo>
                      <a:pt x="0" y="7542"/>
                    </a:lnTo>
                    <a:lnTo>
                      <a:pt x="12385" y="10463"/>
                    </a:lnTo>
                    <a:lnTo>
                      <a:pt x="21480" y="5989"/>
                    </a:lnTo>
                    <a:lnTo>
                      <a:pt x="2148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900;p53">
                <a:extLst>
                  <a:ext uri="{FF2B5EF4-FFF2-40B4-BE49-F238E27FC236}">
                    <a16:creationId xmlns:a16="http://schemas.microsoft.com/office/drawing/2014/main" id="{24501861-7C7D-4496-9232-709A92DF0C8D}"/>
                  </a:ext>
                </a:extLst>
              </p:cNvPr>
              <p:cNvSpPr/>
              <p:nvPr/>
            </p:nvSpPr>
            <p:spPr>
              <a:xfrm>
                <a:off x="6552556" y="3793679"/>
                <a:ext cx="392386" cy="191827"/>
              </a:xfrm>
              <a:custGeom>
                <a:avLst/>
                <a:gdLst/>
                <a:ahLst/>
                <a:cxnLst/>
                <a:rect l="l" t="t" r="r" b="b"/>
                <a:pathLst>
                  <a:path w="21480" h="10501" extrusionOk="0">
                    <a:moveTo>
                      <a:pt x="21480" y="1"/>
                    </a:moveTo>
                    <a:lnTo>
                      <a:pt x="11757" y="4141"/>
                    </a:lnTo>
                    <a:lnTo>
                      <a:pt x="0" y="1590"/>
                    </a:lnTo>
                    <a:lnTo>
                      <a:pt x="0" y="1590"/>
                    </a:lnTo>
                    <a:lnTo>
                      <a:pt x="37" y="7580"/>
                    </a:lnTo>
                    <a:lnTo>
                      <a:pt x="12422" y="10500"/>
                    </a:lnTo>
                    <a:lnTo>
                      <a:pt x="21480" y="5990"/>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901;p53">
                <a:extLst>
                  <a:ext uri="{FF2B5EF4-FFF2-40B4-BE49-F238E27FC236}">
                    <a16:creationId xmlns:a16="http://schemas.microsoft.com/office/drawing/2014/main" id="{13A5A2DE-0E2B-4FE0-A0D0-16601F2D0718}"/>
                  </a:ext>
                </a:extLst>
              </p:cNvPr>
              <p:cNvSpPr/>
              <p:nvPr/>
            </p:nvSpPr>
            <p:spPr>
              <a:xfrm>
                <a:off x="6553232" y="3969266"/>
                <a:ext cx="392386" cy="191827"/>
              </a:xfrm>
              <a:custGeom>
                <a:avLst/>
                <a:gdLst/>
                <a:ahLst/>
                <a:cxnLst/>
                <a:rect l="l" t="t" r="r" b="b"/>
                <a:pathLst>
                  <a:path w="21480" h="10501" extrusionOk="0">
                    <a:moveTo>
                      <a:pt x="21480" y="1"/>
                    </a:moveTo>
                    <a:lnTo>
                      <a:pt x="11720" y="4142"/>
                    </a:lnTo>
                    <a:lnTo>
                      <a:pt x="0" y="1591"/>
                    </a:lnTo>
                    <a:lnTo>
                      <a:pt x="0" y="7580"/>
                    </a:lnTo>
                    <a:lnTo>
                      <a:pt x="12385" y="10501"/>
                    </a:lnTo>
                    <a:lnTo>
                      <a:pt x="21480" y="6027"/>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902;p53">
                <a:extLst>
                  <a:ext uri="{FF2B5EF4-FFF2-40B4-BE49-F238E27FC236}">
                    <a16:creationId xmlns:a16="http://schemas.microsoft.com/office/drawing/2014/main" id="{E77ABC46-1EFC-4166-954B-891354CD8EF8}"/>
                  </a:ext>
                </a:extLst>
              </p:cNvPr>
              <p:cNvSpPr/>
              <p:nvPr/>
            </p:nvSpPr>
            <p:spPr>
              <a:xfrm>
                <a:off x="6577528" y="3603222"/>
                <a:ext cx="359322" cy="78368"/>
              </a:xfrm>
              <a:custGeom>
                <a:avLst/>
                <a:gdLst/>
                <a:ahLst/>
                <a:cxnLst/>
                <a:rect l="l" t="t" r="r" b="b"/>
                <a:pathLst>
                  <a:path w="19670" h="4290" fill="none" extrusionOk="0">
                    <a:moveTo>
                      <a:pt x="1" y="1849"/>
                    </a:moveTo>
                    <a:lnTo>
                      <a:pt x="10612" y="4289"/>
                    </a:lnTo>
                    <a:lnTo>
                      <a:pt x="19669"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903;p53">
                <a:extLst>
                  <a:ext uri="{FF2B5EF4-FFF2-40B4-BE49-F238E27FC236}">
                    <a16:creationId xmlns:a16="http://schemas.microsoft.com/office/drawing/2014/main" id="{4D5A48C4-2BEB-4159-A105-A97B7EC13B19}"/>
                  </a:ext>
                </a:extLst>
              </p:cNvPr>
              <p:cNvSpPr/>
              <p:nvPr/>
            </p:nvSpPr>
            <p:spPr>
              <a:xfrm>
                <a:off x="6584287" y="3768013"/>
                <a:ext cx="358646" cy="78368"/>
              </a:xfrm>
              <a:custGeom>
                <a:avLst/>
                <a:gdLst/>
                <a:ahLst/>
                <a:cxnLst/>
                <a:rect l="l" t="t" r="r" b="b"/>
                <a:pathLst>
                  <a:path w="19633" h="4290" fill="none" extrusionOk="0">
                    <a:moveTo>
                      <a:pt x="1" y="1849"/>
                    </a:moveTo>
                    <a:lnTo>
                      <a:pt x="10574" y="4289"/>
                    </a:lnTo>
                    <a:lnTo>
                      <a:pt x="19632"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904;p53">
                <a:extLst>
                  <a:ext uri="{FF2B5EF4-FFF2-40B4-BE49-F238E27FC236}">
                    <a16:creationId xmlns:a16="http://schemas.microsoft.com/office/drawing/2014/main" id="{98CCC099-8395-4EA4-95E2-CF2688AB4BC2}"/>
                  </a:ext>
                </a:extLst>
              </p:cNvPr>
              <p:cNvSpPr/>
              <p:nvPr/>
            </p:nvSpPr>
            <p:spPr>
              <a:xfrm>
                <a:off x="6578204" y="3939563"/>
                <a:ext cx="359322" cy="78349"/>
              </a:xfrm>
              <a:custGeom>
                <a:avLst/>
                <a:gdLst/>
                <a:ahLst/>
                <a:cxnLst/>
                <a:rect l="l" t="t" r="r" b="b"/>
                <a:pathLst>
                  <a:path w="19670" h="4289" fill="none" extrusionOk="0">
                    <a:moveTo>
                      <a:pt x="1" y="1886"/>
                    </a:moveTo>
                    <a:lnTo>
                      <a:pt x="10575" y="4289"/>
                    </a:lnTo>
                    <a:lnTo>
                      <a:pt x="19669" y="0"/>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905;p53">
                <a:extLst>
                  <a:ext uri="{FF2B5EF4-FFF2-40B4-BE49-F238E27FC236}">
                    <a16:creationId xmlns:a16="http://schemas.microsoft.com/office/drawing/2014/main" id="{333B364A-F209-44D4-B574-71A541531370}"/>
                  </a:ext>
                </a:extLst>
              </p:cNvPr>
              <p:cNvSpPr/>
              <p:nvPr/>
            </p:nvSpPr>
            <p:spPr>
              <a:xfrm>
                <a:off x="6740967" y="3464097"/>
                <a:ext cx="56757" cy="48117"/>
              </a:xfrm>
              <a:custGeom>
                <a:avLst/>
                <a:gdLst/>
                <a:ahLst/>
                <a:cxnLst/>
                <a:rect l="l" t="t" r="r" b="b"/>
                <a:pathLst>
                  <a:path w="3107" h="2634" extrusionOk="0">
                    <a:moveTo>
                      <a:pt x="1775" y="1"/>
                    </a:moveTo>
                    <a:cubicBezTo>
                      <a:pt x="592" y="1"/>
                      <a:pt x="1" y="1406"/>
                      <a:pt x="851" y="2256"/>
                    </a:cubicBezTo>
                    <a:cubicBezTo>
                      <a:pt x="1112" y="2517"/>
                      <a:pt x="1437" y="2633"/>
                      <a:pt x="1759" y="2633"/>
                    </a:cubicBezTo>
                    <a:cubicBezTo>
                      <a:pt x="2441" y="2633"/>
                      <a:pt x="3106" y="2110"/>
                      <a:pt x="3106" y="1332"/>
                    </a:cubicBezTo>
                    <a:cubicBezTo>
                      <a:pt x="3106" y="592"/>
                      <a:pt x="2515" y="1"/>
                      <a:pt x="177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906;p53">
                <a:extLst>
                  <a:ext uri="{FF2B5EF4-FFF2-40B4-BE49-F238E27FC236}">
                    <a16:creationId xmlns:a16="http://schemas.microsoft.com/office/drawing/2014/main" id="{1520E8B4-A5F8-43B6-9E89-18B32DEF91F9}"/>
                  </a:ext>
                </a:extLst>
              </p:cNvPr>
              <p:cNvSpPr/>
              <p:nvPr/>
            </p:nvSpPr>
            <p:spPr>
              <a:xfrm>
                <a:off x="6696395" y="3472208"/>
                <a:ext cx="24332" cy="20752"/>
              </a:xfrm>
              <a:custGeom>
                <a:avLst/>
                <a:gdLst/>
                <a:ahLst/>
                <a:cxnLst/>
                <a:rect l="l" t="t" r="r" b="b"/>
                <a:pathLst>
                  <a:path w="1332" h="1136" extrusionOk="0">
                    <a:moveTo>
                      <a:pt x="740" y="1"/>
                    </a:moveTo>
                    <a:cubicBezTo>
                      <a:pt x="223" y="1"/>
                      <a:pt x="1" y="592"/>
                      <a:pt x="334" y="962"/>
                    </a:cubicBezTo>
                    <a:cubicBezTo>
                      <a:pt x="454" y="1082"/>
                      <a:pt x="601" y="1136"/>
                      <a:pt x="746" y="1136"/>
                    </a:cubicBezTo>
                    <a:cubicBezTo>
                      <a:pt x="1046" y="1136"/>
                      <a:pt x="1332" y="904"/>
                      <a:pt x="1332" y="555"/>
                    </a:cubicBezTo>
                    <a:cubicBezTo>
                      <a:pt x="1295" y="259"/>
                      <a:pt x="1073" y="1"/>
                      <a:pt x="74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907;p53">
                <a:extLst>
                  <a:ext uri="{FF2B5EF4-FFF2-40B4-BE49-F238E27FC236}">
                    <a16:creationId xmlns:a16="http://schemas.microsoft.com/office/drawing/2014/main" id="{06BDE631-E222-4315-8AFA-286E69ED9273}"/>
                  </a:ext>
                </a:extLst>
              </p:cNvPr>
              <p:cNvSpPr/>
              <p:nvPr/>
            </p:nvSpPr>
            <p:spPr>
              <a:xfrm>
                <a:off x="6813234" y="3462745"/>
                <a:ext cx="22305" cy="19163"/>
              </a:xfrm>
              <a:custGeom>
                <a:avLst/>
                <a:gdLst/>
                <a:ahLst/>
                <a:cxnLst/>
                <a:rect l="l" t="t" r="r" b="b"/>
                <a:pathLst>
                  <a:path w="1221" h="1049" extrusionOk="0">
                    <a:moveTo>
                      <a:pt x="703" y="1"/>
                    </a:moveTo>
                    <a:cubicBezTo>
                      <a:pt x="223" y="1"/>
                      <a:pt x="1" y="592"/>
                      <a:pt x="333" y="888"/>
                    </a:cubicBezTo>
                    <a:cubicBezTo>
                      <a:pt x="444" y="999"/>
                      <a:pt x="580" y="1048"/>
                      <a:pt x="711" y="1048"/>
                    </a:cubicBezTo>
                    <a:cubicBezTo>
                      <a:pt x="974" y="1048"/>
                      <a:pt x="1221" y="851"/>
                      <a:pt x="1221" y="555"/>
                    </a:cubicBezTo>
                    <a:cubicBezTo>
                      <a:pt x="1221" y="260"/>
                      <a:pt x="999" y="1"/>
                      <a:pt x="70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908;p53">
                <a:extLst>
                  <a:ext uri="{FF2B5EF4-FFF2-40B4-BE49-F238E27FC236}">
                    <a16:creationId xmlns:a16="http://schemas.microsoft.com/office/drawing/2014/main" id="{BAB1A6E2-C26C-43AB-96B2-A2F2AD88E08F}"/>
                  </a:ext>
                </a:extLst>
              </p:cNvPr>
              <p:cNvSpPr/>
              <p:nvPr/>
            </p:nvSpPr>
            <p:spPr>
              <a:xfrm>
                <a:off x="6046035" y="3027138"/>
                <a:ext cx="91191" cy="1172445"/>
              </a:xfrm>
              <a:custGeom>
                <a:avLst/>
                <a:gdLst/>
                <a:ahLst/>
                <a:cxnLst/>
                <a:rect l="l" t="t" r="r" b="b"/>
                <a:pathLst>
                  <a:path w="4992" h="64182" extrusionOk="0">
                    <a:moveTo>
                      <a:pt x="370" y="1"/>
                    </a:moveTo>
                    <a:lnTo>
                      <a:pt x="0" y="61631"/>
                    </a:lnTo>
                    <a:cubicBezTo>
                      <a:pt x="0" y="61631"/>
                      <a:pt x="0" y="64182"/>
                      <a:pt x="2329" y="64182"/>
                    </a:cubicBezTo>
                    <a:cubicBezTo>
                      <a:pt x="3845" y="64182"/>
                      <a:pt x="4621" y="62296"/>
                      <a:pt x="4621" y="62296"/>
                    </a:cubicBezTo>
                    <a:lnTo>
                      <a:pt x="4991" y="1701"/>
                    </a:lnTo>
                    <a:lnTo>
                      <a:pt x="37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909;p53">
                <a:extLst>
                  <a:ext uri="{FF2B5EF4-FFF2-40B4-BE49-F238E27FC236}">
                    <a16:creationId xmlns:a16="http://schemas.microsoft.com/office/drawing/2014/main" id="{23B2EACC-7973-4958-8874-69DEF6C0B2C5}"/>
                  </a:ext>
                </a:extLst>
              </p:cNvPr>
              <p:cNvSpPr/>
              <p:nvPr/>
            </p:nvSpPr>
            <p:spPr>
              <a:xfrm>
                <a:off x="6591722" y="3228409"/>
                <a:ext cx="91191" cy="1172445"/>
              </a:xfrm>
              <a:custGeom>
                <a:avLst/>
                <a:gdLst/>
                <a:ahLst/>
                <a:cxnLst/>
                <a:rect l="l" t="t" r="r" b="b"/>
                <a:pathLst>
                  <a:path w="4992" h="64182" extrusionOk="0">
                    <a:moveTo>
                      <a:pt x="370" y="0"/>
                    </a:moveTo>
                    <a:lnTo>
                      <a:pt x="0" y="61630"/>
                    </a:lnTo>
                    <a:cubicBezTo>
                      <a:pt x="0" y="61630"/>
                      <a:pt x="0" y="64181"/>
                      <a:pt x="2329" y="64181"/>
                    </a:cubicBezTo>
                    <a:cubicBezTo>
                      <a:pt x="3845" y="64181"/>
                      <a:pt x="4622" y="62296"/>
                      <a:pt x="4622" y="62296"/>
                    </a:cubicBezTo>
                    <a:lnTo>
                      <a:pt x="4991" y="1701"/>
                    </a:lnTo>
                    <a:lnTo>
                      <a:pt x="37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910;p53">
                <a:extLst>
                  <a:ext uri="{FF2B5EF4-FFF2-40B4-BE49-F238E27FC236}">
                    <a16:creationId xmlns:a16="http://schemas.microsoft.com/office/drawing/2014/main" id="{03972AB7-25AB-4B49-AFDF-85CE889637AA}"/>
                  </a:ext>
                </a:extLst>
              </p:cNvPr>
              <p:cNvSpPr/>
              <p:nvPr/>
            </p:nvSpPr>
            <p:spPr>
              <a:xfrm>
                <a:off x="7842479" y="2709722"/>
                <a:ext cx="85802" cy="1131270"/>
              </a:xfrm>
              <a:custGeom>
                <a:avLst/>
                <a:gdLst/>
                <a:ahLst/>
                <a:cxnLst/>
                <a:rect l="l" t="t" r="r" b="b"/>
                <a:pathLst>
                  <a:path w="4697" h="61928" extrusionOk="0">
                    <a:moveTo>
                      <a:pt x="371" y="1"/>
                    </a:moveTo>
                    <a:lnTo>
                      <a:pt x="38" y="59486"/>
                    </a:lnTo>
                    <a:cubicBezTo>
                      <a:pt x="38" y="59486"/>
                      <a:pt x="1" y="61927"/>
                      <a:pt x="2182" y="61927"/>
                    </a:cubicBezTo>
                    <a:cubicBezTo>
                      <a:pt x="2196" y="61927"/>
                      <a:pt x="2211" y="61927"/>
                      <a:pt x="2225" y="61927"/>
                    </a:cubicBezTo>
                    <a:cubicBezTo>
                      <a:pt x="3639" y="61927"/>
                      <a:pt x="4363" y="60115"/>
                      <a:pt x="4363" y="60115"/>
                    </a:cubicBezTo>
                    <a:lnTo>
                      <a:pt x="4696" y="1627"/>
                    </a:lnTo>
                    <a:lnTo>
                      <a:pt x="371"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911;p53">
                <a:extLst>
                  <a:ext uri="{FF2B5EF4-FFF2-40B4-BE49-F238E27FC236}">
                    <a16:creationId xmlns:a16="http://schemas.microsoft.com/office/drawing/2014/main" id="{B17A3278-B091-4A44-A935-540C40E55857}"/>
                  </a:ext>
                </a:extLst>
              </p:cNvPr>
              <p:cNvSpPr/>
              <p:nvPr/>
            </p:nvSpPr>
            <p:spPr>
              <a:xfrm>
                <a:off x="6007527" y="2709722"/>
                <a:ext cx="2563022" cy="506540"/>
              </a:xfrm>
              <a:custGeom>
                <a:avLst/>
                <a:gdLst/>
                <a:ahLst/>
                <a:cxnLst/>
                <a:rect l="l" t="t" r="r" b="b"/>
                <a:pathLst>
                  <a:path w="140305" h="27729" extrusionOk="0">
                    <a:moveTo>
                      <a:pt x="102335" y="1"/>
                    </a:moveTo>
                    <a:lnTo>
                      <a:pt x="1" y="14937"/>
                    </a:lnTo>
                    <a:lnTo>
                      <a:pt x="34679" y="27729"/>
                    </a:lnTo>
                    <a:lnTo>
                      <a:pt x="140304" y="6101"/>
                    </a:lnTo>
                    <a:lnTo>
                      <a:pt x="102335"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912;p53">
                <a:extLst>
                  <a:ext uri="{FF2B5EF4-FFF2-40B4-BE49-F238E27FC236}">
                    <a16:creationId xmlns:a16="http://schemas.microsoft.com/office/drawing/2014/main" id="{EBDDB5C5-441A-4CA8-A5FB-42C6D4E22554}"/>
                  </a:ext>
                </a:extLst>
              </p:cNvPr>
              <p:cNvSpPr/>
              <p:nvPr/>
            </p:nvSpPr>
            <p:spPr>
              <a:xfrm>
                <a:off x="6006176" y="2982565"/>
                <a:ext cx="634869" cy="330276"/>
              </a:xfrm>
              <a:custGeom>
                <a:avLst/>
                <a:gdLst/>
                <a:ahLst/>
                <a:cxnLst/>
                <a:rect l="l" t="t" r="r" b="b"/>
                <a:pathLst>
                  <a:path w="34754" h="18080" extrusionOk="0">
                    <a:moveTo>
                      <a:pt x="75" y="1"/>
                    </a:moveTo>
                    <a:lnTo>
                      <a:pt x="1" y="3328"/>
                    </a:lnTo>
                    <a:lnTo>
                      <a:pt x="34642" y="18079"/>
                    </a:lnTo>
                    <a:lnTo>
                      <a:pt x="34753" y="12793"/>
                    </a:lnTo>
                    <a:lnTo>
                      <a:pt x="7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913;p53">
                <a:extLst>
                  <a:ext uri="{FF2B5EF4-FFF2-40B4-BE49-F238E27FC236}">
                    <a16:creationId xmlns:a16="http://schemas.microsoft.com/office/drawing/2014/main" id="{29FEF31A-7F1B-461D-8FC2-B57720136B01}"/>
                  </a:ext>
                </a:extLst>
              </p:cNvPr>
              <p:cNvSpPr/>
              <p:nvPr/>
            </p:nvSpPr>
            <p:spPr>
              <a:xfrm>
                <a:off x="6638998" y="2821154"/>
                <a:ext cx="1931551" cy="491688"/>
              </a:xfrm>
              <a:custGeom>
                <a:avLst/>
                <a:gdLst/>
                <a:ahLst/>
                <a:cxnLst/>
                <a:rect l="l" t="t" r="r" b="b"/>
                <a:pathLst>
                  <a:path w="105737" h="26916" extrusionOk="0">
                    <a:moveTo>
                      <a:pt x="105736" y="1"/>
                    </a:moveTo>
                    <a:lnTo>
                      <a:pt x="111" y="21629"/>
                    </a:lnTo>
                    <a:lnTo>
                      <a:pt x="0" y="26915"/>
                    </a:lnTo>
                    <a:lnTo>
                      <a:pt x="105699" y="3883"/>
                    </a:lnTo>
                    <a:lnTo>
                      <a:pt x="1057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914;p53">
                <a:extLst>
                  <a:ext uri="{FF2B5EF4-FFF2-40B4-BE49-F238E27FC236}">
                    <a16:creationId xmlns:a16="http://schemas.microsoft.com/office/drawing/2014/main" id="{99C7DE3D-270D-4F7A-BCEC-04F09A57B55A}"/>
                  </a:ext>
                </a:extLst>
              </p:cNvPr>
              <p:cNvSpPr/>
              <p:nvPr/>
            </p:nvSpPr>
            <p:spPr>
              <a:xfrm>
                <a:off x="6007527" y="2982565"/>
                <a:ext cx="633517" cy="269500"/>
              </a:xfrm>
              <a:custGeom>
                <a:avLst/>
                <a:gdLst/>
                <a:ahLst/>
                <a:cxnLst/>
                <a:rect l="l" t="t" r="r" b="b"/>
                <a:pathLst>
                  <a:path w="34680" h="14753" extrusionOk="0">
                    <a:moveTo>
                      <a:pt x="1" y="1"/>
                    </a:moveTo>
                    <a:lnTo>
                      <a:pt x="1" y="851"/>
                    </a:lnTo>
                    <a:lnTo>
                      <a:pt x="34642" y="14752"/>
                    </a:lnTo>
                    <a:lnTo>
                      <a:pt x="34679" y="1279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915;p53">
                <a:extLst>
                  <a:ext uri="{FF2B5EF4-FFF2-40B4-BE49-F238E27FC236}">
                    <a16:creationId xmlns:a16="http://schemas.microsoft.com/office/drawing/2014/main" id="{3FBEB31C-6AA9-4379-9630-EC640385C881}"/>
                  </a:ext>
                </a:extLst>
              </p:cNvPr>
              <p:cNvSpPr/>
              <p:nvPr/>
            </p:nvSpPr>
            <p:spPr>
              <a:xfrm>
                <a:off x="6640350" y="2821154"/>
                <a:ext cx="1930199" cy="430912"/>
              </a:xfrm>
              <a:custGeom>
                <a:avLst/>
                <a:gdLst/>
                <a:ahLst/>
                <a:cxnLst/>
                <a:rect l="l" t="t" r="r" b="b"/>
                <a:pathLst>
                  <a:path w="105663" h="23589" extrusionOk="0">
                    <a:moveTo>
                      <a:pt x="105662" y="1"/>
                    </a:moveTo>
                    <a:lnTo>
                      <a:pt x="37" y="21629"/>
                    </a:lnTo>
                    <a:lnTo>
                      <a:pt x="0" y="23588"/>
                    </a:lnTo>
                    <a:lnTo>
                      <a:pt x="105662" y="925"/>
                    </a:lnTo>
                    <a:lnTo>
                      <a:pt x="10566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916;p53">
                <a:extLst>
                  <a:ext uri="{FF2B5EF4-FFF2-40B4-BE49-F238E27FC236}">
                    <a16:creationId xmlns:a16="http://schemas.microsoft.com/office/drawing/2014/main" id="{71B8115E-EC76-46CD-88F5-C8781187A079}"/>
                  </a:ext>
                </a:extLst>
              </p:cNvPr>
              <p:cNvSpPr/>
              <p:nvPr/>
            </p:nvSpPr>
            <p:spPr>
              <a:xfrm>
                <a:off x="6007527" y="2709722"/>
                <a:ext cx="2563697" cy="428190"/>
              </a:xfrm>
              <a:custGeom>
                <a:avLst/>
                <a:gdLst/>
                <a:ahLst/>
                <a:cxnLst/>
                <a:rect l="l" t="t" r="r" b="b"/>
                <a:pathLst>
                  <a:path w="140342" h="23440" extrusionOk="0">
                    <a:moveTo>
                      <a:pt x="102335" y="1"/>
                    </a:moveTo>
                    <a:lnTo>
                      <a:pt x="1" y="14937"/>
                    </a:lnTo>
                    <a:lnTo>
                      <a:pt x="23107" y="23440"/>
                    </a:lnTo>
                    <a:cubicBezTo>
                      <a:pt x="22959" y="23329"/>
                      <a:pt x="22812" y="23144"/>
                      <a:pt x="22701" y="22996"/>
                    </a:cubicBezTo>
                    <a:cubicBezTo>
                      <a:pt x="20224" y="19743"/>
                      <a:pt x="24143" y="17303"/>
                      <a:pt x="26878" y="16416"/>
                    </a:cubicBezTo>
                    <a:cubicBezTo>
                      <a:pt x="28764" y="15824"/>
                      <a:pt x="30686" y="15491"/>
                      <a:pt x="32609" y="15085"/>
                    </a:cubicBezTo>
                    <a:cubicBezTo>
                      <a:pt x="35862" y="14382"/>
                      <a:pt x="39153" y="13791"/>
                      <a:pt x="42443" y="13310"/>
                    </a:cubicBezTo>
                    <a:cubicBezTo>
                      <a:pt x="49726" y="12238"/>
                      <a:pt x="57083" y="11572"/>
                      <a:pt x="64367" y="10463"/>
                    </a:cubicBezTo>
                    <a:cubicBezTo>
                      <a:pt x="78933" y="8319"/>
                      <a:pt x="93056" y="3328"/>
                      <a:pt x="107918" y="3291"/>
                    </a:cubicBezTo>
                    <a:cubicBezTo>
                      <a:pt x="113981" y="3291"/>
                      <a:pt x="120007" y="4585"/>
                      <a:pt x="125516" y="7099"/>
                    </a:cubicBezTo>
                    <a:cubicBezTo>
                      <a:pt x="126514" y="7543"/>
                      <a:pt x="127512" y="8023"/>
                      <a:pt x="128511" y="8541"/>
                    </a:cubicBezTo>
                    <a:lnTo>
                      <a:pt x="140341" y="6101"/>
                    </a:lnTo>
                    <a:lnTo>
                      <a:pt x="102335"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917;p53">
                <a:extLst>
                  <a:ext uri="{FF2B5EF4-FFF2-40B4-BE49-F238E27FC236}">
                    <a16:creationId xmlns:a16="http://schemas.microsoft.com/office/drawing/2014/main" id="{73D1F861-E2CE-4AF9-AAFF-AF20190BE6ED}"/>
                  </a:ext>
                </a:extLst>
              </p:cNvPr>
              <p:cNvSpPr/>
              <p:nvPr/>
            </p:nvSpPr>
            <p:spPr>
              <a:xfrm>
                <a:off x="6582259" y="2738091"/>
                <a:ext cx="736838" cy="237076"/>
              </a:xfrm>
              <a:custGeom>
                <a:avLst/>
                <a:gdLst/>
                <a:ahLst/>
                <a:cxnLst/>
                <a:rect l="l" t="t" r="r" b="b"/>
                <a:pathLst>
                  <a:path w="40336" h="12978" extrusionOk="0">
                    <a:moveTo>
                      <a:pt x="31315" y="0"/>
                    </a:moveTo>
                    <a:lnTo>
                      <a:pt x="38" y="4363"/>
                    </a:lnTo>
                    <a:lnTo>
                      <a:pt x="1" y="12977"/>
                    </a:lnTo>
                    <a:lnTo>
                      <a:pt x="40336" y="6396"/>
                    </a:lnTo>
                    <a:lnTo>
                      <a:pt x="313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918;p53">
                <a:extLst>
                  <a:ext uri="{FF2B5EF4-FFF2-40B4-BE49-F238E27FC236}">
                    <a16:creationId xmlns:a16="http://schemas.microsoft.com/office/drawing/2014/main" id="{DFD324C3-1A93-4649-8136-73CD5D00688C}"/>
                  </a:ext>
                </a:extLst>
              </p:cNvPr>
              <p:cNvSpPr/>
              <p:nvPr/>
            </p:nvSpPr>
            <p:spPr>
              <a:xfrm>
                <a:off x="6582259" y="2940020"/>
                <a:ext cx="532881" cy="210734"/>
              </a:xfrm>
              <a:custGeom>
                <a:avLst/>
                <a:gdLst/>
                <a:ahLst/>
                <a:cxnLst/>
                <a:rect l="l" t="t" r="r" b="b"/>
                <a:pathLst>
                  <a:path w="29171" h="11536" extrusionOk="0">
                    <a:moveTo>
                      <a:pt x="11757" y="1"/>
                    </a:moveTo>
                    <a:lnTo>
                      <a:pt x="1" y="1664"/>
                    </a:lnTo>
                    <a:lnTo>
                      <a:pt x="14308" y="11535"/>
                    </a:lnTo>
                    <a:lnTo>
                      <a:pt x="29171" y="8430"/>
                    </a:lnTo>
                    <a:lnTo>
                      <a:pt x="11757"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919;p53">
                <a:extLst>
                  <a:ext uri="{FF2B5EF4-FFF2-40B4-BE49-F238E27FC236}">
                    <a16:creationId xmlns:a16="http://schemas.microsoft.com/office/drawing/2014/main" id="{EE016043-EF0F-4537-9BDE-64896ADBA6E8}"/>
                  </a:ext>
                </a:extLst>
              </p:cNvPr>
              <p:cNvSpPr/>
              <p:nvPr/>
            </p:nvSpPr>
            <p:spPr>
              <a:xfrm>
                <a:off x="6575519" y="2667853"/>
                <a:ext cx="1391253" cy="482901"/>
              </a:xfrm>
              <a:custGeom>
                <a:avLst/>
                <a:gdLst/>
                <a:ahLst/>
                <a:cxnLst/>
                <a:rect l="l" t="t" r="r" b="b"/>
                <a:pathLst>
                  <a:path w="76160" h="26435" extrusionOk="0">
                    <a:moveTo>
                      <a:pt x="59560" y="0"/>
                    </a:moveTo>
                    <a:lnTo>
                      <a:pt x="407" y="7727"/>
                    </a:lnTo>
                    <a:lnTo>
                      <a:pt x="0" y="9391"/>
                    </a:lnTo>
                    <a:lnTo>
                      <a:pt x="14677" y="26434"/>
                    </a:lnTo>
                    <a:lnTo>
                      <a:pt x="76123" y="13680"/>
                    </a:lnTo>
                    <a:lnTo>
                      <a:pt x="76160" y="12275"/>
                    </a:lnTo>
                    <a:lnTo>
                      <a:pt x="59560" y="0"/>
                    </a:lnTo>
                    <a:close/>
                  </a:path>
                </a:pathLst>
              </a:custGeom>
              <a:solidFill>
                <a:srgbClr val="3FC1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920;p53">
                <a:extLst>
                  <a:ext uri="{FF2B5EF4-FFF2-40B4-BE49-F238E27FC236}">
                    <a16:creationId xmlns:a16="http://schemas.microsoft.com/office/drawing/2014/main" id="{AED91FA1-5735-4193-AA23-30DB69E079EE}"/>
                  </a:ext>
                </a:extLst>
              </p:cNvPr>
              <p:cNvSpPr/>
              <p:nvPr/>
            </p:nvSpPr>
            <p:spPr>
              <a:xfrm>
                <a:off x="6582935" y="2652326"/>
                <a:ext cx="1383836" cy="467356"/>
              </a:xfrm>
              <a:custGeom>
                <a:avLst/>
                <a:gdLst/>
                <a:ahLst/>
                <a:cxnLst/>
                <a:rect l="l" t="t" r="r" b="b"/>
                <a:pathLst>
                  <a:path w="75754" h="25584" extrusionOk="0">
                    <a:moveTo>
                      <a:pt x="59708" y="0"/>
                    </a:moveTo>
                    <a:lnTo>
                      <a:pt x="1" y="8577"/>
                    </a:lnTo>
                    <a:lnTo>
                      <a:pt x="14715" y="25584"/>
                    </a:lnTo>
                    <a:lnTo>
                      <a:pt x="75754" y="13125"/>
                    </a:lnTo>
                    <a:lnTo>
                      <a:pt x="5970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921;p53">
                <a:extLst>
                  <a:ext uri="{FF2B5EF4-FFF2-40B4-BE49-F238E27FC236}">
                    <a16:creationId xmlns:a16="http://schemas.microsoft.com/office/drawing/2014/main" id="{9811ABCD-1E22-42A1-9462-156111C90E89}"/>
                  </a:ext>
                </a:extLst>
              </p:cNvPr>
              <p:cNvSpPr/>
              <p:nvPr/>
            </p:nvSpPr>
            <p:spPr>
              <a:xfrm>
                <a:off x="6646415" y="2816423"/>
                <a:ext cx="415366" cy="264093"/>
              </a:xfrm>
              <a:custGeom>
                <a:avLst/>
                <a:gdLst/>
                <a:ahLst/>
                <a:cxnLst/>
                <a:rect l="l" t="t" r="r" b="b"/>
                <a:pathLst>
                  <a:path w="22738" h="14457" fill="none" extrusionOk="0">
                    <a:moveTo>
                      <a:pt x="1" y="1"/>
                    </a:moveTo>
                    <a:lnTo>
                      <a:pt x="11758" y="13865"/>
                    </a:lnTo>
                    <a:lnTo>
                      <a:pt x="15455" y="14456"/>
                    </a:lnTo>
                    <a:lnTo>
                      <a:pt x="22738" y="1312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922;p53">
                <a:extLst>
                  <a:ext uri="{FF2B5EF4-FFF2-40B4-BE49-F238E27FC236}">
                    <a16:creationId xmlns:a16="http://schemas.microsoft.com/office/drawing/2014/main" id="{427BF932-C164-468B-9311-3F5B5C544D89}"/>
                  </a:ext>
                </a:extLst>
              </p:cNvPr>
              <p:cNvSpPr/>
              <p:nvPr/>
            </p:nvSpPr>
            <p:spPr>
              <a:xfrm>
                <a:off x="6705181" y="2802247"/>
                <a:ext cx="15546" cy="49322"/>
              </a:xfrm>
              <a:custGeom>
                <a:avLst/>
                <a:gdLst/>
                <a:ahLst/>
                <a:cxnLst/>
                <a:rect l="l" t="t" r="r" b="b"/>
                <a:pathLst>
                  <a:path w="851" h="2700" fill="none" extrusionOk="0">
                    <a:moveTo>
                      <a:pt x="851" y="1"/>
                    </a:moveTo>
                    <a:lnTo>
                      <a:pt x="0"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923;p53">
                <a:extLst>
                  <a:ext uri="{FF2B5EF4-FFF2-40B4-BE49-F238E27FC236}">
                    <a16:creationId xmlns:a16="http://schemas.microsoft.com/office/drawing/2014/main" id="{8ED0B4EA-09A1-44B2-A2D0-84A2C11DA206}"/>
                  </a:ext>
                </a:extLst>
              </p:cNvPr>
              <p:cNvSpPr/>
              <p:nvPr/>
            </p:nvSpPr>
            <p:spPr>
              <a:xfrm>
                <a:off x="6722736" y="2807654"/>
                <a:ext cx="15546" cy="49322"/>
              </a:xfrm>
              <a:custGeom>
                <a:avLst/>
                <a:gdLst/>
                <a:ahLst/>
                <a:cxnLst/>
                <a:rect l="l" t="t" r="r" b="b"/>
                <a:pathLst>
                  <a:path w="851" h="2700" fill="none" extrusionOk="0">
                    <a:moveTo>
                      <a:pt x="851" y="0"/>
                    </a:moveTo>
                    <a:lnTo>
                      <a:pt x="1"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924;p53">
                <a:extLst>
                  <a:ext uri="{FF2B5EF4-FFF2-40B4-BE49-F238E27FC236}">
                    <a16:creationId xmlns:a16="http://schemas.microsoft.com/office/drawing/2014/main" id="{9D4216D3-6039-44BB-BCA0-F06FDC6BC032}"/>
                  </a:ext>
                </a:extLst>
              </p:cNvPr>
              <p:cNvSpPr/>
              <p:nvPr/>
            </p:nvSpPr>
            <p:spPr>
              <a:xfrm>
                <a:off x="7825600" y="2836024"/>
                <a:ext cx="16222" cy="49304"/>
              </a:xfrm>
              <a:custGeom>
                <a:avLst/>
                <a:gdLst/>
                <a:ahLst/>
                <a:cxnLst/>
                <a:rect l="l" t="t" r="r" b="b"/>
                <a:pathLst>
                  <a:path w="888" h="2699" fill="none" extrusionOk="0">
                    <a:moveTo>
                      <a:pt x="888" y="0"/>
                    </a:moveTo>
                    <a:lnTo>
                      <a:pt x="1" y="269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925;p53">
                <a:extLst>
                  <a:ext uri="{FF2B5EF4-FFF2-40B4-BE49-F238E27FC236}">
                    <a16:creationId xmlns:a16="http://schemas.microsoft.com/office/drawing/2014/main" id="{1CA276DA-288B-4307-B271-CB5AE35C012F}"/>
                  </a:ext>
                </a:extLst>
              </p:cNvPr>
              <p:cNvSpPr/>
              <p:nvPr/>
            </p:nvSpPr>
            <p:spPr>
              <a:xfrm>
                <a:off x="7843155" y="2840737"/>
                <a:ext cx="16240" cy="49322"/>
              </a:xfrm>
              <a:custGeom>
                <a:avLst/>
                <a:gdLst/>
                <a:ahLst/>
                <a:cxnLst/>
                <a:rect l="l" t="t" r="r" b="b"/>
                <a:pathLst>
                  <a:path w="889" h="2700" fill="none" extrusionOk="0">
                    <a:moveTo>
                      <a:pt x="888" y="1"/>
                    </a:moveTo>
                    <a:lnTo>
                      <a:pt x="1" y="270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926;p53">
                <a:extLst>
                  <a:ext uri="{FF2B5EF4-FFF2-40B4-BE49-F238E27FC236}">
                    <a16:creationId xmlns:a16="http://schemas.microsoft.com/office/drawing/2014/main" id="{1519071E-A9D3-408D-A4F8-5BF515F9A74C}"/>
                  </a:ext>
                </a:extLst>
              </p:cNvPr>
              <p:cNvSpPr/>
              <p:nvPr/>
            </p:nvSpPr>
            <p:spPr>
              <a:xfrm>
                <a:off x="7598681" y="2673260"/>
                <a:ext cx="295824" cy="184392"/>
              </a:xfrm>
              <a:custGeom>
                <a:avLst/>
                <a:gdLst/>
                <a:ahLst/>
                <a:cxnLst/>
                <a:rect l="l" t="t" r="r" b="b"/>
                <a:pathLst>
                  <a:path w="16194" h="10094" fill="none" extrusionOk="0">
                    <a:moveTo>
                      <a:pt x="1" y="444"/>
                    </a:moveTo>
                    <a:lnTo>
                      <a:pt x="2404" y="0"/>
                    </a:lnTo>
                    <a:lnTo>
                      <a:pt x="4511" y="592"/>
                    </a:lnTo>
                    <a:lnTo>
                      <a:pt x="16194" y="1009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927;p53">
                <a:extLst>
                  <a:ext uri="{FF2B5EF4-FFF2-40B4-BE49-F238E27FC236}">
                    <a16:creationId xmlns:a16="http://schemas.microsoft.com/office/drawing/2014/main" id="{8690F51C-347A-405A-A945-9A19DC7AA133}"/>
                  </a:ext>
                </a:extLst>
              </p:cNvPr>
              <p:cNvSpPr/>
              <p:nvPr/>
            </p:nvSpPr>
            <p:spPr>
              <a:xfrm>
                <a:off x="7480491" y="2675288"/>
                <a:ext cx="148606" cy="76998"/>
              </a:xfrm>
              <a:custGeom>
                <a:avLst/>
                <a:gdLst/>
                <a:ahLst/>
                <a:cxnLst/>
                <a:rect l="l" t="t" r="r" b="b"/>
                <a:pathLst>
                  <a:path w="8135" h="4215" fill="none" extrusionOk="0">
                    <a:moveTo>
                      <a:pt x="925" y="0"/>
                    </a:moveTo>
                    <a:cubicBezTo>
                      <a:pt x="629" y="629"/>
                      <a:pt x="1" y="1220"/>
                      <a:pt x="1295" y="1553"/>
                    </a:cubicBezTo>
                    <a:cubicBezTo>
                      <a:pt x="2219" y="1775"/>
                      <a:pt x="3402" y="1553"/>
                      <a:pt x="4400" y="1553"/>
                    </a:cubicBezTo>
                    <a:cubicBezTo>
                      <a:pt x="5472" y="1516"/>
                      <a:pt x="5953" y="1812"/>
                      <a:pt x="6249" y="2477"/>
                    </a:cubicBezTo>
                    <a:cubicBezTo>
                      <a:pt x="6508" y="3032"/>
                      <a:pt x="6803" y="4215"/>
                      <a:pt x="8134" y="4030"/>
                    </a:cubicBez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928;p53">
                <a:extLst>
                  <a:ext uri="{FF2B5EF4-FFF2-40B4-BE49-F238E27FC236}">
                    <a16:creationId xmlns:a16="http://schemas.microsoft.com/office/drawing/2014/main" id="{690E2BF6-951A-4133-B312-AEAF0F3AD210}"/>
                  </a:ext>
                </a:extLst>
              </p:cNvPr>
              <p:cNvSpPr/>
              <p:nvPr/>
            </p:nvSpPr>
            <p:spPr>
              <a:xfrm>
                <a:off x="7576395" y="2734237"/>
                <a:ext cx="197892" cy="131983"/>
              </a:xfrm>
              <a:custGeom>
                <a:avLst/>
                <a:gdLst/>
                <a:ahLst/>
                <a:cxnLst/>
                <a:rect l="l" t="t" r="r" b="b"/>
                <a:pathLst>
                  <a:path w="10833" h="7225" extrusionOk="0">
                    <a:moveTo>
                      <a:pt x="4689" y="1"/>
                    </a:moveTo>
                    <a:cubicBezTo>
                      <a:pt x="3957" y="1"/>
                      <a:pt x="3291" y="272"/>
                      <a:pt x="2108" y="803"/>
                    </a:cubicBezTo>
                    <a:cubicBezTo>
                      <a:pt x="1" y="1764"/>
                      <a:pt x="814" y="3724"/>
                      <a:pt x="1442" y="4352"/>
                    </a:cubicBezTo>
                    <a:cubicBezTo>
                      <a:pt x="1602" y="4497"/>
                      <a:pt x="1636" y="4528"/>
                      <a:pt x="1686" y="4528"/>
                    </a:cubicBezTo>
                    <a:cubicBezTo>
                      <a:pt x="1724" y="4528"/>
                      <a:pt x="1770" y="4511"/>
                      <a:pt x="1886" y="4511"/>
                    </a:cubicBezTo>
                    <a:cubicBezTo>
                      <a:pt x="2008" y="4511"/>
                      <a:pt x="2206" y="4530"/>
                      <a:pt x="2551" y="4611"/>
                    </a:cubicBezTo>
                    <a:cubicBezTo>
                      <a:pt x="3661" y="4833"/>
                      <a:pt x="3845" y="5239"/>
                      <a:pt x="4622" y="6275"/>
                    </a:cubicBezTo>
                    <a:cubicBezTo>
                      <a:pt x="5091" y="6878"/>
                      <a:pt x="6047" y="7225"/>
                      <a:pt x="7114" y="7225"/>
                    </a:cubicBezTo>
                    <a:cubicBezTo>
                      <a:pt x="7812" y="7225"/>
                      <a:pt x="8556" y="7077"/>
                      <a:pt x="9243" y="6755"/>
                    </a:cubicBezTo>
                    <a:cubicBezTo>
                      <a:pt x="10500" y="6164"/>
                      <a:pt x="10833" y="4944"/>
                      <a:pt x="10833" y="3945"/>
                    </a:cubicBezTo>
                    <a:cubicBezTo>
                      <a:pt x="10796" y="2910"/>
                      <a:pt x="9428" y="1505"/>
                      <a:pt x="6914" y="544"/>
                    </a:cubicBezTo>
                    <a:cubicBezTo>
                      <a:pt x="5920" y="180"/>
                      <a:pt x="5283" y="1"/>
                      <a:pt x="468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929;p53">
                <a:extLst>
                  <a:ext uri="{FF2B5EF4-FFF2-40B4-BE49-F238E27FC236}">
                    <a16:creationId xmlns:a16="http://schemas.microsoft.com/office/drawing/2014/main" id="{1B344120-14E8-40CA-8A71-33EF60828B79}"/>
                  </a:ext>
                </a:extLst>
              </p:cNvPr>
              <p:cNvSpPr/>
              <p:nvPr/>
            </p:nvSpPr>
            <p:spPr>
              <a:xfrm>
                <a:off x="7614209" y="2736941"/>
                <a:ext cx="107413" cy="62694"/>
              </a:xfrm>
              <a:custGeom>
                <a:avLst/>
                <a:gdLst/>
                <a:ahLst/>
                <a:cxnLst/>
                <a:rect l="l" t="t" r="r" b="b"/>
                <a:pathLst>
                  <a:path w="5880" h="3432" extrusionOk="0">
                    <a:moveTo>
                      <a:pt x="1496" y="1"/>
                    </a:moveTo>
                    <a:cubicBezTo>
                      <a:pt x="1254" y="1"/>
                      <a:pt x="1008" y="59"/>
                      <a:pt x="777" y="174"/>
                    </a:cubicBezTo>
                    <a:cubicBezTo>
                      <a:pt x="629" y="211"/>
                      <a:pt x="1" y="544"/>
                      <a:pt x="38" y="618"/>
                    </a:cubicBezTo>
                    <a:cubicBezTo>
                      <a:pt x="518" y="1394"/>
                      <a:pt x="3254" y="3021"/>
                      <a:pt x="3254" y="3021"/>
                    </a:cubicBezTo>
                    <a:cubicBezTo>
                      <a:pt x="3654" y="3305"/>
                      <a:pt x="4095" y="3431"/>
                      <a:pt x="4499" y="3431"/>
                    </a:cubicBezTo>
                    <a:cubicBezTo>
                      <a:pt x="5253" y="3431"/>
                      <a:pt x="5879" y="2992"/>
                      <a:pt x="5879" y="2319"/>
                    </a:cubicBezTo>
                    <a:cubicBezTo>
                      <a:pt x="5879" y="1334"/>
                      <a:pt x="2429" y="63"/>
                      <a:pt x="1942" y="63"/>
                    </a:cubicBezTo>
                    <a:cubicBezTo>
                      <a:pt x="1935" y="63"/>
                      <a:pt x="1929" y="63"/>
                      <a:pt x="1923" y="63"/>
                    </a:cubicBezTo>
                    <a:cubicBezTo>
                      <a:pt x="1785" y="22"/>
                      <a:pt x="1641" y="1"/>
                      <a:pt x="14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930;p53">
                <a:extLst>
                  <a:ext uri="{FF2B5EF4-FFF2-40B4-BE49-F238E27FC236}">
                    <a16:creationId xmlns:a16="http://schemas.microsoft.com/office/drawing/2014/main" id="{0C46B415-5839-41D2-9AC5-0E218089272B}"/>
                  </a:ext>
                </a:extLst>
              </p:cNvPr>
              <p:cNvSpPr/>
              <p:nvPr/>
            </p:nvSpPr>
            <p:spPr>
              <a:xfrm>
                <a:off x="7591922" y="2772197"/>
                <a:ext cx="181013" cy="97603"/>
              </a:xfrm>
              <a:custGeom>
                <a:avLst/>
                <a:gdLst/>
                <a:ahLst/>
                <a:cxnLst/>
                <a:rect l="l" t="t" r="r" b="b"/>
                <a:pathLst>
                  <a:path w="9909" h="5343" extrusionOk="0">
                    <a:moveTo>
                      <a:pt x="812" y="1"/>
                    </a:moveTo>
                    <a:cubicBezTo>
                      <a:pt x="641" y="1"/>
                      <a:pt x="488" y="69"/>
                      <a:pt x="371" y="241"/>
                    </a:cubicBezTo>
                    <a:cubicBezTo>
                      <a:pt x="1" y="943"/>
                      <a:pt x="112" y="1793"/>
                      <a:pt x="666" y="2385"/>
                    </a:cubicBezTo>
                    <a:cubicBezTo>
                      <a:pt x="999" y="2718"/>
                      <a:pt x="1997" y="3013"/>
                      <a:pt x="2441" y="3272"/>
                    </a:cubicBezTo>
                    <a:cubicBezTo>
                      <a:pt x="3069" y="3605"/>
                      <a:pt x="3402" y="4307"/>
                      <a:pt x="4031" y="4714"/>
                    </a:cubicBezTo>
                    <a:cubicBezTo>
                      <a:pt x="4696" y="5121"/>
                      <a:pt x="5436" y="5306"/>
                      <a:pt x="6212" y="5343"/>
                    </a:cubicBezTo>
                    <a:cubicBezTo>
                      <a:pt x="7136" y="5343"/>
                      <a:pt x="9613" y="4751"/>
                      <a:pt x="9909" y="2755"/>
                    </a:cubicBezTo>
                    <a:lnTo>
                      <a:pt x="9909" y="2755"/>
                    </a:lnTo>
                    <a:cubicBezTo>
                      <a:pt x="9027" y="3931"/>
                      <a:pt x="8116" y="4327"/>
                      <a:pt x="7253" y="4327"/>
                    </a:cubicBezTo>
                    <a:cubicBezTo>
                      <a:pt x="7139" y="4327"/>
                      <a:pt x="7026" y="4320"/>
                      <a:pt x="6914" y="4307"/>
                    </a:cubicBezTo>
                    <a:cubicBezTo>
                      <a:pt x="4881" y="4123"/>
                      <a:pt x="3772" y="1978"/>
                      <a:pt x="2330" y="869"/>
                    </a:cubicBezTo>
                    <a:cubicBezTo>
                      <a:pt x="2023" y="646"/>
                      <a:pt x="1336" y="1"/>
                      <a:pt x="8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931;p53">
                <a:extLst>
                  <a:ext uri="{FF2B5EF4-FFF2-40B4-BE49-F238E27FC236}">
                    <a16:creationId xmlns:a16="http://schemas.microsoft.com/office/drawing/2014/main" id="{95B0F0DF-A137-4434-BBEE-084A431D61C0}"/>
                  </a:ext>
                </a:extLst>
              </p:cNvPr>
              <p:cNvSpPr/>
              <p:nvPr/>
            </p:nvSpPr>
            <p:spPr>
              <a:xfrm>
                <a:off x="7635143" y="2741380"/>
                <a:ext cx="39878" cy="20624"/>
              </a:xfrm>
              <a:custGeom>
                <a:avLst/>
                <a:gdLst/>
                <a:ahLst/>
                <a:cxnLst/>
                <a:rect l="l" t="t" r="r" b="b"/>
                <a:pathLst>
                  <a:path w="2183" h="1129" extrusionOk="0">
                    <a:moveTo>
                      <a:pt x="453" y="0"/>
                    </a:moveTo>
                    <a:cubicBezTo>
                      <a:pt x="229" y="0"/>
                      <a:pt x="68" y="172"/>
                      <a:pt x="1" y="375"/>
                    </a:cubicBezTo>
                    <a:cubicBezTo>
                      <a:pt x="519" y="671"/>
                      <a:pt x="999" y="929"/>
                      <a:pt x="1554" y="1114"/>
                    </a:cubicBezTo>
                    <a:cubicBezTo>
                      <a:pt x="1652" y="1114"/>
                      <a:pt x="1729" y="1129"/>
                      <a:pt x="1797" y="1129"/>
                    </a:cubicBezTo>
                    <a:cubicBezTo>
                      <a:pt x="1881" y="1129"/>
                      <a:pt x="1952" y="1106"/>
                      <a:pt x="2034" y="1003"/>
                    </a:cubicBezTo>
                    <a:cubicBezTo>
                      <a:pt x="2182" y="856"/>
                      <a:pt x="2034" y="671"/>
                      <a:pt x="1739" y="449"/>
                    </a:cubicBezTo>
                    <a:cubicBezTo>
                      <a:pt x="1406" y="190"/>
                      <a:pt x="962" y="5"/>
                      <a:pt x="519" y="5"/>
                    </a:cubicBezTo>
                    <a:cubicBezTo>
                      <a:pt x="496" y="2"/>
                      <a:pt x="474" y="0"/>
                      <a:pt x="45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932;p53">
                <a:extLst>
                  <a:ext uri="{FF2B5EF4-FFF2-40B4-BE49-F238E27FC236}">
                    <a16:creationId xmlns:a16="http://schemas.microsoft.com/office/drawing/2014/main" id="{5455E6CF-42F8-4C13-8756-7E9357B96871}"/>
                  </a:ext>
                </a:extLst>
              </p:cNvPr>
              <p:cNvSpPr/>
              <p:nvPr/>
            </p:nvSpPr>
            <p:spPr>
              <a:xfrm>
                <a:off x="7385262" y="2794136"/>
                <a:ext cx="54729" cy="29739"/>
              </a:xfrm>
              <a:custGeom>
                <a:avLst/>
                <a:gdLst/>
                <a:ahLst/>
                <a:cxnLst/>
                <a:rect l="l" t="t" r="r" b="b"/>
                <a:pathLst>
                  <a:path w="2996" h="1628" extrusionOk="0">
                    <a:moveTo>
                      <a:pt x="1812" y="1"/>
                    </a:moveTo>
                    <a:lnTo>
                      <a:pt x="1" y="297"/>
                    </a:lnTo>
                    <a:lnTo>
                      <a:pt x="1221" y="1628"/>
                    </a:lnTo>
                    <a:lnTo>
                      <a:pt x="2995" y="1295"/>
                    </a:lnTo>
                    <a:lnTo>
                      <a:pt x="181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933;p53">
                <a:extLst>
                  <a:ext uri="{FF2B5EF4-FFF2-40B4-BE49-F238E27FC236}">
                    <a16:creationId xmlns:a16="http://schemas.microsoft.com/office/drawing/2014/main" id="{8CE1C48E-19DD-42EE-AAB0-903B105CB2F8}"/>
                  </a:ext>
                </a:extLst>
              </p:cNvPr>
              <p:cNvSpPr/>
              <p:nvPr/>
            </p:nvSpPr>
            <p:spPr>
              <a:xfrm>
                <a:off x="7364328" y="2770498"/>
                <a:ext cx="48646" cy="22981"/>
              </a:xfrm>
              <a:custGeom>
                <a:avLst/>
                <a:gdLst/>
                <a:ahLst/>
                <a:cxnLst/>
                <a:rect l="l" t="t" r="r" b="b"/>
                <a:pathLst>
                  <a:path w="2663" h="1258" extrusionOk="0">
                    <a:moveTo>
                      <a:pt x="1812" y="1"/>
                    </a:moveTo>
                    <a:lnTo>
                      <a:pt x="1" y="297"/>
                    </a:lnTo>
                    <a:lnTo>
                      <a:pt x="851" y="1258"/>
                    </a:lnTo>
                    <a:lnTo>
                      <a:pt x="2663" y="962"/>
                    </a:lnTo>
                    <a:lnTo>
                      <a:pt x="181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934;p53">
                <a:extLst>
                  <a:ext uri="{FF2B5EF4-FFF2-40B4-BE49-F238E27FC236}">
                    <a16:creationId xmlns:a16="http://schemas.microsoft.com/office/drawing/2014/main" id="{19C4A55F-92B5-458C-A8EC-E2670879957B}"/>
                  </a:ext>
                </a:extLst>
              </p:cNvPr>
              <p:cNvSpPr/>
              <p:nvPr/>
            </p:nvSpPr>
            <p:spPr>
              <a:xfrm>
                <a:off x="7118502" y="2811034"/>
                <a:ext cx="46619" cy="24332"/>
              </a:xfrm>
              <a:custGeom>
                <a:avLst/>
                <a:gdLst/>
                <a:ahLst/>
                <a:cxnLst/>
                <a:rect l="l" t="t" r="r" b="b"/>
                <a:pathLst>
                  <a:path w="2552" h="1332" extrusionOk="0">
                    <a:moveTo>
                      <a:pt x="1590" y="0"/>
                    </a:moveTo>
                    <a:lnTo>
                      <a:pt x="0" y="222"/>
                    </a:lnTo>
                    <a:lnTo>
                      <a:pt x="999" y="1331"/>
                    </a:lnTo>
                    <a:lnTo>
                      <a:pt x="2551" y="1072"/>
                    </a:lnTo>
                    <a:lnTo>
                      <a:pt x="159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935;p53">
                <a:extLst>
                  <a:ext uri="{FF2B5EF4-FFF2-40B4-BE49-F238E27FC236}">
                    <a16:creationId xmlns:a16="http://schemas.microsoft.com/office/drawing/2014/main" id="{92D21055-DE97-4345-8D72-C5137FC2301D}"/>
                  </a:ext>
                </a:extLst>
              </p:cNvPr>
              <p:cNvSpPr/>
              <p:nvPr/>
            </p:nvSpPr>
            <p:spPr>
              <a:xfrm>
                <a:off x="7425122" y="2787395"/>
                <a:ext cx="52683" cy="29045"/>
              </a:xfrm>
              <a:custGeom>
                <a:avLst/>
                <a:gdLst/>
                <a:ahLst/>
                <a:cxnLst/>
                <a:rect l="l" t="t" r="r" b="b"/>
                <a:pathLst>
                  <a:path w="2884" h="1590" extrusionOk="0">
                    <a:moveTo>
                      <a:pt x="1738" y="0"/>
                    </a:moveTo>
                    <a:lnTo>
                      <a:pt x="0" y="296"/>
                    </a:lnTo>
                    <a:lnTo>
                      <a:pt x="1183" y="1590"/>
                    </a:lnTo>
                    <a:lnTo>
                      <a:pt x="2884" y="1257"/>
                    </a:lnTo>
                    <a:lnTo>
                      <a:pt x="17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936;p53">
                <a:extLst>
                  <a:ext uri="{FF2B5EF4-FFF2-40B4-BE49-F238E27FC236}">
                    <a16:creationId xmlns:a16="http://schemas.microsoft.com/office/drawing/2014/main" id="{05A2F728-D0AD-464E-B8D8-1848620307F3}"/>
                  </a:ext>
                </a:extLst>
              </p:cNvPr>
              <p:cNvSpPr/>
              <p:nvPr/>
            </p:nvSpPr>
            <p:spPr>
              <a:xfrm>
                <a:off x="7404169" y="2764433"/>
                <a:ext cx="47295" cy="22305"/>
              </a:xfrm>
              <a:custGeom>
                <a:avLst/>
                <a:gdLst/>
                <a:ahLst/>
                <a:cxnLst/>
                <a:rect l="l" t="t" r="r" b="b"/>
                <a:pathLst>
                  <a:path w="2589" h="1221" extrusionOk="0">
                    <a:moveTo>
                      <a:pt x="1739" y="0"/>
                    </a:moveTo>
                    <a:lnTo>
                      <a:pt x="1" y="296"/>
                    </a:lnTo>
                    <a:lnTo>
                      <a:pt x="851" y="1220"/>
                    </a:lnTo>
                    <a:lnTo>
                      <a:pt x="2589" y="924"/>
                    </a:lnTo>
                    <a:lnTo>
                      <a:pt x="173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937;p53">
                <a:extLst>
                  <a:ext uri="{FF2B5EF4-FFF2-40B4-BE49-F238E27FC236}">
                    <a16:creationId xmlns:a16="http://schemas.microsoft.com/office/drawing/2014/main" id="{AAEA607E-A600-4A4E-87E6-AA43B9514A02}"/>
                  </a:ext>
                </a:extLst>
              </p:cNvPr>
              <p:cNvSpPr/>
              <p:nvPr/>
            </p:nvSpPr>
            <p:spPr>
              <a:xfrm>
                <a:off x="7290710" y="2783340"/>
                <a:ext cx="45267" cy="22981"/>
              </a:xfrm>
              <a:custGeom>
                <a:avLst/>
                <a:gdLst/>
                <a:ahLst/>
                <a:cxnLst/>
                <a:rect l="l" t="t" r="r" b="b"/>
                <a:pathLst>
                  <a:path w="2478" h="1258" extrusionOk="0">
                    <a:moveTo>
                      <a:pt x="1591" y="0"/>
                    </a:moveTo>
                    <a:lnTo>
                      <a:pt x="1" y="222"/>
                    </a:lnTo>
                    <a:lnTo>
                      <a:pt x="925" y="1257"/>
                    </a:lnTo>
                    <a:lnTo>
                      <a:pt x="2478" y="962"/>
                    </a:lnTo>
                    <a:lnTo>
                      <a:pt x="159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938;p53">
                <a:extLst>
                  <a:ext uri="{FF2B5EF4-FFF2-40B4-BE49-F238E27FC236}">
                    <a16:creationId xmlns:a16="http://schemas.microsoft.com/office/drawing/2014/main" id="{F2287F72-4A8D-4A2C-AC86-3111D4F6AC71}"/>
                  </a:ext>
                </a:extLst>
              </p:cNvPr>
              <p:cNvSpPr/>
              <p:nvPr/>
            </p:nvSpPr>
            <p:spPr>
              <a:xfrm>
                <a:off x="7153612" y="2803599"/>
                <a:ext cx="54729" cy="25684"/>
              </a:xfrm>
              <a:custGeom>
                <a:avLst/>
                <a:gdLst/>
                <a:ahLst/>
                <a:cxnLst/>
                <a:rect l="l" t="t" r="r" b="b"/>
                <a:pathLst>
                  <a:path w="2996" h="1406" extrusionOk="0">
                    <a:moveTo>
                      <a:pt x="2034" y="0"/>
                    </a:moveTo>
                    <a:lnTo>
                      <a:pt x="1" y="333"/>
                    </a:lnTo>
                    <a:lnTo>
                      <a:pt x="999" y="1405"/>
                    </a:lnTo>
                    <a:lnTo>
                      <a:pt x="2996" y="1073"/>
                    </a:lnTo>
                    <a:lnTo>
                      <a:pt x="203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939;p53">
                <a:extLst>
                  <a:ext uri="{FF2B5EF4-FFF2-40B4-BE49-F238E27FC236}">
                    <a16:creationId xmlns:a16="http://schemas.microsoft.com/office/drawing/2014/main" id="{FC945320-99F7-4C4B-953E-0DA49398F5E0}"/>
                  </a:ext>
                </a:extLst>
              </p:cNvPr>
              <p:cNvSpPr/>
              <p:nvPr/>
            </p:nvSpPr>
            <p:spPr>
              <a:xfrm>
                <a:off x="7197509" y="2795488"/>
                <a:ext cx="62164" cy="26360"/>
              </a:xfrm>
              <a:custGeom>
                <a:avLst/>
                <a:gdLst/>
                <a:ahLst/>
                <a:cxnLst/>
                <a:rect l="l" t="t" r="r" b="b"/>
                <a:pathLst>
                  <a:path w="3403" h="1443" extrusionOk="0">
                    <a:moveTo>
                      <a:pt x="2478" y="1"/>
                    </a:moveTo>
                    <a:lnTo>
                      <a:pt x="1" y="408"/>
                    </a:lnTo>
                    <a:lnTo>
                      <a:pt x="962" y="1443"/>
                    </a:lnTo>
                    <a:lnTo>
                      <a:pt x="3402" y="1036"/>
                    </a:lnTo>
                    <a:lnTo>
                      <a:pt x="247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940;p53">
                <a:extLst>
                  <a:ext uri="{FF2B5EF4-FFF2-40B4-BE49-F238E27FC236}">
                    <a16:creationId xmlns:a16="http://schemas.microsoft.com/office/drawing/2014/main" id="{A2062E4A-632F-4A35-97E7-C3ED1692BF83}"/>
                  </a:ext>
                </a:extLst>
              </p:cNvPr>
              <p:cNvSpPr/>
              <p:nvPr/>
            </p:nvSpPr>
            <p:spPr>
              <a:xfrm>
                <a:off x="7249516" y="2788747"/>
                <a:ext cx="51350" cy="24332"/>
              </a:xfrm>
              <a:custGeom>
                <a:avLst/>
                <a:gdLst/>
                <a:ahLst/>
                <a:cxnLst/>
                <a:rect l="l" t="t" r="r" b="b"/>
                <a:pathLst>
                  <a:path w="2811" h="1332" extrusionOk="0">
                    <a:moveTo>
                      <a:pt x="1886" y="0"/>
                    </a:moveTo>
                    <a:lnTo>
                      <a:pt x="1" y="296"/>
                    </a:lnTo>
                    <a:lnTo>
                      <a:pt x="925" y="1331"/>
                    </a:lnTo>
                    <a:lnTo>
                      <a:pt x="2810" y="998"/>
                    </a:lnTo>
                    <a:lnTo>
                      <a:pt x="188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941;p53">
                <a:extLst>
                  <a:ext uri="{FF2B5EF4-FFF2-40B4-BE49-F238E27FC236}">
                    <a16:creationId xmlns:a16="http://schemas.microsoft.com/office/drawing/2014/main" id="{651B3F2F-9D03-4A67-915E-D53B315E55CF}"/>
                  </a:ext>
                </a:extLst>
              </p:cNvPr>
              <p:cNvSpPr/>
              <p:nvPr/>
            </p:nvSpPr>
            <p:spPr>
              <a:xfrm>
                <a:off x="7326514" y="2777257"/>
                <a:ext cx="46619" cy="22981"/>
              </a:xfrm>
              <a:custGeom>
                <a:avLst/>
                <a:gdLst/>
                <a:ahLst/>
                <a:cxnLst/>
                <a:rect l="l" t="t" r="r" b="b"/>
                <a:pathLst>
                  <a:path w="2552" h="1258" extrusionOk="0">
                    <a:moveTo>
                      <a:pt x="1701" y="1"/>
                    </a:moveTo>
                    <a:lnTo>
                      <a:pt x="0" y="259"/>
                    </a:lnTo>
                    <a:lnTo>
                      <a:pt x="888" y="1258"/>
                    </a:lnTo>
                    <a:lnTo>
                      <a:pt x="2551" y="962"/>
                    </a:lnTo>
                    <a:lnTo>
                      <a:pt x="170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942;p53">
                <a:extLst>
                  <a:ext uri="{FF2B5EF4-FFF2-40B4-BE49-F238E27FC236}">
                    <a16:creationId xmlns:a16="http://schemas.microsoft.com/office/drawing/2014/main" id="{AF9198E8-EF4E-4A8B-B577-4105EC5F0F97}"/>
                  </a:ext>
                </a:extLst>
              </p:cNvPr>
              <p:cNvSpPr/>
              <p:nvPr/>
            </p:nvSpPr>
            <p:spPr>
              <a:xfrm>
                <a:off x="7142816" y="2836699"/>
                <a:ext cx="53378" cy="33101"/>
              </a:xfrm>
              <a:custGeom>
                <a:avLst/>
                <a:gdLst/>
                <a:ahLst/>
                <a:cxnLst/>
                <a:rect l="l" t="t" r="r" b="b"/>
                <a:pathLst>
                  <a:path w="2922" h="1812" extrusionOk="0">
                    <a:moveTo>
                      <a:pt x="1553" y="0"/>
                    </a:moveTo>
                    <a:lnTo>
                      <a:pt x="0" y="296"/>
                    </a:lnTo>
                    <a:lnTo>
                      <a:pt x="1368" y="1812"/>
                    </a:lnTo>
                    <a:lnTo>
                      <a:pt x="2921" y="1516"/>
                    </a:lnTo>
                    <a:lnTo>
                      <a:pt x="155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943;p53">
                <a:extLst>
                  <a:ext uri="{FF2B5EF4-FFF2-40B4-BE49-F238E27FC236}">
                    <a16:creationId xmlns:a16="http://schemas.microsoft.com/office/drawing/2014/main" id="{B1C940EE-2C0F-4EC3-A7FF-9654DAC82A44}"/>
                  </a:ext>
                </a:extLst>
              </p:cNvPr>
              <p:cNvSpPr/>
              <p:nvPr/>
            </p:nvSpPr>
            <p:spPr>
              <a:xfrm>
                <a:off x="7100271" y="2842764"/>
                <a:ext cx="61470" cy="34471"/>
              </a:xfrm>
              <a:custGeom>
                <a:avLst/>
                <a:gdLst/>
                <a:ahLst/>
                <a:cxnLst/>
                <a:rect l="l" t="t" r="r" b="b"/>
                <a:pathLst>
                  <a:path w="3365" h="1887" extrusionOk="0">
                    <a:moveTo>
                      <a:pt x="1997" y="1"/>
                    </a:moveTo>
                    <a:lnTo>
                      <a:pt x="0" y="371"/>
                    </a:lnTo>
                    <a:lnTo>
                      <a:pt x="1405" y="1886"/>
                    </a:lnTo>
                    <a:lnTo>
                      <a:pt x="3365" y="1517"/>
                    </a:lnTo>
                    <a:lnTo>
                      <a:pt x="199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944;p53">
                <a:extLst>
                  <a:ext uri="{FF2B5EF4-FFF2-40B4-BE49-F238E27FC236}">
                    <a16:creationId xmlns:a16="http://schemas.microsoft.com/office/drawing/2014/main" id="{286FB24C-4DF1-4241-877E-0E57B321BCB6}"/>
                  </a:ext>
                </a:extLst>
              </p:cNvPr>
              <p:cNvSpPr/>
              <p:nvPr/>
            </p:nvSpPr>
            <p:spPr>
              <a:xfrm>
                <a:off x="7015163" y="2856958"/>
                <a:ext cx="67553" cy="36480"/>
              </a:xfrm>
              <a:custGeom>
                <a:avLst/>
                <a:gdLst/>
                <a:ahLst/>
                <a:cxnLst/>
                <a:rect l="l" t="t" r="r" b="b"/>
                <a:pathLst>
                  <a:path w="3698" h="1997" extrusionOk="0">
                    <a:moveTo>
                      <a:pt x="2256" y="0"/>
                    </a:moveTo>
                    <a:lnTo>
                      <a:pt x="1" y="407"/>
                    </a:lnTo>
                    <a:lnTo>
                      <a:pt x="1480" y="1997"/>
                    </a:lnTo>
                    <a:lnTo>
                      <a:pt x="3698" y="1590"/>
                    </a:lnTo>
                    <a:lnTo>
                      <a:pt x="225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945;p53">
                <a:extLst>
                  <a:ext uri="{FF2B5EF4-FFF2-40B4-BE49-F238E27FC236}">
                    <a16:creationId xmlns:a16="http://schemas.microsoft.com/office/drawing/2014/main" id="{60C5A366-877A-4988-A78F-1064421851DF}"/>
                  </a:ext>
                </a:extLst>
              </p:cNvPr>
              <p:cNvSpPr/>
              <p:nvPr/>
            </p:nvSpPr>
            <p:spPr>
              <a:xfrm>
                <a:off x="7348124" y="2800895"/>
                <a:ext cx="52702" cy="29739"/>
              </a:xfrm>
              <a:custGeom>
                <a:avLst/>
                <a:gdLst/>
                <a:ahLst/>
                <a:cxnLst/>
                <a:rect l="l" t="t" r="r" b="b"/>
                <a:pathLst>
                  <a:path w="2885" h="1628" extrusionOk="0">
                    <a:moveTo>
                      <a:pt x="1701" y="1"/>
                    </a:moveTo>
                    <a:lnTo>
                      <a:pt x="0" y="296"/>
                    </a:lnTo>
                    <a:lnTo>
                      <a:pt x="1220" y="1627"/>
                    </a:lnTo>
                    <a:lnTo>
                      <a:pt x="2884" y="1332"/>
                    </a:lnTo>
                    <a:lnTo>
                      <a:pt x="1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946;p53">
                <a:extLst>
                  <a:ext uri="{FF2B5EF4-FFF2-40B4-BE49-F238E27FC236}">
                    <a16:creationId xmlns:a16="http://schemas.microsoft.com/office/drawing/2014/main" id="{028BBF9E-D355-436B-A009-223A8C21761B}"/>
                  </a:ext>
                </a:extLst>
              </p:cNvPr>
              <p:cNvSpPr/>
              <p:nvPr/>
            </p:nvSpPr>
            <p:spPr>
              <a:xfrm>
                <a:off x="7063115" y="2850199"/>
                <a:ext cx="56757" cy="34453"/>
              </a:xfrm>
              <a:custGeom>
                <a:avLst/>
                <a:gdLst/>
                <a:ahLst/>
                <a:cxnLst/>
                <a:rect l="l" t="t" r="r" b="b"/>
                <a:pathLst>
                  <a:path w="3107" h="1886" extrusionOk="0">
                    <a:moveTo>
                      <a:pt x="1665" y="0"/>
                    </a:moveTo>
                    <a:lnTo>
                      <a:pt x="1" y="296"/>
                    </a:lnTo>
                    <a:lnTo>
                      <a:pt x="1406" y="1886"/>
                    </a:lnTo>
                    <a:lnTo>
                      <a:pt x="3106" y="1553"/>
                    </a:lnTo>
                    <a:lnTo>
                      <a:pt x="166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947;p53">
                <a:extLst>
                  <a:ext uri="{FF2B5EF4-FFF2-40B4-BE49-F238E27FC236}">
                    <a16:creationId xmlns:a16="http://schemas.microsoft.com/office/drawing/2014/main" id="{66BF076A-4283-4BCC-B82E-C5139694A108}"/>
                  </a:ext>
                </a:extLst>
              </p:cNvPr>
              <p:cNvSpPr/>
              <p:nvPr/>
            </p:nvSpPr>
            <p:spPr>
              <a:xfrm>
                <a:off x="7312996" y="2806978"/>
                <a:ext cx="51350" cy="30415"/>
              </a:xfrm>
              <a:custGeom>
                <a:avLst/>
                <a:gdLst/>
                <a:ahLst/>
                <a:cxnLst/>
                <a:rect l="l" t="t" r="r" b="b"/>
                <a:pathLst>
                  <a:path w="2811" h="1665" extrusionOk="0">
                    <a:moveTo>
                      <a:pt x="1554" y="0"/>
                    </a:moveTo>
                    <a:lnTo>
                      <a:pt x="1" y="296"/>
                    </a:lnTo>
                    <a:lnTo>
                      <a:pt x="1258" y="1664"/>
                    </a:lnTo>
                    <a:lnTo>
                      <a:pt x="2811" y="1368"/>
                    </a:lnTo>
                    <a:lnTo>
                      <a:pt x="155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948;p53">
                <a:extLst>
                  <a:ext uri="{FF2B5EF4-FFF2-40B4-BE49-F238E27FC236}">
                    <a16:creationId xmlns:a16="http://schemas.microsoft.com/office/drawing/2014/main" id="{AFB15121-5C30-4C84-A1D1-9ED6074C0EE6}"/>
                  </a:ext>
                </a:extLst>
              </p:cNvPr>
              <p:cNvSpPr/>
              <p:nvPr/>
            </p:nvSpPr>
            <p:spPr>
              <a:xfrm>
                <a:off x="7271803" y="2813737"/>
                <a:ext cx="57433" cy="31073"/>
              </a:xfrm>
              <a:custGeom>
                <a:avLst/>
                <a:gdLst/>
                <a:ahLst/>
                <a:cxnLst/>
                <a:rect l="l" t="t" r="r" b="b"/>
                <a:pathLst>
                  <a:path w="3144" h="1701" extrusionOk="0">
                    <a:moveTo>
                      <a:pt x="1886" y="0"/>
                    </a:moveTo>
                    <a:lnTo>
                      <a:pt x="1" y="296"/>
                    </a:lnTo>
                    <a:lnTo>
                      <a:pt x="1295" y="1701"/>
                    </a:lnTo>
                    <a:lnTo>
                      <a:pt x="3143" y="1368"/>
                    </a:lnTo>
                    <a:lnTo>
                      <a:pt x="188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949;p53">
                <a:extLst>
                  <a:ext uri="{FF2B5EF4-FFF2-40B4-BE49-F238E27FC236}">
                    <a16:creationId xmlns:a16="http://schemas.microsoft.com/office/drawing/2014/main" id="{D0E012C5-53B6-4551-823F-0F2522924F2D}"/>
                  </a:ext>
                </a:extLst>
              </p:cNvPr>
              <p:cNvSpPr/>
              <p:nvPr/>
            </p:nvSpPr>
            <p:spPr>
              <a:xfrm>
                <a:off x="7177250" y="2829265"/>
                <a:ext cx="61488" cy="33777"/>
              </a:xfrm>
              <a:custGeom>
                <a:avLst/>
                <a:gdLst/>
                <a:ahLst/>
                <a:cxnLst/>
                <a:rect l="l" t="t" r="r" b="b"/>
                <a:pathLst>
                  <a:path w="3366" h="1849" extrusionOk="0">
                    <a:moveTo>
                      <a:pt x="2034" y="0"/>
                    </a:moveTo>
                    <a:lnTo>
                      <a:pt x="1" y="370"/>
                    </a:lnTo>
                    <a:lnTo>
                      <a:pt x="1369" y="1849"/>
                    </a:lnTo>
                    <a:lnTo>
                      <a:pt x="3365" y="1479"/>
                    </a:lnTo>
                    <a:lnTo>
                      <a:pt x="203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950;p53">
                <a:extLst>
                  <a:ext uri="{FF2B5EF4-FFF2-40B4-BE49-F238E27FC236}">
                    <a16:creationId xmlns:a16="http://schemas.microsoft.com/office/drawing/2014/main" id="{A45DB05B-BDB5-4DBE-82AF-D701D0E719EE}"/>
                  </a:ext>
                </a:extLst>
              </p:cNvPr>
              <p:cNvSpPr/>
              <p:nvPr/>
            </p:nvSpPr>
            <p:spPr>
              <a:xfrm>
                <a:off x="7220471" y="2820478"/>
                <a:ext cx="68905" cy="34471"/>
              </a:xfrm>
              <a:custGeom>
                <a:avLst/>
                <a:gdLst/>
                <a:ahLst/>
                <a:cxnLst/>
                <a:rect l="l" t="t" r="r" b="b"/>
                <a:pathLst>
                  <a:path w="3772" h="1887" extrusionOk="0">
                    <a:moveTo>
                      <a:pt x="2478" y="1"/>
                    </a:moveTo>
                    <a:lnTo>
                      <a:pt x="1" y="444"/>
                    </a:lnTo>
                    <a:lnTo>
                      <a:pt x="1332" y="1886"/>
                    </a:lnTo>
                    <a:lnTo>
                      <a:pt x="3772" y="1406"/>
                    </a:lnTo>
                    <a:lnTo>
                      <a:pt x="247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951;p53">
                <a:extLst>
                  <a:ext uri="{FF2B5EF4-FFF2-40B4-BE49-F238E27FC236}">
                    <a16:creationId xmlns:a16="http://schemas.microsoft.com/office/drawing/2014/main" id="{52417D46-216A-42E5-B436-52A1B2468C0E}"/>
                  </a:ext>
                </a:extLst>
              </p:cNvPr>
              <p:cNvSpPr/>
              <p:nvPr/>
            </p:nvSpPr>
            <p:spPr>
              <a:xfrm>
                <a:off x="7415659" y="2826561"/>
                <a:ext cx="52702" cy="28388"/>
              </a:xfrm>
              <a:custGeom>
                <a:avLst/>
                <a:gdLst/>
                <a:ahLst/>
                <a:cxnLst/>
                <a:rect l="l" t="t" r="r" b="b"/>
                <a:pathLst>
                  <a:path w="2885" h="1554" extrusionOk="0">
                    <a:moveTo>
                      <a:pt x="1812" y="0"/>
                    </a:moveTo>
                    <a:lnTo>
                      <a:pt x="0" y="333"/>
                    </a:lnTo>
                    <a:lnTo>
                      <a:pt x="1073" y="1553"/>
                    </a:lnTo>
                    <a:lnTo>
                      <a:pt x="2884" y="1184"/>
                    </a:lnTo>
                    <a:lnTo>
                      <a:pt x="181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952;p53">
                <a:extLst>
                  <a:ext uri="{FF2B5EF4-FFF2-40B4-BE49-F238E27FC236}">
                    <a16:creationId xmlns:a16="http://schemas.microsoft.com/office/drawing/2014/main" id="{4C2C4959-7DFE-4F0A-9EBF-9F507BD0CDAD}"/>
                  </a:ext>
                </a:extLst>
              </p:cNvPr>
              <p:cNvSpPr/>
              <p:nvPr/>
            </p:nvSpPr>
            <p:spPr>
              <a:xfrm>
                <a:off x="7492657" y="2815071"/>
                <a:ext cx="40536" cy="24332"/>
              </a:xfrm>
              <a:custGeom>
                <a:avLst/>
                <a:gdLst/>
                <a:ahLst/>
                <a:cxnLst/>
                <a:rect l="l" t="t" r="r" b="b"/>
                <a:pathLst>
                  <a:path w="2219" h="1332" extrusionOk="0">
                    <a:moveTo>
                      <a:pt x="1109" y="1"/>
                    </a:moveTo>
                    <a:lnTo>
                      <a:pt x="0" y="186"/>
                    </a:lnTo>
                    <a:lnTo>
                      <a:pt x="1035" y="1332"/>
                    </a:lnTo>
                    <a:lnTo>
                      <a:pt x="2218" y="1073"/>
                    </a:lnTo>
                    <a:lnTo>
                      <a:pt x="11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953;p53">
                <a:extLst>
                  <a:ext uri="{FF2B5EF4-FFF2-40B4-BE49-F238E27FC236}">
                    <a16:creationId xmlns:a16="http://schemas.microsoft.com/office/drawing/2014/main" id="{0D95CD04-85B6-471C-9AD2-A60EFE4DECAC}"/>
                  </a:ext>
                </a:extLst>
              </p:cNvPr>
              <p:cNvSpPr/>
              <p:nvPr/>
            </p:nvSpPr>
            <p:spPr>
              <a:xfrm>
                <a:off x="7454825" y="2819802"/>
                <a:ext cx="50674" cy="27036"/>
              </a:xfrm>
              <a:custGeom>
                <a:avLst/>
                <a:gdLst/>
                <a:ahLst/>
                <a:cxnLst/>
                <a:rect l="l" t="t" r="r" b="b"/>
                <a:pathLst>
                  <a:path w="2774" h="1480" extrusionOk="0">
                    <a:moveTo>
                      <a:pt x="1738" y="1"/>
                    </a:moveTo>
                    <a:lnTo>
                      <a:pt x="1" y="334"/>
                    </a:lnTo>
                    <a:lnTo>
                      <a:pt x="1036" y="1480"/>
                    </a:lnTo>
                    <a:lnTo>
                      <a:pt x="2774" y="1110"/>
                    </a:lnTo>
                    <a:lnTo>
                      <a:pt x="173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954;p53">
                <a:extLst>
                  <a:ext uri="{FF2B5EF4-FFF2-40B4-BE49-F238E27FC236}">
                    <a16:creationId xmlns:a16="http://schemas.microsoft.com/office/drawing/2014/main" id="{D7A8A9EC-76F9-4405-B59D-75235337B13A}"/>
                  </a:ext>
                </a:extLst>
              </p:cNvPr>
              <p:cNvSpPr/>
              <p:nvPr/>
            </p:nvSpPr>
            <p:spPr>
              <a:xfrm>
                <a:off x="7378521" y="2833996"/>
                <a:ext cx="51332" cy="28369"/>
              </a:xfrm>
              <a:custGeom>
                <a:avLst/>
                <a:gdLst/>
                <a:ahLst/>
                <a:cxnLst/>
                <a:rect l="l" t="t" r="r" b="b"/>
                <a:pathLst>
                  <a:path w="2810" h="1553" extrusionOk="0">
                    <a:moveTo>
                      <a:pt x="1701" y="0"/>
                    </a:moveTo>
                    <a:lnTo>
                      <a:pt x="0" y="333"/>
                    </a:lnTo>
                    <a:lnTo>
                      <a:pt x="1109" y="1553"/>
                    </a:lnTo>
                    <a:lnTo>
                      <a:pt x="2810" y="1220"/>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955;p53">
                <a:extLst>
                  <a:ext uri="{FF2B5EF4-FFF2-40B4-BE49-F238E27FC236}">
                    <a16:creationId xmlns:a16="http://schemas.microsoft.com/office/drawing/2014/main" id="{EF7D676D-7C5D-4F4E-B104-141B52998F95}"/>
                  </a:ext>
                </a:extLst>
              </p:cNvPr>
              <p:cNvSpPr/>
              <p:nvPr/>
            </p:nvSpPr>
            <p:spPr>
              <a:xfrm>
                <a:off x="7463611" y="2780636"/>
                <a:ext cx="54054" cy="28388"/>
              </a:xfrm>
              <a:custGeom>
                <a:avLst/>
                <a:gdLst/>
                <a:ahLst/>
                <a:cxnLst/>
                <a:rect l="l" t="t" r="r" b="b"/>
                <a:pathLst>
                  <a:path w="2959" h="1554" extrusionOk="0">
                    <a:moveTo>
                      <a:pt x="1701" y="0"/>
                    </a:moveTo>
                    <a:lnTo>
                      <a:pt x="0" y="296"/>
                    </a:lnTo>
                    <a:lnTo>
                      <a:pt x="1146" y="1553"/>
                    </a:lnTo>
                    <a:lnTo>
                      <a:pt x="2958" y="1221"/>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956;p53">
                <a:extLst>
                  <a:ext uri="{FF2B5EF4-FFF2-40B4-BE49-F238E27FC236}">
                    <a16:creationId xmlns:a16="http://schemas.microsoft.com/office/drawing/2014/main" id="{0E6F8080-4B29-4EFD-A015-92737DD297AB}"/>
                  </a:ext>
                </a:extLst>
              </p:cNvPr>
              <p:cNvSpPr/>
              <p:nvPr/>
            </p:nvSpPr>
            <p:spPr>
              <a:xfrm>
                <a:off x="6917925" y="2873837"/>
                <a:ext cx="68905" cy="37832"/>
              </a:xfrm>
              <a:custGeom>
                <a:avLst/>
                <a:gdLst/>
                <a:ahLst/>
                <a:cxnLst/>
                <a:rect l="l" t="t" r="r" b="b"/>
                <a:pathLst>
                  <a:path w="3772" h="2071" extrusionOk="0">
                    <a:moveTo>
                      <a:pt x="2292" y="0"/>
                    </a:moveTo>
                    <a:lnTo>
                      <a:pt x="0" y="407"/>
                    </a:lnTo>
                    <a:lnTo>
                      <a:pt x="1516" y="2071"/>
                    </a:lnTo>
                    <a:lnTo>
                      <a:pt x="3771" y="1664"/>
                    </a:lnTo>
                    <a:lnTo>
                      <a:pt x="229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957;p53">
                <a:extLst>
                  <a:ext uri="{FF2B5EF4-FFF2-40B4-BE49-F238E27FC236}">
                    <a16:creationId xmlns:a16="http://schemas.microsoft.com/office/drawing/2014/main" id="{5AE55603-3267-4477-8310-36C897C76083}"/>
                  </a:ext>
                </a:extLst>
              </p:cNvPr>
              <p:cNvSpPr/>
              <p:nvPr/>
            </p:nvSpPr>
            <p:spPr>
              <a:xfrm>
                <a:off x="6953711" y="2910975"/>
                <a:ext cx="66877" cy="37850"/>
              </a:xfrm>
              <a:custGeom>
                <a:avLst/>
                <a:gdLst/>
                <a:ahLst/>
                <a:cxnLst/>
                <a:rect l="l" t="t" r="r" b="b"/>
                <a:pathLst>
                  <a:path w="3661" h="2072" extrusionOk="0">
                    <a:moveTo>
                      <a:pt x="2182" y="1"/>
                    </a:moveTo>
                    <a:lnTo>
                      <a:pt x="1" y="408"/>
                    </a:lnTo>
                    <a:lnTo>
                      <a:pt x="1627" y="2071"/>
                    </a:lnTo>
                    <a:lnTo>
                      <a:pt x="3661" y="1628"/>
                    </a:lnTo>
                    <a:lnTo>
                      <a:pt x="21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958;p53">
                <a:extLst>
                  <a:ext uri="{FF2B5EF4-FFF2-40B4-BE49-F238E27FC236}">
                    <a16:creationId xmlns:a16="http://schemas.microsoft.com/office/drawing/2014/main" id="{F49E7995-F4B0-4C48-B0B3-A7E2789A81D3}"/>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959;p53">
                <a:extLst>
                  <a:ext uri="{FF2B5EF4-FFF2-40B4-BE49-F238E27FC236}">
                    <a16:creationId xmlns:a16="http://schemas.microsoft.com/office/drawing/2014/main" id="{C621C949-1523-458F-A8E5-59FA7FBEB915}"/>
                  </a:ext>
                </a:extLst>
              </p:cNvPr>
              <p:cNvSpPr/>
              <p:nvPr/>
            </p:nvSpPr>
            <p:spPr>
              <a:xfrm>
                <a:off x="6892259" y="2844792"/>
                <a:ext cx="60794" cy="28388"/>
              </a:xfrm>
              <a:custGeom>
                <a:avLst/>
                <a:gdLst/>
                <a:ahLst/>
                <a:cxnLst/>
                <a:rect l="l" t="t" r="r" b="b"/>
                <a:pathLst>
                  <a:path w="3328" h="1554" extrusionOk="0">
                    <a:moveTo>
                      <a:pt x="2255" y="1"/>
                    </a:moveTo>
                    <a:lnTo>
                      <a:pt x="0" y="370"/>
                    </a:lnTo>
                    <a:lnTo>
                      <a:pt x="1220" y="1553"/>
                    </a:lnTo>
                    <a:lnTo>
                      <a:pt x="3328" y="1221"/>
                    </a:lnTo>
                    <a:lnTo>
                      <a:pt x="225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960;p53">
                <a:extLst>
                  <a:ext uri="{FF2B5EF4-FFF2-40B4-BE49-F238E27FC236}">
                    <a16:creationId xmlns:a16="http://schemas.microsoft.com/office/drawing/2014/main" id="{C9A83BE6-979B-4124-89DD-5AA0E7D88F22}"/>
                  </a:ext>
                </a:extLst>
              </p:cNvPr>
              <p:cNvSpPr/>
              <p:nvPr/>
            </p:nvSpPr>
            <p:spPr>
              <a:xfrm>
                <a:off x="7442677" y="2759026"/>
                <a:ext cx="46619" cy="20953"/>
              </a:xfrm>
              <a:custGeom>
                <a:avLst/>
                <a:gdLst/>
                <a:ahLst/>
                <a:cxnLst/>
                <a:rect l="l" t="t" r="r" b="b"/>
                <a:pathLst>
                  <a:path w="2552" h="1147" extrusionOk="0">
                    <a:moveTo>
                      <a:pt x="1516" y="0"/>
                    </a:moveTo>
                    <a:lnTo>
                      <a:pt x="0" y="222"/>
                    </a:lnTo>
                    <a:lnTo>
                      <a:pt x="851" y="1147"/>
                    </a:lnTo>
                    <a:lnTo>
                      <a:pt x="2551" y="851"/>
                    </a:lnTo>
                    <a:lnTo>
                      <a:pt x="151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961;p53">
                <a:extLst>
                  <a:ext uri="{FF2B5EF4-FFF2-40B4-BE49-F238E27FC236}">
                    <a16:creationId xmlns:a16="http://schemas.microsoft.com/office/drawing/2014/main" id="{36AA86FB-A5E4-43FD-A48E-9DCC0BE27C39}"/>
                  </a:ext>
                </a:extLst>
              </p:cNvPr>
              <p:cNvSpPr/>
              <p:nvPr/>
            </p:nvSpPr>
            <p:spPr>
              <a:xfrm>
                <a:off x="6940211" y="2837375"/>
                <a:ext cx="62146" cy="28369"/>
              </a:xfrm>
              <a:custGeom>
                <a:avLst/>
                <a:gdLst/>
                <a:ahLst/>
                <a:cxnLst/>
                <a:rect l="l" t="t" r="r" b="b"/>
                <a:pathLst>
                  <a:path w="3402" h="1553" extrusionOk="0">
                    <a:moveTo>
                      <a:pt x="2329" y="0"/>
                    </a:moveTo>
                    <a:lnTo>
                      <a:pt x="0" y="370"/>
                    </a:lnTo>
                    <a:lnTo>
                      <a:pt x="1072" y="1553"/>
                    </a:lnTo>
                    <a:lnTo>
                      <a:pt x="3401" y="1146"/>
                    </a:lnTo>
                    <a:lnTo>
                      <a:pt x="232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962;p53">
                <a:extLst>
                  <a:ext uri="{FF2B5EF4-FFF2-40B4-BE49-F238E27FC236}">
                    <a16:creationId xmlns:a16="http://schemas.microsoft.com/office/drawing/2014/main" id="{F9663D47-90C6-4876-AF3C-53CF72F52E5B}"/>
                  </a:ext>
                </a:extLst>
              </p:cNvPr>
              <p:cNvSpPr/>
              <p:nvPr/>
            </p:nvSpPr>
            <p:spPr>
              <a:xfrm>
                <a:off x="6990173" y="2829265"/>
                <a:ext cx="60137" cy="27712"/>
              </a:xfrm>
              <a:custGeom>
                <a:avLst/>
                <a:gdLst/>
                <a:ahLst/>
                <a:cxnLst/>
                <a:rect l="l" t="t" r="r" b="b"/>
                <a:pathLst>
                  <a:path w="3292" h="1517" extrusionOk="0">
                    <a:moveTo>
                      <a:pt x="2256" y="0"/>
                    </a:moveTo>
                    <a:lnTo>
                      <a:pt x="1" y="370"/>
                    </a:lnTo>
                    <a:lnTo>
                      <a:pt x="1036" y="1516"/>
                    </a:lnTo>
                    <a:lnTo>
                      <a:pt x="3291" y="1146"/>
                    </a:lnTo>
                    <a:lnTo>
                      <a:pt x="225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963;p53">
                <a:extLst>
                  <a:ext uri="{FF2B5EF4-FFF2-40B4-BE49-F238E27FC236}">
                    <a16:creationId xmlns:a16="http://schemas.microsoft.com/office/drawing/2014/main" id="{59C30AF7-5F82-4279-8515-DC051AAE0D10}"/>
                  </a:ext>
                </a:extLst>
              </p:cNvPr>
              <p:cNvSpPr/>
              <p:nvPr/>
            </p:nvSpPr>
            <p:spPr>
              <a:xfrm>
                <a:off x="6965877" y="2865051"/>
                <a:ext cx="69581" cy="37850"/>
              </a:xfrm>
              <a:custGeom>
                <a:avLst/>
                <a:gdLst/>
                <a:ahLst/>
                <a:cxnLst/>
                <a:rect l="l" t="t" r="r" b="b"/>
                <a:pathLst>
                  <a:path w="3809" h="2072" extrusionOk="0">
                    <a:moveTo>
                      <a:pt x="2329" y="1"/>
                    </a:moveTo>
                    <a:lnTo>
                      <a:pt x="0" y="408"/>
                    </a:lnTo>
                    <a:lnTo>
                      <a:pt x="1516" y="2071"/>
                    </a:lnTo>
                    <a:lnTo>
                      <a:pt x="3808" y="1628"/>
                    </a:lnTo>
                    <a:lnTo>
                      <a:pt x="23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964;p53">
                <a:extLst>
                  <a:ext uri="{FF2B5EF4-FFF2-40B4-BE49-F238E27FC236}">
                    <a16:creationId xmlns:a16="http://schemas.microsoft.com/office/drawing/2014/main" id="{973D0809-F4BB-4F44-9A52-A810B9A07E68}"/>
                  </a:ext>
                </a:extLst>
              </p:cNvPr>
              <p:cNvSpPr/>
              <p:nvPr/>
            </p:nvSpPr>
            <p:spPr>
              <a:xfrm>
                <a:off x="7075281" y="2816423"/>
                <a:ext cx="55387" cy="26360"/>
              </a:xfrm>
              <a:custGeom>
                <a:avLst/>
                <a:gdLst/>
                <a:ahLst/>
                <a:cxnLst/>
                <a:rect l="l" t="t" r="r" b="b"/>
                <a:pathLst>
                  <a:path w="3032" h="1443" extrusionOk="0">
                    <a:moveTo>
                      <a:pt x="2034" y="1"/>
                    </a:moveTo>
                    <a:lnTo>
                      <a:pt x="0" y="334"/>
                    </a:lnTo>
                    <a:lnTo>
                      <a:pt x="1035" y="1443"/>
                    </a:lnTo>
                    <a:lnTo>
                      <a:pt x="3032" y="1110"/>
                    </a:lnTo>
                    <a:lnTo>
                      <a:pt x="203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965;p53">
                <a:extLst>
                  <a:ext uri="{FF2B5EF4-FFF2-40B4-BE49-F238E27FC236}">
                    <a16:creationId xmlns:a16="http://schemas.microsoft.com/office/drawing/2014/main" id="{E7C819D9-C517-4FAE-9C8D-94796F1FF300}"/>
                  </a:ext>
                </a:extLst>
              </p:cNvPr>
              <p:cNvSpPr/>
              <p:nvPr/>
            </p:nvSpPr>
            <p:spPr>
              <a:xfrm>
                <a:off x="7038125" y="2823182"/>
                <a:ext cx="49322" cy="25684"/>
              </a:xfrm>
              <a:custGeom>
                <a:avLst/>
                <a:gdLst/>
                <a:ahLst/>
                <a:cxnLst/>
                <a:rect l="l" t="t" r="r" b="b"/>
                <a:pathLst>
                  <a:path w="2700" h="1406" extrusionOk="0">
                    <a:moveTo>
                      <a:pt x="1702" y="1"/>
                    </a:moveTo>
                    <a:lnTo>
                      <a:pt x="1" y="296"/>
                    </a:lnTo>
                    <a:lnTo>
                      <a:pt x="1036" y="1406"/>
                    </a:lnTo>
                    <a:lnTo>
                      <a:pt x="2700" y="1110"/>
                    </a:lnTo>
                    <a:lnTo>
                      <a:pt x="170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966;p53">
                <a:extLst>
                  <a:ext uri="{FF2B5EF4-FFF2-40B4-BE49-F238E27FC236}">
                    <a16:creationId xmlns:a16="http://schemas.microsoft.com/office/drawing/2014/main" id="{57583C46-EB89-45F9-BCBB-5302BC341B2F}"/>
                  </a:ext>
                </a:extLst>
              </p:cNvPr>
              <p:cNvSpPr/>
              <p:nvPr/>
            </p:nvSpPr>
            <p:spPr>
              <a:xfrm>
                <a:off x="6999635" y="2901531"/>
                <a:ext cx="68905" cy="37832"/>
              </a:xfrm>
              <a:custGeom>
                <a:avLst/>
                <a:gdLst/>
                <a:ahLst/>
                <a:cxnLst/>
                <a:rect l="l" t="t" r="r" b="b"/>
                <a:pathLst>
                  <a:path w="3772" h="2071" extrusionOk="0">
                    <a:moveTo>
                      <a:pt x="2330" y="0"/>
                    </a:moveTo>
                    <a:lnTo>
                      <a:pt x="1" y="444"/>
                    </a:lnTo>
                    <a:lnTo>
                      <a:pt x="1479" y="2071"/>
                    </a:lnTo>
                    <a:lnTo>
                      <a:pt x="3772" y="1590"/>
                    </a:lnTo>
                    <a:lnTo>
                      <a:pt x="233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967;p53">
                <a:extLst>
                  <a:ext uri="{FF2B5EF4-FFF2-40B4-BE49-F238E27FC236}">
                    <a16:creationId xmlns:a16="http://schemas.microsoft.com/office/drawing/2014/main" id="{81685B89-5222-49C6-AE33-8378979A1127}"/>
                  </a:ext>
                </a:extLst>
              </p:cNvPr>
              <p:cNvSpPr/>
              <p:nvPr/>
            </p:nvSpPr>
            <p:spPr>
              <a:xfrm>
                <a:off x="7302876" y="2847496"/>
                <a:ext cx="56063" cy="30415"/>
              </a:xfrm>
              <a:custGeom>
                <a:avLst/>
                <a:gdLst/>
                <a:ahLst/>
                <a:cxnLst/>
                <a:rect l="l" t="t" r="r" b="b"/>
                <a:pathLst>
                  <a:path w="3069" h="1665" extrusionOk="0">
                    <a:moveTo>
                      <a:pt x="1886" y="1"/>
                    </a:moveTo>
                    <a:lnTo>
                      <a:pt x="0" y="333"/>
                    </a:lnTo>
                    <a:lnTo>
                      <a:pt x="1220" y="1664"/>
                    </a:lnTo>
                    <a:lnTo>
                      <a:pt x="3069" y="1258"/>
                    </a:lnTo>
                    <a:lnTo>
                      <a:pt x="188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968;p53">
                <a:extLst>
                  <a:ext uri="{FF2B5EF4-FFF2-40B4-BE49-F238E27FC236}">
                    <a16:creationId xmlns:a16="http://schemas.microsoft.com/office/drawing/2014/main" id="{2C9553E3-1D7F-4C8A-87E9-315E313A4B28}"/>
                  </a:ext>
                </a:extLst>
              </p:cNvPr>
              <p:cNvSpPr/>
              <p:nvPr/>
            </p:nvSpPr>
            <p:spPr>
              <a:xfrm>
                <a:off x="7095540" y="2854930"/>
                <a:ext cx="223558" cy="64850"/>
              </a:xfrm>
              <a:custGeom>
                <a:avLst/>
                <a:gdLst/>
                <a:ahLst/>
                <a:cxnLst/>
                <a:rect l="l" t="t" r="r" b="b"/>
                <a:pathLst>
                  <a:path w="12238" h="3550" extrusionOk="0">
                    <a:moveTo>
                      <a:pt x="11018" y="0"/>
                    </a:moveTo>
                    <a:lnTo>
                      <a:pt x="0" y="2034"/>
                    </a:lnTo>
                    <a:lnTo>
                      <a:pt x="1405" y="3549"/>
                    </a:lnTo>
                    <a:lnTo>
                      <a:pt x="12238" y="1331"/>
                    </a:lnTo>
                    <a:lnTo>
                      <a:pt x="1101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969;p53">
                <a:extLst>
                  <a:ext uri="{FF2B5EF4-FFF2-40B4-BE49-F238E27FC236}">
                    <a16:creationId xmlns:a16="http://schemas.microsoft.com/office/drawing/2014/main" id="{B7B40DAE-5563-4F96-802F-89E7F6521D83}"/>
                  </a:ext>
                </a:extLst>
              </p:cNvPr>
              <p:cNvSpPr/>
              <p:nvPr/>
            </p:nvSpPr>
            <p:spPr>
              <a:xfrm>
                <a:off x="7048263" y="2893420"/>
                <a:ext cx="66877" cy="36498"/>
              </a:xfrm>
              <a:custGeom>
                <a:avLst/>
                <a:gdLst/>
                <a:ahLst/>
                <a:cxnLst/>
                <a:rect l="l" t="t" r="r" b="b"/>
                <a:pathLst>
                  <a:path w="3661" h="1998" extrusionOk="0">
                    <a:moveTo>
                      <a:pt x="2256" y="1"/>
                    </a:moveTo>
                    <a:lnTo>
                      <a:pt x="0" y="407"/>
                    </a:lnTo>
                    <a:lnTo>
                      <a:pt x="1442" y="1997"/>
                    </a:lnTo>
                    <a:lnTo>
                      <a:pt x="3661" y="1516"/>
                    </a:lnTo>
                    <a:lnTo>
                      <a:pt x="225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970;p53">
                <a:extLst>
                  <a:ext uri="{FF2B5EF4-FFF2-40B4-BE49-F238E27FC236}">
                    <a16:creationId xmlns:a16="http://schemas.microsoft.com/office/drawing/2014/main" id="{DD810E9F-263D-48BF-B7FD-3F49C82F3E5E}"/>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971;p53">
                <a:extLst>
                  <a:ext uri="{FF2B5EF4-FFF2-40B4-BE49-F238E27FC236}">
                    <a16:creationId xmlns:a16="http://schemas.microsoft.com/office/drawing/2014/main" id="{6FDB3CB8-5641-4935-B474-A26952DD5333}"/>
                  </a:ext>
                </a:extLst>
              </p:cNvPr>
              <p:cNvSpPr/>
              <p:nvPr/>
            </p:nvSpPr>
            <p:spPr>
              <a:xfrm>
                <a:off x="7912042" y="1891082"/>
                <a:ext cx="224252" cy="381024"/>
              </a:xfrm>
              <a:custGeom>
                <a:avLst/>
                <a:gdLst/>
                <a:ahLst/>
                <a:cxnLst/>
                <a:rect l="l" t="t" r="r" b="b"/>
                <a:pathLst>
                  <a:path w="12276" h="20858" extrusionOk="0">
                    <a:moveTo>
                      <a:pt x="5806" y="1829"/>
                    </a:moveTo>
                    <a:cubicBezTo>
                      <a:pt x="6297" y="1829"/>
                      <a:pt x="6877" y="1932"/>
                      <a:pt x="7580" y="2113"/>
                    </a:cubicBezTo>
                    <a:lnTo>
                      <a:pt x="7321" y="3075"/>
                    </a:lnTo>
                    <a:lnTo>
                      <a:pt x="6508" y="2853"/>
                    </a:lnTo>
                    <a:cubicBezTo>
                      <a:pt x="6338" y="2794"/>
                      <a:pt x="6163" y="2766"/>
                      <a:pt x="5991" y="2766"/>
                    </a:cubicBezTo>
                    <a:cubicBezTo>
                      <a:pt x="5301" y="2766"/>
                      <a:pt x="4644" y="3215"/>
                      <a:pt x="4437" y="3925"/>
                    </a:cubicBezTo>
                    <a:lnTo>
                      <a:pt x="3291" y="7696"/>
                    </a:lnTo>
                    <a:cubicBezTo>
                      <a:pt x="2996" y="7696"/>
                      <a:pt x="2700" y="7844"/>
                      <a:pt x="2515" y="8029"/>
                    </a:cubicBezTo>
                    <a:lnTo>
                      <a:pt x="1960" y="7881"/>
                    </a:lnTo>
                    <a:cubicBezTo>
                      <a:pt x="3313" y="3381"/>
                      <a:pt x="3894" y="1829"/>
                      <a:pt x="5806" y="1829"/>
                    </a:cubicBezTo>
                    <a:close/>
                    <a:moveTo>
                      <a:pt x="9022" y="2557"/>
                    </a:moveTo>
                    <a:cubicBezTo>
                      <a:pt x="12201" y="3666"/>
                      <a:pt x="12164" y="4775"/>
                      <a:pt x="10464" y="10395"/>
                    </a:cubicBezTo>
                    <a:lnTo>
                      <a:pt x="9946" y="10247"/>
                    </a:lnTo>
                    <a:cubicBezTo>
                      <a:pt x="9872" y="9914"/>
                      <a:pt x="9650" y="9618"/>
                      <a:pt x="9318" y="9471"/>
                    </a:cubicBezTo>
                    <a:lnTo>
                      <a:pt x="9391" y="9360"/>
                    </a:lnTo>
                    <a:lnTo>
                      <a:pt x="10464" y="5737"/>
                    </a:lnTo>
                    <a:cubicBezTo>
                      <a:pt x="10759" y="4886"/>
                      <a:pt x="10279" y="3962"/>
                      <a:pt x="9428" y="3740"/>
                    </a:cubicBezTo>
                    <a:lnTo>
                      <a:pt x="8726" y="3518"/>
                    </a:lnTo>
                    <a:lnTo>
                      <a:pt x="9022" y="2557"/>
                    </a:lnTo>
                    <a:close/>
                    <a:moveTo>
                      <a:pt x="7915" y="0"/>
                    </a:moveTo>
                    <a:cubicBezTo>
                      <a:pt x="7823" y="0"/>
                      <a:pt x="7761" y="129"/>
                      <a:pt x="7728" y="228"/>
                    </a:cubicBezTo>
                    <a:lnTo>
                      <a:pt x="7654" y="413"/>
                    </a:lnTo>
                    <a:cubicBezTo>
                      <a:pt x="7617" y="524"/>
                      <a:pt x="7654" y="561"/>
                      <a:pt x="7765" y="598"/>
                    </a:cubicBezTo>
                    <a:lnTo>
                      <a:pt x="8024" y="672"/>
                    </a:lnTo>
                    <a:lnTo>
                      <a:pt x="7728" y="1670"/>
                    </a:lnTo>
                    <a:cubicBezTo>
                      <a:pt x="7038" y="1497"/>
                      <a:pt x="6421" y="1391"/>
                      <a:pt x="5869" y="1391"/>
                    </a:cubicBezTo>
                    <a:cubicBezTo>
                      <a:pt x="5119" y="1391"/>
                      <a:pt x="4489" y="1587"/>
                      <a:pt x="3957" y="2076"/>
                    </a:cubicBezTo>
                    <a:cubicBezTo>
                      <a:pt x="3069" y="2964"/>
                      <a:pt x="2404" y="4738"/>
                      <a:pt x="1554" y="7548"/>
                    </a:cubicBezTo>
                    <a:cubicBezTo>
                      <a:pt x="1517" y="7548"/>
                      <a:pt x="1480" y="7511"/>
                      <a:pt x="1443" y="7511"/>
                    </a:cubicBezTo>
                    <a:lnTo>
                      <a:pt x="1184" y="7437"/>
                    </a:lnTo>
                    <a:cubicBezTo>
                      <a:pt x="1136" y="7418"/>
                      <a:pt x="1084" y="7409"/>
                      <a:pt x="1030" y="7409"/>
                    </a:cubicBezTo>
                    <a:cubicBezTo>
                      <a:pt x="878" y="7409"/>
                      <a:pt x="721" y="7485"/>
                      <a:pt x="666" y="7622"/>
                    </a:cubicBezTo>
                    <a:lnTo>
                      <a:pt x="371" y="8583"/>
                    </a:lnTo>
                    <a:cubicBezTo>
                      <a:pt x="334" y="8731"/>
                      <a:pt x="518" y="8990"/>
                      <a:pt x="703" y="9027"/>
                    </a:cubicBezTo>
                    <a:lnTo>
                      <a:pt x="962" y="9101"/>
                    </a:lnTo>
                    <a:cubicBezTo>
                      <a:pt x="995" y="9114"/>
                      <a:pt x="1028" y="9120"/>
                      <a:pt x="1060" y="9120"/>
                    </a:cubicBezTo>
                    <a:cubicBezTo>
                      <a:pt x="1210" y="9120"/>
                      <a:pt x="1351" y="8988"/>
                      <a:pt x="1443" y="8805"/>
                    </a:cubicBezTo>
                    <a:lnTo>
                      <a:pt x="2219" y="9027"/>
                    </a:lnTo>
                    <a:cubicBezTo>
                      <a:pt x="2108" y="9323"/>
                      <a:pt x="2219" y="9618"/>
                      <a:pt x="2441" y="9803"/>
                    </a:cubicBezTo>
                    <a:lnTo>
                      <a:pt x="2182" y="10691"/>
                    </a:lnTo>
                    <a:lnTo>
                      <a:pt x="1923" y="11578"/>
                    </a:lnTo>
                    <a:lnTo>
                      <a:pt x="1702" y="12280"/>
                    </a:lnTo>
                    <a:lnTo>
                      <a:pt x="1443" y="13168"/>
                    </a:lnTo>
                    <a:lnTo>
                      <a:pt x="1258" y="13870"/>
                    </a:lnTo>
                    <a:lnTo>
                      <a:pt x="962" y="14757"/>
                    </a:lnTo>
                    <a:lnTo>
                      <a:pt x="777" y="15423"/>
                    </a:lnTo>
                    <a:lnTo>
                      <a:pt x="518" y="16347"/>
                    </a:lnTo>
                    <a:lnTo>
                      <a:pt x="260" y="17160"/>
                    </a:lnTo>
                    <a:cubicBezTo>
                      <a:pt x="1" y="18122"/>
                      <a:pt x="334" y="19157"/>
                      <a:pt x="1110" y="19785"/>
                    </a:cubicBezTo>
                    <a:lnTo>
                      <a:pt x="1849" y="20155"/>
                    </a:lnTo>
                    <a:cubicBezTo>
                      <a:pt x="1886" y="20155"/>
                      <a:pt x="1960" y="20155"/>
                      <a:pt x="1997" y="20192"/>
                    </a:cubicBezTo>
                    <a:lnTo>
                      <a:pt x="2552" y="20340"/>
                    </a:lnTo>
                    <a:lnTo>
                      <a:pt x="3291" y="20599"/>
                    </a:lnTo>
                    <a:lnTo>
                      <a:pt x="3809" y="20747"/>
                    </a:lnTo>
                    <a:cubicBezTo>
                      <a:pt x="3846" y="20747"/>
                      <a:pt x="3883" y="20784"/>
                      <a:pt x="3957" y="20784"/>
                    </a:cubicBezTo>
                    <a:lnTo>
                      <a:pt x="4770" y="20858"/>
                    </a:lnTo>
                    <a:cubicBezTo>
                      <a:pt x="5768" y="20784"/>
                      <a:pt x="6619" y="20081"/>
                      <a:pt x="6914" y="19120"/>
                    </a:cubicBezTo>
                    <a:lnTo>
                      <a:pt x="7173" y="18307"/>
                    </a:lnTo>
                    <a:lnTo>
                      <a:pt x="7432" y="17419"/>
                    </a:lnTo>
                    <a:lnTo>
                      <a:pt x="7654" y="16754"/>
                    </a:lnTo>
                    <a:lnTo>
                      <a:pt x="7876" y="15830"/>
                    </a:lnTo>
                    <a:lnTo>
                      <a:pt x="8097" y="15164"/>
                    </a:lnTo>
                    <a:lnTo>
                      <a:pt x="8356" y="14277"/>
                    </a:lnTo>
                    <a:lnTo>
                      <a:pt x="8578" y="13574"/>
                    </a:lnTo>
                    <a:lnTo>
                      <a:pt x="8837" y="12687"/>
                    </a:lnTo>
                    <a:lnTo>
                      <a:pt x="9096" y="11763"/>
                    </a:lnTo>
                    <a:cubicBezTo>
                      <a:pt x="9354" y="11726"/>
                      <a:pt x="9465" y="11652"/>
                      <a:pt x="9613" y="11245"/>
                    </a:cubicBezTo>
                    <a:lnTo>
                      <a:pt x="10390" y="11504"/>
                    </a:lnTo>
                    <a:cubicBezTo>
                      <a:pt x="10353" y="11689"/>
                      <a:pt x="10427" y="11948"/>
                      <a:pt x="10611" y="11985"/>
                    </a:cubicBezTo>
                    <a:lnTo>
                      <a:pt x="10870" y="12059"/>
                    </a:lnTo>
                    <a:cubicBezTo>
                      <a:pt x="10904" y="12072"/>
                      <a:pt x="10937" y="12078"/>
                      <a:pt x="10969" y="12078"/>
                    </a:cubicBezTo>
                    <a:cubicBezTo>
                      <a:pt x="11117" y="12078"/>
                      <a:pt x="11247" y="11951"/>
                      <a:pt x="11277" y="11800"/>
                    </a:cubicBezTo>
                    <a:lnTo>
                      <a:pt x="11573" y="10838"/>
                    </a:lnTo>
                    <a:cubicBezTo>
                      <a:pt x="11647" y="10691"/>
                      <a:pt x="11536" y="10506"/>
                      <a:pt x="11351" y="10469"/>
                    </a:cubicBezTo>
                    <a:lnTo>
                      <a:pt x="11092" y="10358"/>
                    </a:lnTo>
                    <a:lnTo>
                      <a:pt x="10981" y="10358"/>
                    </a:lnTo>
                    <a:cubicBezTo>
                      <a:pt x="11832" y="7585"/>
                      <a:pt x="12275" y="5737"/>
                      <a:pt x="11979" y="4480"/>
                    </a:cubicBezTo>
                    <a:cubicBezTo>
                      <a:pt x="11684" y="3223"/>
                      <a:pt x="10722" y="2631"/>
                      <a:pt x="9133" y="2113"/>
                    </a:cubicBezTo>
                    <a:lnTo>
                      <a:pt x="9428" y="1115"/>
                    </a:lnTo>
                    <a:lnTo>
                      <a:pt x="9650" y="1189"/>
                    </a:lnTo>
                    <a:cubicBezTo>
                      <a:pt x="9761" y="1189"/>
                      <a:pt x="9872" y="1189"/>
                      <a:pt x="9872" y="1078"/>
                    </a:cubicBezTo>
                    <a:lnTo>
                      <a:pt x="9946" y="893"/>
                    </a:lnTo>
                    <a:cubicBezTo>
                      <a:pt x="9983" y="782"/>
                      <a:pt x="9946" y="598"/>
                      <a:pt x="9835" y="561"/>
                    </a:cubicBezTo>
                    <a:lnTo>
                      <a:pt x="7950" y="6"/>
                    </a:lnTo>
                    <a:cubicBezTo>
                      <a:pt x="7938" y="2"/>
                      <a:pt x="7926" y="0"/>
                      <a:pt x="7915" y="0"/>
                    </a:cubicBez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972;p53">
                <a:extLst>
                  <a:ext uri="{FF2B5EF4-FFF2-40B4-BE49-F238E27FC236}">
                    <a16:creationId xmlns:a16="http://schemas.microsoft.com/office/drawing/2014/main" id="{06605848-10B8-4131-9411-E5FBE34A7502}"/>
                  </a:ext>
                </a:extLst>
              </p:cNvPr>
              <p:cNvSpPr/>
              <p:nvPr/>
            </p:nvSpPr>
            <p:spPr>
              <a:xfrm>
                <a:off x="7951226" y="2030883"/>
                <a:ext cx="145208" cy="74257"/>
              </a:xfrm>
              <a:custGeom>
                <a:avLst/>
                <a:gdLst/>
                <a:ahLst/>
                <a:cxnLst/>
                <a:rect l="l" t="t" r="r" b="b"/>
                <a:pathLst>
                  <a:path w="7949" h="4065" extrusionOk="0">
                    <a:moveTo>
                      <a:pt x="887" y="1411"/>
                    </a:moveTo>
                    <a:lnTo>
                      <a:pt x="6803" y="3185"/>
                    </a:lnTo>
                    <a:cubicBezTo>
                      <a:pt x="6978" y="3291"/>
                      <a:pt x="6921" y="3595"/>
                      <a:pt x="6694" y="3595"/>
                    </a:cubicBezTo>
                    <a:cubicBezTo>
                      <a:pt x="6681" y="3595"/>
                      <a:pt x="6668" y="3594"/>
                      <a:pt x="6655" y="3592"/>
                    </a:cubicBezTo>
                    <a:lnTo>
                      <a:pt x="740" y="1818"/>
                    </a:lnTo>
                    <a:cubicBezTo>
                      <a:pt x="666" y="1781"/>
                      <a:pt x="592" y="1670"/>
                      <a:pt x="629" y="1559"/>
                    </a:cubicBezTo>
                    <a:cubicBezTo>
                      <a:pt x="666" y="1485"/>
                      <a:pt x="777" y="1411"/>
                      <a:pt x="887" y="1411"/>
                    </a:cubicBezTo>
                    <a:close/>
                    <a:moveTo>
                      <a:pt x="1076" y="1"/>
                    </a:moveTo>
                    <a:cubicBezTo>
                      <a:pt x="728" y="1"/>
                      <a:pt x="422" y="233"/>
                      <a:pt x="333" y="561"/>
                    </a:cubicBezTo>
                    <a:lnTo>
                      <a:pt x="111" y="1263"/>
                    </a:lnTo>
                    <a:cubicBezTo>
                      <a:pt x="0" y="1670"/>
                      <a:pt x="222" y="2113"/>
                      <a:pt x="666" y="2224"/>
                    </a:cubicBezTo>
                    <a:lnTo>
                      <a:pt x="6618" y="4036"/>
                    </a:lnTo>
                    <a:cubicBezTo>
                      <a:pt x="6688" y="4055"/>
                      <a:pt x="6760" y="4064"/>
                      <a:pt x="6831" y="4064"/>
                    </a:cubicBezTo>
                    <a:cubicBezTo>
                      <a:pt x="7168" y="4064"/>
                      <a:pt x="7487" y="3854"/>
                      <a:pt x="7579" y="3518"/>
                    </a:cubicBezTo>
                    <a:lnTo>
                      <a:pt x="7801" y="2779"/>
                    </a:lnTo>
                    <a:cubicBezTo>
                      <a:pt x="7949" y="2372"/>
                      <a:pt x="7690" y="1928"/>
                      <a:pt x="7283" y="1818"/>
                    </a:cubicBezTo>
                    <a:lnTo>
                      <a:pt x="1331" y="43"/>
                    </a:lnTo>
                    <a:cubicBezTo>
                      <a:pt x="1245" y="14"/>
                      <a:pt x="1159" y="1"/>
                      <a:pt x="10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973;p53">
                <a:extLst>
                  <a:ext uri="{FF2B5EF4-FFF2-40B4-BE49-F238E27FC236}">
                    <a16:creationId xmlns:a16="http://schemas.microsoft.com/office/drawing/2014/main" id="{AF60396C-E549-4F57-B7B3-2F08DD24DD98}"/>
                  </a:ext>
                </a:extLst>
              </p:cNvPr>
              <p:cNvSpPr/>
              <p:nvPr/>
            </p:nvSpPr>
            <p:spPr>
              <a:xfrm>
                <a:off x="7971484" y="1942268"/>
                <a:ext cx="137116" cy="119798"/>
              </a:xfrm>
              <a:custGeom>
                <a:avLst/>
                <a:gdLst/>
                <a:ahLst/>
                <a:cxnLst/>
                <a:rect l="l" t="t" r="r" b="b"/>
                <a:pathLst>
                  <a:path w="7506" h="6558" extrusionOk="0">
                    <a:moveTo>
                      <a:pt x="4622" y="1123"/>
                    </a:moveTo>
                    <a:lnTo>
                      <a:pt x="4843" y="1197"/>
                    </a:lnTo>
                    <a:cubicBezTo>
                      <a:pt x="5620" y="1382"/>
                      <a:pt x="6100" y="2121"/>
                      <a:pt x="5916" y="2898"/>
                    </a:cubicBezTo>
                    <a:lnTo>
                      <a:pt x="4991" y="5929"/>
                    </a:lnTo>
                    <a:lnTo>
                      <a:pt x="3956" y="5670"/>
                    </a:lnTo>
                    <a:lnTo>
                      <a:pt x="4880" y="2528"/>
                    </a:lnTo>
                    <a:cubicBezTo>
                      <a:pt x="5065" y="2047"/>
                      <a:pt x="4954" y="1493"/>
                      <a:pt x="4622" y="1123"/>
                    </a:cubicBezTo>
                    <a:close/>
                    <a:moveTo>
                      <a:pt x="2737" y="1"/>
                    </a:moveTo>
                    <a:cubicBezTo>
                      <a:pt x="2047" y="1"/>
                      <a:pt x="1390" y="450"/>
                      <a:pt x="1183" y="1160"/>
                    </a:cubicBezTo>
                    <a:lnTo>
                      <a:pt x="0" y="5079"/>
                    </a:lnTo>
                    <a:lnTo>
                      <a:pt x="6137" y="6558"/>
                    </a:lnTo>
                    <a:lnTo>
                      <a:pt x="7210" y="2971"/>
                    </a:lnTo>
                    <a:cubicBezTo>
                      <a:pt x="7505" y="2121"/>
                      <a:pt x="7025" y="1197"/>
                      <a:pt x="6174" y="938"/>
                    </a:cubicBezTo>
                    <a:lnTo>
                      <a:pt x="3254" y="88"/>
                    </a:lnTo>
                    <a:cubicBezTo>
                      <a:pt x="3084" y="29"/>
                      <a:pt x="2909" y="1"/>
                      <a:pt x="273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974;p53">
                <a:extLst>
                  <a:ext uri="{FF2B5EF4-FFF2-40B4-BE49-F238E27FC236}">
                    <a16:creationId xmlns:a16="http://schemas.microsoft.com/office/drawing/2014/main" id="{0FE5A1CB-2AD1-4F7B-B7A8-26A1DED1A3A4}"/>
                  </a:ext>
                </a:extLst>
              </p:cNvPr>
              <p:cNvSpPr/>
              <p:nvPr/>
            </p:nvSpPr>
            <p:spPr>
              <a:xfrm>
                <a:off x="8045103" y="1899960"/>
                <a:ext cx="40536" cy="55405"/>
              </a:xfrm>
              <a:custGeom>
                <a:avLst/>
                <a:gdLst/>
                <a:ahLst/>
                <a:cxnLst/>
                <a:rect l="l" t="t" r="r" b="b"/>
                <a:pathLst>
                  <a:path w="2219" h="3033" extrusionOk="0">
                    <a:moveTo>
                      <a:pt x="813" y="1"/>
                    </a:moveTo>
                    <a:lnTo>
                      <a:pt x="0" y="2626"/>
                    </a:lnTo>
                    <a:lnTo>
                      <a:pt x="1442" y="3032"/>
                    </a:lnTo>
                    <a:lnTo>
                      <a:pt x="2218" y="407"/>
                    </a:lnTo>
                    <a:lnTo>
                      <a:pt x="81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975;p53">
                <a:extLst>
                  <a:ext uri="{FF2B5EF4-FFF2-40B4-BE49-F238E27FC236}">
                    <a16:creationId xmlns:a16="http://schemas.microsoft.com/office/drawing/2014/main" id="{74B78E5A-87EA-4344-88B8-9A8CA2444848}"/>
                  </a:ext>
                </a:extLst>
              </p:cNvPr>
              <p:cNvSpPr/>
              <p:nvPr/>
            </p:nvSpPr>
            <p:spPr>
              <a:xfrm>
                <a:off x="8085620" y="2077575"/>
                <a:ext cx="27712" cy="25008"/>
              </a:xfrm>
              <a:custGeom>
                <a:avLst/>
                <a:gdLst/>
                <a:ahLst/>
                <a:cxnLst/>
                <a:rect l="l" t="t" r="r" b="b"/>
                <a:pathLst>
                  <a:path w="1517" h="1369" extrusionOk="0">
                    <a:moveTo>
                      <a:pt x="296" y="1"/>
                    </a:moveTo>
                    <a:lnTo>
                      <a:pt x="0" y="999"/>
                    </a:lnTo>
                    <a:lnTo>
                      <a:pt x="1220" y="1369"/>
                    </a:lnTo>
                    <a:lnTo>
                      <a:pt x="1516" y="371"/>
                    </a:lnTo>
                    <a:lnTo>
                      <a:pt x="296"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976;p53">
                <a:extLst>
                  <a:ext uri="{FF2B5EF4-FFF2-40B4-BE49-F238E27FC236}">
                    <a16:creationId xmlns:a16="http://schemas.microsoft.com/office/drawing/2014/main" id="{D78C3F32-4647-4B54-98BC-324DDDE44D18}"/>
                  </a:ext>
                </a:extLst>
              </p:cNvPr>
              <p:cNvSpPr/>
              <p:nvPr/>
            </p:nvSpPr>
            <p:spPr>
              <a:xfrm>
                <a:off x="8102499" y="2080863"/>
                <a:ext cx="22305" cy="30178"/>
              </a:xfrm>
              <a:custGeom>
                <a:avLst/>
                <a:gdLst/>
                <a:ahLst/>
                <a:cxnLst/>
                <a:rect l="l" t="t" r="r" b="b"/>
                <a:pathLst>
                  <a:path w="1221" h="1652" extrusionOk="0">
                    <a:moveTo>
                      <a:pt x="772" y="0"/>
                    </a:moveTo>
                    <a:cubicBezTo>
                      <a:pt x="542" y="0"/>
                      <a:pt x="330" y="143"/>
                      <a:pt x="296" y="376"/>
                    </a:cubicBezTo>
                    <a:lnTo>
                      <a:pt x="112" y="1041"/>
                    </a:lnTo>
                    <a:cubicBezTo>
                      <a:pt x="1" y="1300"/>
                      <a:pt x="112" y="1559"/>
                      <a:pt x="370" y="1633"/>
                    </a:cubicBezTo>
                    <a:cubicBezTo>
                      <a:pt x="409" y="1645"/>
                      <a:pt x="449" y="1652"/>
                      <a:pt x="488" y="1652"/>
                    </a:cubicBezTo>
                    <a:cubicBezTo>
                      <a:pt x="676" y="1652"/>
                      <a:pt x="857" y="1514"/>
                      <a:pt x="888" y="1300"/>
                    </a:cubicBezTo>
                    <a:lnTo>
                      <a:pt x="1110" y="597"/>
                    </a:lnTo>
                    <a:cubicBezTo>
                      <a:pt x="1221" y="376"/>
                      <a:pt x="1073" y="117"/>
                      <a:pt x="851" y="6"/>
                    </a:cubicBezTo>
                    <a:cubicBezTo>
                      <a:pt x="825" y="2"/>
                      <a:pt x="798" y="0"/>
                      <a:pt x="77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977;p53">
                <a:extLst>
                  <a:ext uri="{FF2B5EF4-FFF2-40B4-BE49-F238E27FC236}">
                    <a16:creationId xmlns:a16="http://schemas.microsoft.com/office/drawing/2014/main" id="{D32116E7-05A5-43D4-9F48-24B878A44643}"/>
                  </a:ext>
                </a:extLst>
              </p:cNvPr>
              <p:cNvSpPr/>
              <p:nvPr/>
            </p:nvSpPr>
            <p:spPr>
              <a:xfrm>
                <a:off x="8061982" y="1924274"/>
                <a:ext cx="75664" cy="163458"/>
              </a:xfrm>
              <a:custGeom>
                <a:avLst/>
                <a:gdLst/>
                <a:ahLst/>
                <a:cxnLst/>
                <a:rect l="l" t="t" r="r" b="b"/>
                <a:pathLst>
                  <a:path w="4142" h="8948" extrusionOk="0">
                    <a:moveTo>
                      <a:pt x="148" y="1"/>
                    </a:moveTo>
                    <a:lnTo>
                      <a:pt x="0" y="481"/>
                    </a:lnTo>
                    <a:cubicBezTo>
                      <a:pt x="4030" y="1701"/>
                      <a:pt x="4104" y="2552"/>
                      <a:pt x="2219" y="8800"/>
                    </a:cubicBezTo>
                    <a:lnTo>
                      <a:pt x="2699" y="8948"/>
                    </a:lnTo>
                    <a:cubicBezTo>
                      <a:pt x="3587" y="5916"/>
                      <a:pt x="4141" y="3956"/>
                      <a:pt x="3845" y="2663"/>
                    </a:cubicBezTo>
                    <a:cubicBezTo>
                      <a:pt x="3476" y="1258"/>
                      <a:pt x="2145" y="629"/>
                      <a:pt x="14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978;p53">
                <a:extLst>
                  <a:ext uri="{FF2B5EF4-FFF2-40B4-BE49-F238E27FC236}">
                    <a16:creationId xmlns:a16="http://schemas.microsoft.com/office/drawing/2014/main" id="{1724685C-AF94-4049-AD25-181EF76ECD0D}"/>
                  </a:ext>
                </a:extLst>
              </p:cNvPr>
              <p:cNvSpPr/>
              <p:nvPr/>
            </p:nvSpPr>
            <p:spPr>
              <a:xfrm>
                <a:off x="7930291" y="2031651"/>
                <a:ext cx="31749" cy="25684"/>
              </a:xfrm>
              <a:custGeom>
                <a:avLst/>
                <a:gdLst/>
                <a:ahLst/>
                <a:cxnLst/>
                <a:rect l="l" t="t" r="r" b="b"/>
                <a:pathLst>
                  <a:path w="1738" h="1406" extrusionOk="0">
                    <a:moveTo>
                      <a:pt x="333" y="1"/>
                    </a:moveTo>
                    <a:lnTo>
                      <a:pt x="0" y="999"/>
                    </a:lnTo>
                    <a:lnTo>
                      <a:pt x="1442" y="1406"/>
                    </a:lnTo>
                    <a:lnTo>
                      <a:pt x="1738" y="408"/>
                    </a:lnTo>
                    <a:lnTo>
                      <a:pt x="33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979;p53">
                <a:extLst>
                  <a:ext uri="{FF2B5EF4-FFF2-40B4-BE49-F238E27FC236}">
                    <a16:creationId xmlns:a16="http://schemas.microsoft.com/office/drawing/2014/main" id="{9AB5C3D3-5F8C-4229-AAD9-D3F73B7E05F8}"/>
                  </a:ext>
                </a:extLst>
              </p:cNvPr>
              <p:cNvSpPr/>
              <p:nvPr/>
            </p:nvSpPr>
            <p:spPr>
              <a:xfrm>
                <a:off x="7918125" y="2027193"/>
                <a:ext cx="24332" cy="30141"/>
              </a:xfrm>
              <a:custGeom>
                <a:avLst/>
                <a:gdLst/>
                <a:ahLst/>
                <a:cxnLst/>
                <a:rect l="l" t="t" r="r" b="b"/>
                <a:pathLst>
                  <a:path w="1332" h="1650" extrusionOk="0">
                    <a:moveTo>
                      <a:pt x="712" y="1"/>
                    </a:moveTo>
                    <a:cubicBezTo>
                      <a:pt x="531" y="1"/>
                      <a:pt x="355" y="113"/>
                      <a:pt x="296" y="319"/>
                    </a:cubicBezTo>
                    <a:lnTo>
                      <a:pt x="75" y="1021"/>
                    </a:lnTo>
                    <a:cubicBezTo>
                      <a:pt x="1" y="1280"/>
                      <a:pt x="149" y="1539"/>
                      <a:pt x="407" y="1613"/>
                    </a:cubicBezTo>
                    <a:lnTo>
                      <a:pt x="481" y="1650"/>
                    </a:lnTo>
                    <a:lnTo>
                      <a:pt x="481" y="1613"/>
                    </a:lnTo>
                    <a:cubicBezTo>
                      <a:pt x="521" y="1626"/>
                      <a:pt x="561" y="1632"/>
                      <a:pt x="601" y="1632"/>
                    </a:cubicBezTo>
                    <a:cubicBezTo>
                      <a:pt x="789" y="1632"/>
                      <a:pt x="975" y="1500"/>
                      <a:pt x="1036" y="1317"/>
                    </a:cubicBezTo>
                    <a:lnTo>
                      <a:pt x="1258" y="615"/>
                    </a:lnTo>
                    <a:cubicBezTo>
                      <a:pt x="1332" y="356"/>
                      <a:pt x="1184" y="97"/>
                      <a:pt x="962" y="23"/>
                    </a:cubicBezTo>
                    <a:lnTo>
                      <a:pt x="851" y="23"/>
                    </a:lnTo>
                    <a:cubicBezTo>
                      <a:pt x="806" y="8"/>
                      <a:pt x="759" y="1"/>
                      <a:pt x="7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980;p53">
                <a:extLst>
                  <a:ext uri="{FF2B5EF4-FFF2-40B4-BE49-F238E27FC236}">
                    <a16:creationId xmlns:a16="http://schemas.microsoft.com/office/drawing/2014/main" id="{5AA6C851-3842-4C73-AA84-8D91B1AE2AD4}"/>
                  </a:ext>
                </a:extLst>
              </p:cNvPr>
              <p:cNvSpPr/>
              <p:nvPr/>
            </p:nvSpPr>
            <p:spPr>
              <a:xfrm>
                <a:off x="7938384" y="1916091"/>
                <a:ext cx="129699" cy="122337"/>
              </a:xfrm>
              <a:custGeom>
                <a:avLst/>
                <a:gdLst/>
                <a:ahLst/>
                <a:cxnLst/>
                <a:rect l="l" t="t" r="r" b="b"/>
                <a:pathLst>
                  <a:path w="7100" h="6697" extrusionOk="0">
                    <a:moveTo>
                      <a:pt x="4380" y="0"/>
                    </a:moveTo>
                    <a:cubicBezTo>
                      <a:pt x="3628" y="0"/>
                      <a:pt x="3038" y="203"/>
                      <a:pt x="2552" y="670"/>
                    </a:cubicBezTo>
                    <a:cubicBezTo>
                      <a:pt x="1554" y="1595"/>
                      <a:pt x="925" y="3517"/>
                      <a:pt x="1" y="6549"/>
                    </a:cubicBezTo>
                    <a:lnTo>
                      <a:pt x="444" y="6697"/>
                    </a:lnTo>
                    <a:cubicBezTo>
                      <a:pt x="1839" y="2075"/>
                      <a:pt x="2425" y="467"/>
                      <a:pt x="4341" y="467"/>
                    </a:cubicBezTo>
                    <a:cubicBezTo>
                      <a:pt x="5015" y="467"/>
                      <a:pt x="5854" y="666"/>
                      <a:pt x="6951" y="1003"/>
                    </a:cubicBezTo>
                    <a:lnTo>
                      <a:pt x="7099" y="523"/>
                    </a:lnTo>
                    <a:cubicBezTo>
                      <a:pt x="6003" y="194"/>
                      <a:pt x="5114" y="0"/>
                      <a:pt x="438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981;p53">
                <a:extLst>
                  <a:ext uri="{FF2B5EF4-FFF2-40B4-BE49-F238E27FC236}">
                    <a16:creationId xmlns:a16="http://schemas.microsoft.com/office/drawing/2014/main" id="{1EBE597A-0083-4F73-9517-8A28B497642A}"/>
                  </a:ext>
                </a:extLst>
              </p:cNvPr>
              <p:cNvSpPr/>
              <p:nvPr/>
            </p:nvSpPr>
            <p:spPr>
              <a:xfrm>
                <a:off x="8052519" y="1891429"/>
                <a:ext cx="41887" cy="20460"/>
              </a:xfrm>
              <a:custGeom>
                <a:avLst/>
                <a:gdLst/>
                <a:ahLst/>
                <a:cxnLst/>
                <a:rect l="l" t="t" r="r" b="b"/>
                <a:pathLst>
                  <a:path w="2293" h="1120" extrusionOk="0">
                    <a:moveTo>
                      <a:pt x="307" y="0"/>
                    </a:moveTo>
                    <a:cubicBezTo>
                      <a:pt x="186" y="0"/>
                      <a:pt x="67" y="93"/>
                      <a:pt x="38" y="209"/>
                    </a:cubicBezTo>
                    <a:lnTo>
                      <a:pt x="38" y="246"/>
                    </a:lnTo>
                    <a:cubicBezTo>
                      <a:pt x="1" y="394"/>
                      <a:pt x="75" y="579"/>
                      <a:pt x="223" y="616"/>
                    </a:cubicBezTo>
                    <a:lnTo>
                      <a:pt x="1886" y="1096"/>
                    </a:lnTo>
                    <a:cubicBezTo>
                      <a:pt x="1919" y="1112"/>
                      <a:pt x="1953" y="1120"/>
                      <a:pt x="1987" y="1120"/>
                    </a:cubicBezTo>
                    <a:cubicBezTo>
                      <a:pt x="2108" y="1120"/>
                      <a:pt x="2227" y="1027"/>
                      <a:pt x="2256" y="911"/>
                    </a:cubicBezTo>
                    <a:lnTo>
                      <a:pt x="2256" y="874"/>
                    </a:lnTo>
                    <a:cubicBezTo>
                      <a:pt x="2293" y="726"/>
                      <a:pt x="2219" y="542"/>
                      <a:pt x="2034" y="505"/>
                    </a:cubicBezTo>
                    <a:lnTo>
                      <a:pt x="407" y="24"/>
                    </a:lnTo>
                    <a:cubicBezTo>
                      <a:pt x="375" y="8"/>
                      <a:pt x="341" y="0"/>
                      <a:pt x="3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982;p53">
                <a:extLst>
                  <a:ext uri="{FF2B5EF4-FFF2-40B4-BE49-F238E27FC236}">
                    <a16:creationId xmlns:a16="http://schemas.microsoft.com/office/drawing/2014/main" id="{DE50B14B-7B58-4EAC-AB16-FB02E44048B1}"/>
                  </a:ext>
                </a:extLst>
              </p:cNvPr>
              <p:cNvSpPr/>
              <p:nvPr/>
            </p:nvSpPr>
            <p:spPr>
              <a:xfrm>
                <a:off x="7911366" y="2065427"/>
                <a:ext cx="168189" cy="206678"/>
              </a:xfrm>
              <a:custGeom>
                <a:avLst/>
                <a:gdLst/>
                <a:ahLst/>
                <a:cxnLst/>
                <a:rect l="l" t="t" r="r" b="b"/>
                <a:pathLst>
                  <a:path w="9207" h="11314" extrusionOk="0">
                    <a:moveTo>
                      <a:pt x="2552" y="1"/>
                    </a:moveTo>
                    <a:lnTo>
                      <a:pt x="2182" y="1221"/>
                    </a:lnTo>
                    <a:lnTo>
                      <a:pt x="3883" y="1775"/>
                    </a:lnTo>
                    <a:cubicBezTo>
                      <a:pt x="4409" y="1874"/>
                      <a:pt x="4262" y="2587"/>
                      <a:pt x="3833" y="2587"/>
                    </a:cubicBezTo>
                    <a:cubicBezTo>
                      <a:pt x="3780" y="2587"/>
                      <a:pt x="3722" y="2576"/>
                      <a:pt x="3661" y="2551"/>
                    </a:cubicBezTo>
                    <a:lnTo>
                      <a:pt x="1923" y="2034"/>
                    </a:lnTo>
                    <a:lnTo>
                      <a:pt x="1776" y="2662"/>
                    </a:lnTo>
                    <a:lnTo>
                      <a:pt x="3476" y="3180"/>
                    </a:lnTo>
                    <a:cubicBezTo>
                      <a:pt x="4007" y="3428"/>
                      <a:pt x="3793" y="4183"/>
                      <a:pt x="3255" y="4183"/>
                    </a:cubicBezTo>
                    <a:cubicBezTo>
                      <a:pt x="3231" y="4183"/>
                      <a:pt x="3206" y="4181"/>
                      <a:pt x="3180" y="4178"/>
                    </a:cubicBezTo>
                    <a:lnTo>
                      <a:pt x="1443" y="3661"/>
                    </a:lnTo>
                    <a:lnTo>
                      <a:pt x="1258" y="4289"/>
                    </a:lnTo>
                    <a:lnTo>
                      <a:pt x="2996" y="4770"/>
                    </a:lnTo>
                    <a:cubicBezTo>
                      <a:pt x="3527" y="5018"/>
                      <a:pt x="3311" y="5809"/>
                      <a:pt x="2739" y="5809"/>
                    </a:cubicBezTo>
                    <a:cubicBezTo>
                      <a:pt x="2714" y="5809"/>
                      <a:pt x="2689" y="5808"/>
                      <a:pt x="2663" y="5805"/>
                    </a:cubicBezTo>
                    <a:lnTo>
                      <a:pt x="999" y="5287"/>
                    </a:lnTo>
                    <a:lnTo>
                      <a:pt x="814" y="5879"/>
                    </a:lnTo>
                    <a:lnTo>
                      <a:pt x="2515" y="6396"/>
                    </a:lnTo>
                    <a:cubicBezTo>
                      <a:pt x="2774" y="6433"/>
                      <a:pt x="2922" y="6692"/>
                      <a:pt x="2848" y="6951"/>
                    </a:cubicBezTo>
                    <a:cubicBezTo>
                      <a:pt x="2789" y="7127"/>
                      <a:pt x="2615" y="7233"/>
                      <a:pt x="2435" y="7233"/>
                    </a:cubicBezTo>
                    <a:cubicBezTo>
                      <a:pt x="2387" y="7233"/>
                      <a:pt x="2339" y="7225"/>
                      <a:pt x="2293" y="7210"/>
                    </a:cubicBezTo>
                    <a:lnTo>
                      <a:pt x="555" y="6692"/>
                    </a:lnTo>
                    <a:lnTo>
                      <a:pt x="297" y="7616"/>
                    </a:lnTo>
                    <a:cubicBezTo>
                      <a:pt x="1" y="8615"/>
                      <a:pt x="371" y="9724"/>
                      <a:pt x="1258" y="10278"/>
                    </a:cubicBezTo>
                    <a:lnTo>
                      <a:pt x="1591" y="9132"/>
                    </a:lnTo>
                    <a:cubicBezTo>
                      <a:pt x="1651" y="8981"/>
                      <a:pt x="1762" y="8854"/>
                      <a:pt x="1901" y="8854"/>
                    </a:cubicBezTo>
                    <a:cubicBezTo>
                      <a:pt x="1932" y="8854"/>
                      <a:pt x="1964" y="8860"/>
                      <a:pt x="1997" y="8873"/>
                    </a:cubicBezTo>
                    <a:cubicBezTo>
                      <a:pt x="2219" y="8910"/>
                      <a:pt x="2256" y="9132"/>
                      <a:pt x="2219" y="9317"/>
                    </a:cubicBezTo>
                    <a:lnTo>
                      <a:pt x="1812" y="10648"/>
                    </a:lnTo>
                    <a:cubicBezTo>
                      <a:pt x="1886" y="10648"/>
                      <a:pt x="1960" y="10685"/>
                      <a:pt x="2034" y="10685"/>
                    </a:cubicBezTo>
                    <a:lnTo>
                      <a:pt x="2626" y="10833"/>
                    </a:lnTo>
                    <a:lnTo>
                      <a:pt x="2996" y="9576"/>
                    </a:lnTo>
                    <a:cubicBezTo>
                      <a:pt x="3056" y="9393"/>
                      <a:pt x="3167" y="9261"/>
                      <a:pt x="3308" y="9261"/>
                    </a:cubicBezTo>
                    <a:cubicBezTo>
                      <a:pt x="3338" y="9261"/>
                      <a:pt x="3369" y="9267"/>
                      <a:pt x="3402" y="9280"/>
                    </a:cubicBezTo>
                    <a:cubicBezTo>
                      <a:pt x="3624" y="9354"/>
                      <a:pt x="3661" y="9539"/>
                      <a:pt x="3624" y="9761"/>
                    </a:cubicBezTo>
                    <a:lnTo>
                      <a:pt x="3217" y="11018"/>
                    </a:lnTo>
                    <a:lnTo>
                      <a:pt x="3846" y="11203"/>
                    </a:lnTo>
                    <a:cubicBezTo>
                      <a:pt x="3883" y="11203"/>
                      <a:pt x="4031" y="11314"/>
                      <a:pt x="4031" y="11314"/>
                    </a:cubicBezTo>
                    <a:lnTo>
                      <a:pt x="4437" y="9983"/>
                    </a:lnTo>
                    <a:cubicBezTo>
                      <a:pt x="4468" y="9831"/>
                      <a:pt x="4573" y="9704"/>
                      <a:pt x="4732" y="9704"/>
                    </a:cubicBezTo>
                    <a:cubicBezTo>
                      <a:pt x="4767" y="9704"/>
                      <a:pt x="4804" y="9710"/>
                      <a:pt x="4844" y="9724"/>
                    </a:cubicBezTo>
                    <a:cubicBezTo>
                      <a:pt x="5029" y="9761"/>
                      <a:pt x="5103" y="9983"/>
                      <a:pt x="5029" y="10167"/>
                    </a:cubicBezTo>
                    <a:lnTo>
                      <a:pt x="4696" y="11314"/>
                    </a:lnTo>
                    <a:cubicBezTo>
                      <a:pt x="5731" y="11314"/>
                      <a:pt x="6656" y="10611"/>
                      <a:pt x="6951" y="9613"/>
                    </a:cubicBezTo>
                    <a:lnTo>
                      <a:pt x="7210" y="8689"/>
                    </a:lnTo>
                    <a:lnTo>
                      <a:pt x="5547" y="8208"/>
                    </a:lnTo>
                    <a:cubicBezTo>
                      <a:pt x="5288" y="8134"/>
                      <a:pt x="5140" y="7875"/>
                      <a:pt x="5214" y="7653"/>
                    </a:cubicBezTo>
                    <a:cubicBezTo>
                      <a:pt x="5268" y="7462"/>
                      <a:pt x="5424" y="7352"/>
                      <a:pt x="5591" y="7352"/>
                    </a:cubicBezTo>
                    <a:cubicBezTo>
                      <a:pt x="5650" y="7352"/>
                      <a:pt x="5710" y="7366"/>
                      <a:pt x="5768" y="7395"/>
                    </a:cubicBezTo>
                    <a:lnTo>
                      <a:pt x="7469" y="7875"/>
                    </a:lnTo>
                    <a:lnTo>
                      <a:pt x="7654" y="7284"/>
                    </a:lnTo>
                    <a:lnTo>
                      <a:pt x="5953" y="6766"/>
                    </a:lnTo>
                    <a:cubicBezTo>
                      <a:pt x="5396" y="6522"/>
                      <a:pt x="5593" y="5721"/>
                      <a:pt x="6143" y="5721"/>
                    </a:cubicBezTo>
                    <a:cubicBezTo>
                      <a:pt x="6177" y="5721"/>
                      <a:pt x="6212" y="5724"/>
                      <a:pt x="6249" y="5731"/>
                    </a:cubicBezTo>
                    <a:lnTo>
                      <a:pt x="7950" y="6249"/>
                    </a:lnTo>
                    <a:lnTo>
                      <a:pt x="8098" y="5657"/>
                    </a:lnTo>
                    <a:lnTo>
                      <a:pt x="6434" y="5139"/>
                    </a:lnTo>
                    <a:cubicBezTo>
                      <a:pt x="5913" y="4896"/>
                      <a:pt x="6110" y="4131"/>
                      <a:pt x="6626" y="4131"/>
                    </a:cubicBezTo>
                    <a:cubicBezTo>
                      <a:pt x="6659" y="4131"/>
                      <a:pt x="6694" y="4134"/>
                      <a:pt x="6730" y="4141"/>
                    </a:cubicBezTo>
                    <a:lnTo>
                      <a:pt x="8430" y="4622"/>
                    </a:lnTo>
                    <a:lnTo>
                      <a:pt x="8615" y="4030"/>
                    </a:lnTo>
                    <a:lnTo>
                      <a:pt x="6914" y="3513"/>
                    </a:lnTo>
                    <a:cubicBezTo>
                      <a:pt x="6477" y="3445"/>
                      <a:pt x="6682" y="2675"/>
                      <a:pt x="7057" y="2675"/>
                    </a:cubicBezTo>
                    <a:cubicBezTo>
                      <a:pt x="7094" y="2675"/>
                      <a:pt x="7133" y="2683"/>
                      <a:pt x="7173" y="2699"/>
                    </a:cubicBezTo>
                    <a:lnTo>
                      <a:pt x="8837" y="3217"/>
                    </a:lnTo>
                    <a:lnTo>
                      <a:pt x="9207" y="1997"/>
                    </a:lnTo>
                    <a:lnTo>
                      <a:pt x="25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983;p53">
                <a:extLst>
                  <a:ext uri="{FF2B5EF4-FFF2-40B4-BE49-F238E27FC236}">
                    <a16:creationId xmlns:a16="http://schemas.microsoft.com/office/drawing/2014/main" id="{1012949B-94BB-4E78-B18F-6B26D9F294B0}"/>
                  </a:ext>
                </a:extLst>
              </p:cNvPr>
              <p:cNvSpPr/>
              <p:nvPr/>
            </p:nvSpPr>
            <p:spPr>
              <a:xfrm>
                <a:off x="8045103" y="1754734"/>
                <a:ext cx="74604" cy="62548"/>
              </a:xfrm>
              <a:custGeom>
                <a:avLst/>
                <a:gdLst/>
                <a:ahLst/>
                <a:cxnLst/>
                <a:rect l="l" t="t" r="r" b="b"/>
                <a:pathLst>
                  <a:path w="4084" h="3424" extrusionOk="0">
                    <a:moveTo>
                      <a:pt x="2210" y="1"/>
                    </a:moveTo>
                    <a:cubicBezTo>
                      <a:pt x="1872" y="1"/>
                      <a:pt x="1527" y="104"/>
                      <a:pt x="1220" y="335"/>
                    </a:cubicBezTo>
                    <a:cubicBezTo>
                      <a:pt x="0" y="1259"/>
                      <a:pt x="481" y="3181"/>
                      <a:pt x="1997" y="3403"/>
                    </a:cubicBezTo>
                    <a:cubicBezTo>
                      <a:pt x="2083" y="3417"/>
                      <a:pt x="2169" y="3424"/>
                      <a:pt x="2254" y="3424"/>
                    </a:cubicBezTo>
                    <a:cubicBezTo>
                      <a:pt x="3074" y="3424"/>
                      <a:pt x="3785" y="2799"/>
                      <a:pt x="3919" y="1961"/>
                    </a:cubicBezTo>
                    <a:cubicBezTo>
                      <a:pt x="4083" y="839"/>
                      <a:pt x="3174" y="1"/>
                      <a:pt x="221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984;p53">
                <a:extLst>
                  <a:ext uri="{FF2B5EF4-FFF2-40B4-BE49-F238E27FC236}">
                    <a16:creationId xmlns:a16="http://schemas.microsoft.com/office/drawing/2014/main" id="{E5824DD3-D1BF-4B55-9D94-81A705DB28FD}"/>
                  </a:ext>
                </a:extLst>
              </p:cNvPr>
              <p:cNvSpPr/>
              <p:nvPr/>
            </p:nvSpPr>
            <p:spPr>
              <a:xfrm>
                <a:off x="8045778" y="1794612"/>
                <a:ext cx="55387" cy="160754"/>
              </a:xfrm>
              <a:custGeom>
                <a:avLst/>
                <a:gdLst/>
                <a:ahLst/>
                <a:cxnLst/>
                <a:rect l="l" t="t" r="r" b="b"/>
                <a:pathLst>
                  <a:path w="3032" h="8800" extrusionOk="0">
                    <a:moveTo>
                      <a:pt x="1997" y="0"/>
                    </a:moveTo>
                    <a:lnTo>
                      <a:pt x="0" y="8356"/>
                    </a:lnTo>
                    <a:lnTo>
                      <a:pt x="1405" y="8799"/>
                    </a:lnTo>
                    <a:lnTo>
                      <a:pt x="3032" y="148"/>
                    </a:lnTo>
                    <a:lnTo>
                      <a:pt x="19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985;p53">
                <a:extLst>
                  <a:ext uri="{FF2B5EF4-FFF2-40B4-BE49-F238E27FC236}">
                    <a16:creationId xmlns:a16="http://schemas.microsoft.com/office/drawing/2014/main" id="{EA43B0AA-BFF4-47A7-AB09-B0994EA04C7A}"/>
                  </a:ext>
                </a:extLst>
              </p:cNvPr>
              <p:cNvSpPr/>
              <p:nvPr/>
            </p:nvSpPr>
            <p:spPr>
              <a:xfrm>
                <a:off x="7699993" y="1390169"/>
                <a:ext cx="93310" cy="77893"/>
              </a:xfrm>
              <a:custGeom>
                <a:avLst/>
                <a:gdLst/>
                <a:ahLst/>
                <a:cxnLst/>
                <a:rect l="l" t="t" r="r" b="b"/>
                <a:pathLst>
                  <a:path w="5108" h="4264" extrusionOk="0">
                    <a:moveTo>
                      <a:pt x="2793" y="1"/>
                    </a:moveTo>
                    <a:cubicBezTo>
                      <a:pt x="2361" y="1"/>
                      <a:pt x="1916" y="136"/>
                      <a:pt x="1516" y="438"/>
                    </a:cubicBezTo>
                    <a:cubicBezTo>
                      <a:pt x="0" y="1585"/>
                      <a:pt x="629" y="3988"/>
                      <a:pt x="2514" y="4246"/>
                    </a:cubicBezTo>
                    <a:cubicBezTo>
                      <a:pt x="2605" y="4258"/>
                      <a:pt x="2695" y="4264"/>
                      <a:pt x="2784" y="4264"/>
                    </a:cubicBezTo>
                    <a:cubicBezTo>
                      <a:pt x="3824" y="4264"/>
                      <a:pt x="4747" y="3490"/>
                      <a:pt x="4917" y="2435"/>
                    </a:cubicBezTo>
                    <a:cubicBezTo>
                      <a:pt x="5108" y="1048"/>
                      <a:pt x="3997" y="1"/>
                      <a:pt x="279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986;p53">
                <a:extLst>
                  <a:ext uri="{FF2B5EF4-FFF2-40B4-BE49-F238E27FC236}">
                    <a16:creationId xmlns:a16="http://schemas.microsoft.com/office/drawing/2014/main" id="{84D6051B-2B4A-4BF3-9A6E-DD270E1EF0BD}"/>
                  </a:ext>
                </a:extLst>
              </p:cNvPr>
              <p:cNvSpPr/>
              <p:nvPr/>
            </p:nvSpPr>
            <p:spPr>
              <a:xfrm>
                <a:off x="7765500" y="1421133"/>
                <a:ext cx="333638" cy="353239"/>
              </a:xfrm>
              <a:custGeom>
                <a:avLst/>
                <a:gdLst/>
                <a:ahLst/>
                <a:cxnLst/>
                <a:rect l="l" t="t" r="r" b="b"/>
                <a:pathLst>
                  <a:path w="18264" h="19337" extrusionOk="0">
                    <a:moveTo>
                      <a:pt x="629" y="0"/>
                    </a:moveTo>
                    <a:lnTo>
                      <a:pt x="0" y="555"/>
                    </a:lnTo>
                    <a:lnTo>
                      <a:pt x="17635" y="19336"/>
                    </a:lnTo>
                    <a:lnTo>
                      <a:pt x="18264" y="18745"/>
                    </a:lnTo>
                    <a:lnTo>
                      <a:pt x="6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987;p53">
                <a:extLst>
                  <a:ext uri="{FF2B5EF4-FFF2-40B4-BE49-F238E27FC236}">
                    <a16:creationId xmlns:a16="http://schemas.microsoft.com/office/drawing/2014/main" id="{96920871-238F-45BD-8ED2-5E1E3DC671AD}"/>
                  </a:ext>
                </a:extLst>
              </p:cNvPr>
              <p:cNvSpPr/>
              <p:nvPr/>
            </p:nvSpPr>
            <p:spPr>
              <a:xfrm>
                <a:off x="7749955" y="1440039"/>
                <a:ext cx="334332" cy="353239"/>
              </a:xfrm>
              <a:custGeom>
                <a:avLst/>
                <a:gdLst/>
                <a:ahLst/>
                <a:cxnLst/>
                <a:rect l="l" t="t" r="r" b="b"/>
                <a:pathLst>
                  <a:path w="18302" h="19337" extrusionOk="0">
                    <a:moveTo>
                      <a:pt x="629" y="1"/>
                    </a:moveTo>
                    <a:lnTo>
                      <a:pt x="1" y="592"/>
                    </a:lnTo>
                    <a:lnTo>
                      <a:pt x="17673" y="19336"/>
                    </a:lnTo>
                    <a:lnTo>
                      <a:pt x="18301" y="18745"/>
                    </a:lnTo>
                    <a:lnTo>
                      <a:pt x="62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988;p53">
                <a:extLst>
                  <a:ext uri="{FF2B5EF4-FFF2-40B4-BE49-F238E27FC236}">
                    <a16:creationId xmlns:a16="http://schemas.microsoft.com/office/drawing/2014/main" id="{E643CB2D-F1E4-4C6D-A255-19D510A73800}"/>
                  </a:ext>
                </a:extLst>
              </p:cNvPr>
              <p:cNvSpPr/>
              <p:nvPr/>
            </p:nvSpPr>
            <p:spPr>
              <a:xfrm>
                <a:off x="7335958" y="1433956"/>
                <a:ext cx="405246" cy="174948"/>
              </a:xfrm>
              <a:custGeom>
                <a:avLst/>
                <a:gdLst/>
                <a:ahLst/>
                <a:cxnLst/>
                <a:rect l="l" t="t" r="r" b="b"/>
                <a:pathLst>
                  <a:path w="22184" h="9577" extrusionOk="0">
                    <a:moveTo>
                      <a:pt x="21851" y="1"/>
                    </a:moveTo>
                    <a:lnTo>
                      <a:pt x="149" y="8504"/>
                    </a:lnTo>
                    <a:lnTo>
                      <a:pt x="1" y="9576"/>
                    </a:lnTo>
                    <a:lnTo>
                      <a:pt x="22183" y="777"/>
                    </a:lnTo>
                    <a:lnTo>
                      <a:pt x="218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989;p53">
                <a:extLst>
                  <a:ext uri="{FF2B5EF4-FFF2-40B4-BE49-F238E27FC236}">
                    <a16:creationId xmlns:a16="http://schemas.microsoft.com/office/drawing/2014/main" id="{F853F8A7-387A-4A67-A8E1-2003A0FACB6D}"/>
                  </a:ext>
                </a:extLst>
              </p:cNvPr>
              <p:cNvSpPr/>
              <p:nvPr/>
            </p:nvSpPr>
            <p:spPr>
              <a:xfrm>
                <a:off x="7341365" y="1413698"/>
                <a:ext cx="390376" cy="156023"/>
              </a:xfrm>
              <a:custGeom>
                <a:avLst/>
                <a:gdLst/>
                <a:ahLst/>
                <a:cxnLst/>
                <a:rect l="l" t="t" r="r" b="b"/>
                <a:pathLst>
                  <a:path w="21370" h="8541" extrusionOk="0">
                    <a:moveTo>
                      <a:pt x="21037" y="1"/>
                    </a:moveTo>
                    <a:lnTo>
                      <a:pt x="149" y="7469"/>
                    </a:lnTo>
                    <a:lnTo>
                      <a:pt x="1" y="8541"/>
                    </a:lnTo>
                    <a:lnTo>
                      <a:pt x="21370" y="777"/>
                    </a:lnTo>
                    <a:lnTo>
                      <a:pt x="210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990;p53">
                <a:extLst>
                  <a:ext uri="{FF2B5EF4-FFF2-40B4-BE49-F238E27FC236}">
                    <a16:creationId xmlns:a16="http://schemas.microsoft.com/office/drawing/2014/main" id="{202D6A9B-376A-4B96-B818-20B087D68457}"/>
                  </a:ext>
                </a:extLst>
              </p:cNvPr>
              <p:cNvSpPr/>
              <p:nvPr/>
            </p:nvSpPr>
            <p:spPr>
              <a:xfrm>
                <a:off x="7723631" y="1408291"/>
                <a:ext cx="49962" cy="42052"/>
              </a:xfrm>
              <a:custGeom>
                <a:avLst/>
                <a:gdLst/>
                <a:ahLst/>
                <a:cxnLst/>
                <a:rect l="l" t="t" r="r" b="b"/>
                <a:pathLst>
                  <a:path w="2735" h="2302" extrusionOk="0">
                    <a:moveTo>
                      <a:pt x="1487" y="0"/>
                    </a:moveTo>
                    <a:cubicBezTo>
                      <a:pt x="1259" y="0"/>
                      <a:pt x="1025" y="69"/>
                      <a:pt x="813" y="223"/>
                    </a:cubicBezTo>
                    <a:cubicBezTo>
                      <a:pt x="0" y="851"/>
                      <a:pt x="333" y="2145"/>
                      <a:pt x="1331" y="2293"/>
                    </a:cubicBezTo>
                    <a:cubicBezTo>
                      <a:pt x="1377" y="2299"/>
                      <a:pt x="1423" y="2301"/>
                      <a:pt x="1468" y="2301"/>
                    </a:cubicBezTo>
                    <a:cubicBezTo>
                      <a:pt x="2043" y="2301"/>
                      <a:pt x="2556" y="1878"/>
                      <a:pt x="2625" y="1295"/>
                    </a:cubicBezTo>
                    <a:cubicBezTo>
                      <a:pt x="2734" y="556"/>
                      <a:pt x="2136" y="0"/>
                      <a:pt x="148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991;p53">
                <a:extLst>
                  <a:ext uri="{FF2B5EF4-FFF2-40B4-BE49-F238E27FC236}">
                    <a16:creationId xmlns:a16="http://schemas.microsoft.com/office/drawing/2014/main" id="{B5F3FB23-F0CA-4F6E-B98E-E721E7EF9A52}"/>
                  </a:ext>
                </a:extLst>
              </p:cNvPr>
              <p:cNvSpPr/>
              <p:nvPr/>
            </p:nvSpPr>
            <p:spPr>
              <a:xfrm>
                <a:off x="8063333" y="1769055"/>
                <a:ext cx="40700" cy="33850"/>
              </a:xfrm>
              <a:custGeom>
                <a:avLst/>
                <a:gdLst/>
                <a:ahLst/>
                <a:cxnLst/>
                <a:rect l="l" t="t" r="r" b="b"/>
                <a:pathLst>
                  <a:path w="2228" h="1853" extrusionOk="0">
                    <a:moveTo>
                      <a:pt x="1208" y="1"/>
                    </a:moveTo>
                    <a:cubicBezTo>
                      <a:pt x="1025" y="1"/>
                      <a:pt x="837" y="56"/>
                      <a:pt x="666" y="179"/>
                    </a:cubicBezTo>
                    <a:cubicBezTo>
                      <a:pt x="0" y="697"/>
                      <a:pt x="259" y="1732"/>
                      <a:pt x="1072" y="1843"/>
                    </a:cubicBezTo>
                    <a:cubicBezTo>
                      <a:pt x="1117" y="1849"/>
                      <a:pt x="1161" y="1852"/>
                      <a:pt x="1205" y="1852"/>
                    </a:cubicBezTo>
                    <a:cubicBezTo>
                      <a:pt x="1670" y="1852"/>
                      <a:pt x="2077" y="1506"/>
                      <a:pt x="2145" y="1067"/>
                    </a:cubicBezTo>
                    <a:cubicBezTo>
                      <a:pt x="2227" y="462"/>
                      <a:pt x="1738" y="1"/>
                      <a:pt x="120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992;p53">
                <a:extLst>
                  <a:ext uri="{FF2B5EF4-FFF2-40B4-BE49-F238E27FC236}">
                    <a16:creationId xmlns:a16="http://schemas.microsoft.com/office/drawing/2014/main" id="{4E4AA3F0-8886-4F52-86C1-A31FD51B8AA5}"/>
                  </a:ext>
                </a:extLst>
              </p:cNvPr>
              <p:cNvSpPr/>
              <p:nvPr/>
            </p:nvSpPr>
            <p:spPr>
              <a:xfrm>
                <a:off x="7242776" y="1533240"/>
                <a:ext cx="117515" cy="124292"/>
              </a:xfrm>
              <a:custGeom>
                <a:avLst/>
                <a:gdLst/>
                <a:ahLst/>
                <a:cxnLst/>
                <a:rect l="l" t="t" r="r" b="b"/>
                <a:pathLst>
                  <a:path w="6433" h="6804" extrusionOk="0">
                    <a:moveTo>
                      <a:pt x="444" y="1"/>
                    </a:moveTo>
                    <a:lnTo>
                      <a:pt x="0" y="4030"/>
                    </a:lnTo>
                    <a:lnTo>
                      <a:pt x="1331" y="6803"/>
                    </a:lnTo>
                    <a:lnTo>
                      <a:pt x="6433" y="3809"/>
                    </a:lnTo>
                    <a:lnTo>
                      <a:pt x="5620" y="370"/>
                    </a:lnTo>
                    <a:lnTo>
                      <a:pt x="444"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993;p53">
                <a:extLst>
                  <a:ext uri="{FF2B5EF4-FFF2-40B4-BE49-F238E27FC236}">
                    <a16:creationId xmlns:a16="http://schemas.microsoft.com/office/drawing/2014/main" id="{217A39E1-E075-43E0-85B5-A0DAD368A59A}"/>
                  </a:ext>
                </a:extLst>
              </p:cNvPr>
              <p:cNvSpPr/>
              <p:nvPr/>
            </p:nvSpPr>
            <p:spPr>
              <a:xfrm>
                <a:off x="6135856" y="785625"/>
                <a:ext cx="1416243" cy="1133937"/>
              </a:xfrm>
              <a:custGeom>
                <a:avLst/>
                <a:gdLst/>
                <a:ahLst/>
                <a:cxnLst/>
                <a:rect l="l" t="t" r="r" b="b"/>
                <a:pathLst>
                  <a:path w="77528" h="62074" extrusionOk="0">
                    <a:moveTo>
                      <a:pt x="407" y="0"/>
                    </a:moveTo>
                    <a:lnTo>
                      <a:pt x="0" y="62074"/>
                    </a:lnTo>
                    <a:lnTo>
                      <a:pt x="72684" y="61519"/>
                    </a:lnTo>
                    <a:lnTo>
                      <a:pt x="77528" y="5804"/>
                    </a:lnTo>
                    <a:lnTo>
                      <a:pt x="40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994;p53">
                <a:extLst>
                  <a:ext uri="{FF2B5EF4-FFF2-40B4-BE49-F238E27FC236}">
                    <a16:creationId xmlns:a16="http://schemas.microsoft.com/office/drawing/2014/main" id="{10FB85ED-E107-45A0-80FA-142C3FB775B4}"/>
                  </a:ext>
                </a:extLst>
              </p:cNvPr>
              <p:cNvSpPr/>
              <p:nvPr/>
            </p:nvSpPr>
            <p:spPr>
              <a:xfrm>
                <a:off x="6194605" y="835586"/>
                <a:ext cx="1302107" cy="1042782"/>
              </a:xfrm>
              <a:custGeom>
                <a:avLst/>
                <a:gdLst/>
                <a:ahLst/>
                <a:cxnLst/>
                <a:rect l="l" t="t" r="r" b="b"/>
                <a:pathLst>
                  <a:path w="71280" h="57084" extrusionOk="0">
                    <a:moveTo>
                      <a:pt x="370" y="1"/>
                    </a:moveTo>
                    <a:lnTo>
                      <a:pt x="1" y="57084"/>
                    </a:lnTo>
                    <a:lnTo>
                      <a:pt x="66807" y="56566"/>
                    </a:lnTo>
                    <a:lnTo>
                      <a:pt x="71280" y="5325"/>
                    </a:lnTo>
                    <a:lnTo>
                      <a:pt x="3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995;p53">
                <a:extLst>
                  <a:ext uri="{FF2B5EF4-FFF2-40B4-BE49-F238E27FC236}">
                    <a16:creationId xmlns:a16="http://schemas.microsoft.com/office/drawing/2014/main" id="{B1C8D16B-F7BE-4B6E-9689-F913A60A5DBD}"/>
                  </a:ext>
                </a:extLst>
              </p:cNvPr>
              <p:cNvSpPr/>
              <p:nvPr/>
            </p:nvSpPr>
            <p:spPr>
              <a:xfrm>
                <a:off x="6194605" y="835586"/>
                <a:ext cx="212086" cy="1043458"/>
              </a:xfrm>
              <a:custGeom>
                <a:avLst/>
                <a:gdLst/>
                <a:ahLst/>
                <a:cxnLst/>
                <a:rect l="l" t="t" r="r" b="b"/>
                <a:pathLst>
                  <a:path w="11610" h="57121" extrusionOk="0">
                    <a:moveTo>
                      <a:pt x="370" y="1"/>
                    </a:moveTo>
                    <a:lnTo>
                      <a:pt x="1" y="57084"/>
                    </a:lnTo>
                    <a:lnTo>
                      <a:pt x="10131" y="57121"/>
                    </a:lnTo>
                    <a:lnTo>
                      <a:pt x="11609" y="851"/>
                    </a:lnTo>
                    <a:lnTo>
                      <a:pt x="370" y="1"/>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996;p53">
                <a:extLst>
                  <a:ext uri="{FF2B5EF4-FFF2-40B4-BE49-F238E27FC236}">
                    <a16:creationId xmlns:a16="http://schemas.microsoft.com/office/drawing/2014/main" id="{ABFBDB1E-A571-41AE-9763-85249D746FC0}"/>
                  </a:ext>
                </a:extLst>
              </p:cNvPr>
              <p:cNvSpPr/>
              <p:nvPr/>
            </p:nvSpPr>
            <p:spPr>
              <a:xfrm>
                <a:off x="6223175" y="1070616"/>
                <a:ext cx="98425" cy="84323"/>
              </a:xfrm>
              <a:custGeom>
                <a:avLst/>
                <a:gdLst/>
                <a:ahLst/>
                <a:cxnLst/>
                <a:rect l="l" t="t" r="r" b="b"/>
                <a:pathLst>
                  <a:path w="5388" h="4616" extrusionOk="0">
                    <a:moveTo>
                      <a:pt x="3050" y="0"/>
                    </a:moveTo>
                    <a:cubicBezTo>
                      <a:pt x="1046" y="0"/>
                      <a:pt x="0" y="2452"/>
                      <a:pt x="1431" y="3920"/>
                    </a:cubicBezTo>
                    <a:cubicBezTo>
                      <a:pt x="1912" y="4400"/>
                      <a:pt x="2499" y="4616"/>
                      <a:pt x="3071" y="4616"/>
                    </a:cubicBezTo>
                    <a:cubicBezTo>
                      <a:pt x="4259" y="4616"/>
                      <a:pt x="5387" y="3690"/>
                      <a:pt x="5387" y="2293"/>
                    </a:cubicBezTo>
                    <a:cubicBezTo>
                      <a:pt x="5387" y="1036"/>
                      <a:pt x="4389" y="1"/>
                      <a:pt x="3095" y="1"/>
                    </a:cubicBezTo>
                    <a:cubicBezTo>
                      <a:pt x="3080" y="0"/>
                      <a:pt x="3065" y="0"/>
                      <a:pt x="305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997;p53">
                <a:extLst>
                  <a:ext uri="{FF2B5EF4-FFF2-40B4-BE49-F238E27FC236}">
                    <a16:creationId xmlns:a16="http://schemas.microsoft.com/office/drawing/2014/main" id="{E63B983E-D58C-4D73-84D4-8D37A20D3188}"/>
                  </a:ext>
                </a:extLst>
              </p:cNvPr>
              <p:cNvSpPr/>
              <p:nvPr/>
            </p:nvSpPr>
            <p:spPr>
              <a:xfrm>
                <a:off x="6222499" y="1204334"/>
                <a:ext cx="98425" cy="84323"/>
              </a:xfrm>
              <a:custGeom>
                <a:avLst/>
                <a:gdLst/>
                <a:ahLst/>
                <a:cxnLst/>
                <a:rect l="l" t="t" r="r" b="b"/>
                <a:pathLst>
                  <a:path w="5388" h="4616" extrusionOk="0">
                    <a:moveTo>
                      <a:pt x="3049" y="0"/>
                    </a:moveTo>
                    <a:cubicBezTo>
                      <a:pt x="1009" y="0"/>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0"/>
                      <a:pt x="304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998;p53">
                <a:extLst>
                  <a:ext uri="{FF2B5EF4-FFF2-40B4-BE49-F238E27FC236}">
                    <a16:creationId xmlns:a16="http://schemas.microsoft.com/office/drawing/2014/main" id="{C4877E16-4B85-48D6-9139-55ECD4D0B7DC}"/>
                  </a:ext>
                </a:extLst>
              </p:cNvPr>
              <p:cNvSpPr/>
              <p:nvPr/>
            </p:nvSpPr>
            <p:spPr>
              <a:xfrm>
                <a:off x="6221823" y="1338052"/>
                <a:ext cx="98425" cy="84323"/>
              </a:xfrm>
              <a:custGeom>
                <a:avLst/>
                <a:gdLst/>
                <a:ahLst/>
                <a:cxnLst/>
                <a:rect l="l" t="t" r="r" b="b"/>
                <a:pathLst>
                  <a:path w="5388" h="4616" extrusionOk="0">
                    <a:moveTo>
                      <a:pt x="3049" y="1"/>
                    </a:moveTo>
                    <a:cubicBezTo>
                      <a:pt x="1009" y="1"/>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1"/>
                      <a:pt x="304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999;p53">
                <a:extLst>
                  <a:ext uri="{FF2B5EF4-FFF2-40B4-BE49-F238E27FC236}">
                    <a16:creationId xmlns:a16="http://schemas.microsoft.com/office/drawing/2014/main" id="{2598393B-1A2A-46BD-A9A0-996FA11EA418}"/>
                  </a:ext>
                </a:extLst>
              </p:cNvPr>
              <p:cNvSpPr/>
              <p:nvPr/>
            </p:nvSpPr>
            <p:spPr>
              <a:xfrm>
                <a:off x="6220271" y="1471112"/>
                <a:ext cx="99302" cy="84688"/>
              </a:xfrm>
              <a:custGeom>
                <a:avLst/>
                <a:gdLst/>
                <a:ahLst/>
                <a:cxnLst/>
                <a:rect l="l" t="t" r="r" b="b"/>
                <a:pathLst>
                  <a:path w="5436" h="4636" extrusionOk="0">
                    <a:moveTo>
                      <a:pt x="3143" y="0"/>
                    </a:moveTo>
                    <a:cubicBezTo>
                      <a:pt x="1073" y="0"/>
                      <a:pt x="0" y="2477"/>
                      <a:pt x="1479" y="3956"/>
                    </a:cubicBezTo>
                    <a:cubicBezTo>
                      <a:pt x="1948" y="4425"/>
                      <a:pt x="2530" y="4636"/>
                      <a:pt x="3102" y="4636"/>
                    </a:cubicBezTo>
                    <a:cubicBezTo>
                      <a:pt x="4290" y="4636"/>
                      <a:pt x="5435" y="3727"/>
                      <a:pt x="5435" y="2329"/>
                    </a:cubicBezTo>
                    <a:cubicBezTo>
                      <a:pt x="5435" y="1072"/>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1000;p53">
                <a:extLst>
                  <a:ext uri="{FF2B5EF4-FFF2-40B4-BE49-F238E27FC236}">
                    <a16:creationId xmlns:a16="http://schemas.microsoft.com/office/drawing/2014/main" id="{5E6F19E3-2FFA-4711-AF5B-9B563EA8C9AB}"/>
                  </a:ext>
                </a:extLst>
              </p:cNvPr>
              <p:cNvSpPr/>
              <p:nvPr/>
            </p:nvSpPr>
            <p:spPr>
              <a:xfrm>
                <a:off x="6219595" y="1604831"/>
                <a:ext cx="99302" cy="84999"/>
              </a:xfrm>
              <a:custGeom>
                <a:avLst/>
                <a:gdLst/>
                <a:ahLst/>
                <a:cxnLst/>
                <a:rect l="l" t="t" r="r" b="b"/>
                <a:pathLst>
                  <a:path w="5436" h="4653" extrusionOk="0">
                    <a:moveTo>
                      <a:pt x="3143" y="0"/>
                    </a:moveTo>
                    <a:cubicBezTo>
                      <a:pt x="1073" y="0"/>
                      <a:pt x="1" y="2478"/>
                      <a:pt x="1479" y="3956"/>
                    </a:cubicBezTo>
                    <a:cubicBezTo>
                      <a:pt x="1948" y="4437"/>
                      <a:pt x="2527" y="4652"/>
                      <a:pt x="3094" y="4652"/>
                    </a:cubicBezTo>
                    <a:cubicBezTo>
                      <a:pt x="4270" y="4652"/>
                      <a:pt x="5398" y="3727"/>
                      <a:pt x="5398" y="2330"/>
                    </a:cubicBezTo>
                    <a:cubicBezTo>
                      <a:pt x="5435" y="1073"/>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1001;p53">
                <a:extLst>
                  <a:ext uri="{FF2B5EF4-FFF2-40B4-BE49-F238E27FC236}">
                    <a16:creationId xmlns:a16="http://schemas.microsoft.com/office/drawing/2014/main" id="{883983A4-B488-47F4-9714-2BB98B8CD567}"/>
                  </a:ext>
                </a:extLst>
              </p:cNvPr>
              <p:cNvSpPr/>
              <p:nvPr/>
            </p:nvSpPr>
            <p:spPr>
              <a:xfrm>
                <a:off x="6218919" y="1738549"/>
                <a:ext cx="98626" cy="84999"/>
              </a:xfrm>
              <a:custGeom>
                <a:avLst/>
                <a:gdLst/>
                <a:ahLst/>
                <a:cxnLst/>
                <a:rect l="l" t="t" r="r" b="b"/>
                <a:pathLst>
                  <a:path w="5399" h="4653" extrusionOk="0">
                    <a:moveTo>
                      <a:pt x="3143" y="1"/>
                    </a:moveTo>
                    <a:cubicBezTo>
                      <a:pt x="1073" y="1"/>
                      <a:pt x="1" y="2478"/>
                      <a:pt x="1442" y="3957"/>
                    </a:cubicBezTo>
                    <a:cubicBezTo>
                      <a:pt x="1923" y="4438"/>
                      <a:pt x="2510" y="4653"/>
                      <a:pt x="3082" y="4653"/>
                    </a:cubicBezTo>
                    <a:cubicBezTo>
                      <a:pt x="4270" y="4653"/>
                      <a:pt x="5398" y="3727"/>
                      <a:pt x="5398" y="2330"/>
                    </a:cubicBezTo>
                    <a:cubicBezTo>
                      <a:pt x="5398" y="1073"/>
                      <a:pt x="4400" y="38"/>
                      <a:pt x="314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1002;p53">
                <a:extLst>
                  <a:ext uri="{FF2B5EF4-FFF2-40B4-BE49-F238E27FC236}">
                    <a16:creationId xmlns:a16="http://schemas.microsoft.com/office/drawing/2014/main" id="{ACDF09F7-10A6-49BC-A530-E9247165A895}"/>
                  </a:ext>
                </a:extLst>
              </p:cNvPr>
              <p:cNvSpPr/>
              <p:nvPr/>
            </p:nvSpPr>
            <p:spPr>
              <a:xfrm>
                <a:off x="6218919" y="893001"/>
                <a:ext cx="123616" cy="122940"/>
              </a:xfrm>
              <a:custGeom>
                <a:avLst/>
                <a:gdLst/>
                <a:ahLst/>
                <a:cxnLst/>
                <a:rect l="l" t="t" r="r" b="b"/>
                <a:pathLst>
                  <a:path w="6767" h="6730" extrusionOk="0">
                    <a:moveTo>
                      <a:pt x="1295" y="0"/>
                    </a:moveTo>
                    <a:cubicBezTo>
                      <a:pt x="592" y="0"/>
                      <a:pt x="38" y="555"/>
                      <a:pt x="38" y="1220"/>
                    </a:cubicBezTo>
                    <a:lnTo>
                      <a:pt x="38" y="5472"/>
                    </a:lnTo>
                    <a:cubicBezTo>
                      <a:pt x="1" y="6174"/>
                      <a:pt x="555" y="6692"/>
                      <a:pt x="1221" y="6729"/>
                    </a:cubicBezTo>
                    <a:lnTo>
                      <a:pt x="5509" y="6729"/>
                    </a:lnTo>
                    <a:cubicBezTo>
                      <a:pt x="6175" y="6729"/>
                      <a:pt x="6729" y="6211"/>
                      <a:pt x="6729" y="5509"/>
                    </a:cubicBezTo>
                    <a:lnTo>
                      <a:pt x="6766" y="1257"/>
                    </a:lnTo>
                    <a:cubicBezTo>
                      <a:pt x="6766" y="592"/>
                      <a:pt x="6212" y="37"/>
                      <a:pt x="5546" y="37"/>
                    </a:cubicBezTo>
                    <a:lnTo>
                      <a:pt x="129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003;p53">
                <a:extLst>
                  <a:ext uri="{FF2B5EF4-FFF2-40B4-BE49-F238E27FC236}">
                    <a16:creationId xmlns:a16="http://schemas.microsoft.com/office/drawing/2014/main" id="{01C1774D-FBE0-4A8E-B31B-D1D34CA1AD4D}"/>
                  </a:ext>
                </a:extLst>
              </p:cNvPr>
              <p:cNvSpPr/>
              <p:nvPr/>
            </p:nvSpPr>
            <p:spPr>
              <a:xfrm>
                <a:off x="6758541" y="1545406"/>
                <a:ext cx="401173" cy="37156"/>
              </a:xfrm>
              <a:custGeom>
                <a:avLst/>
                <a:gdLst/>
                <a:ahLst/>
                <a:cxnLst/>
                <a:rect l="l" t="t" r="r" b="b"/>
                <a:pathLst>
                  <a:path w="21961" h="2034" extrusionOk="0">
                    <a:moveTo>
                      <a:pt x="0" y="0"/>
                    </a:moveTo>
                    <a:lnTo>
                      <a:pt x="0" y="1664"/>
                    </a:lnTo>
                    <a:lnTo>
                      <a:pt x="21924" y="2033"/>
                    </a:lnTo>
                    <a:lnTo>
                      <a:pt x="21961" y="370"/>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004;p53">
                <a:extLst>
                  <a:ext uri="{FF2B5EF4-FFF2-40B4-BE49-F238E27FC236}">
                    <a16:creationId xmlns:a16="http://schemas.microsoft.com/office/drawing/2014/main" id="{3B5456E0-1FD0-4A03-A7C6-0641248033A0}"/>
                  </a:ext>
                </a:extLst>
              </p:cNvPr>
              <p:cNvSpPr/>
              <p:nvPr/>
            </p:nvSpPr>
            <p:spPr>
              <a:xfrm>
                <a:off x="6755161" y="1631848"/>
                <a:ext cx="401848" cy="37156"/>
              </a:xfrm>
              <a:custGeom>
                <a:avLst/>
                <a:gdLst/>
                <a:ahLst/>
                <a:cxnLst/>
                <a:rect l="l" t="t" r="r" b="b"/>
                <a:pathLst>
                  <a:path w="21998" h="2034" extrusionOk="0">
                    <a:moveTo>
                      <a:pt x="37" y="0"/>
                    </a:moveTo>
                    <a:lnTo>
                      <a:pt x="0" y="1664"/>
                    </a:lnTo>
                    <a:lnTo>
                      <a:pt x="21961" y="2034"/>
                    </a:lnTo>
                    <a:lnTo>
                      <a:pt x="21998"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005;p53">
                <a:extLst>
                  <a:ext uri="{FF2B5EF4-FFF2-40B4-BE49-F238E27FC236}">
                    <a16:creationId xmlns:a16="http://schemas.microsoft.com/office/drawing/2014/main" id="{FBA3AFB3-BB52-42CE-B1C1-79467A65018F}"/>
                  </a:ext>
                </a:extLst>
              </p:cNvPr>
              <p:cNvSpPr/>
              <p:nvPr/>
            </p:nvSpPr>
            <p:spPr>
              <a:xfrm>
                <a:off x="6755161" y="1719642"/>
                <a:ext cx="401173" cy="37156"/>
              </a:xfrm>
              <a:custGeom>
                <a:avLst/>
                <a:gdLst/>
                <a:ahLst/>
                <a:cxnLst/>
                <a:rect l="l" t="t" r="r" b="b"/>
                <a:pathLst>
                  <a:path w="21961" h="2034" extrusionOk="0">
                    <a:moveTo>
                      <a:pt x="37" y="0"/>
                    </a:moveTo>
                    <a:lnTo>
                      <a:pt x="0" y="1664"/>
                    </a:lnTo>
                    <a:lnTo>
                      <a:pt x="21961" y="2034"/>
                    </a:lnTo>
                    <a:lnTo>
                      <a:pt x="21961"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006;p53">
                <a:extLst>
                  <a:ext uri="{FF2B5EF4-FFF2-40B4-BE49-F238E27FC236}">
                    <a16:creationId xmlns:a16="http://schemas.microsoft.com/office/drawing/2014/main" id="{678A9E84-BC71-4F02-B5FE-FF7812A0B33B}"/>
                  </a:ext>
                </a:extLst>
              </p:cNvPr>
              <p:cNvSpPr/>
              <p:nvPr/>
            </p:nvSpPr>
            <p:spPr>
              <a:xfrm>
                <a:off x="6379655" y="851132"/>
                <a:ext cx="364035" cy="1029940"/>
              </a:xfrm>
              <a:custGeom>
                <a:avLst/>
                <a:gdLst/>
                <a:ahLst/>
                <a:cxnLst/>
                <a:rect l="l" t="t" r="r" b="b"/>
                <a:pathLst>
                  <a:path w="19928" h="56381" extrusionOk="0">
                    <a:moveTo>
                      <a:pt x="1479" y="0"/>
                    </a:moveTo>
                    <a:lnTo>
                      <a:pt x="1" y="56270"/>
                    </a:lnTo>
                    <a:lnTo>
                      <a:pt x="17229" y="56381"/>
                    </a:lnTo>
                    <a:lnTo>
                      <a:pt x="19928" y="1405"/>
                    </a:lnTo>
                    <a:lnTo>
                      <a:pt x="1479" y="0"/>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1007;p53">
                <a:extLst>
                  <a:ext uri="{FF2B5EF4-FFF2-40B4-BE49-F238E27FC236}">
                    <a16:creationId xmlns:a16="http://schemas.microsoft.com/office/drawing/2014/main" id="{B498CD11-63FE-4E50-8CDA-7F05AF6C3E40}"/>
                  </a:ext>
                </a:extLst>
              </p:cNvPr>
              <p:cNvSpPr/>
              <p:nvPr/>
            </p:nvSpPr>
            <p:spPr>
              <a:xfrm>
                <a:off x="6379655" y="851132"/>
                <a:ext cx="27036" cy="1027912"/>
              </a:xfrm>
              <a:custGeom>
                <a:avLst/>
                <a:gdLst/>
                <a:ahLst/>
                <a:cxnLst/>
                <a:rect l="l" t="t" r="r" b="b"/>
                <a:pathLst>
                  <a:path w="1480" h="56270" fill="none" extrusionOk="0">
                    <a:moveTo>
                      <a:pt x="1479" y="0"/>
                    </a:moveTo>
                    <a:lnTo>
                      <a:pt x="1" y="5627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1008;p53">
                <a:extLst>
                  <a:ext uri="{FF2B5EF4-FFF2-40B4-BE49-F238E27FC236}">
                    <a16:creationId xmlns:a16="http://schemas.microsoft.com/office/drawing/2014/main" id="{291B3378-E9A5-4DD9-99DF-8751A510B7CB}"/>
                  </a:ext>
                </a:extLst>
              </p:cNvPr>
              <p:cNvSpPr/>
              <p:nvPr/>
            </p:nvSpPr>
            <p:spPr>
              <a:xfrm>
                <a:off x="7204268" y="1530537"/>
                <a:ext cx="24332" cy="322166"/>
              </a:xfrm>
              <a:custGeom>
                <a:avLst/>
                <a:gdLst/>
                <a:ahLst/>
                <a:cxnLst/>
                <a:rect l="l" t="t" r="r" b="b"/>
                <a:pathLst>
                  <a:path w="1332" h="17636" fill="none" extrusionOk="0">
                    <a:moveTo>
                      <a:pt x="1332" y="1"/>
                    </a:moveTo>
                    <a:lnTo>
                      <a:pt x="1" y="17636"/>
                    </a:lnTo>
                  </a:path>
                </a:pathLst>
              </a:custGeom>
              <a:solidFill>
                <a:schemeClr val="accent3"/>
              </a:solid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1009;p53">
                <a:extLst>
                  <a:ext uri="{FF2B5EF4-FFF2-40B4-BE49-F238E27FC236}">
                    <a16:creationId xmlns:a16="http://schemas.microsoft.com/office/drawing/2014/main" id="{7FA1C40F-C2AA-4A1E-A856-A3CD44E07A07}"/>
                  </a:ext>
                </a:extLst>
              </p:cNvPr>
              <p:cNvSpPr/>
              <p:nvPr/>
            </p:nvSpPr>
            <p:spPr>
              <a:xfrm>
                <a:off x="6447390" y="955786"/>
                <a:ext cx="56556" cy="48098"/>
              </a:xfrm>
              <a:custGeom>
                <a:avLst/>
                <a:gdLst/>
                <a:ahLst/>
                <a:cxnLst/>
                <a:rect l="l" t="t" r="r" b="b"/>
                <a:pathLst>
                  <a:path w="3096" h="2633" extrusionOk="0">
                    <a:moveTo>
                      <a:pt x="1756" y="1"/>
                    </a:moveTo>
                    <a:cubicBezTo>
                      <a:pt x="602" y="1"/>
                      <a:pt x="0" y="1381"/>
                      <a:pt x="803" y="2220"/>
                    </a:cubicBezTo>
                    <a:cubicBezTo>
                      <a:pt x="1076" y="2505"/>
                      <a:pt x="1415" y="2632"/>
                      <a:pt x="1746" y="2632"/>
                    </a:cubicBezTo>
                    <a:cubicBezTo>
                      <a:pt x="2404" y="2632"/>
                      <a:pt x="3034" y="2132"/>
                      <a:pt x="3058" y="1370"/>
                    </a:cubicBezTo>
                    <a:cubicBezTo>
                      <a:pt x="3095" y="630"/>
                      <a:pt x="2541" y="39"/>
                      <a:pt x="1801" y="2"/>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1010;p53">
                <a:extLst>
                  <a:ext uri="{FF2B5EF4-FFF2-40B4-BE49-F238E27FC236}">
                    <a16:creationId xmlns:a16="http://schemas.microsoft.com/office/drawing/2014/main" id="{3BF839D8-8351-4B41-B6E0-0EC7BA010EBD}"/>
                  </a:ext>
                </a:extLst>
              </p:cNvPr>
              <p:cNvSpPr/>
              <p:nvPr/>
            </p:nvSpPr>
            <p:spPr>
              <a:xfrm>
                <a:off x="6444011" y="1073977"/>
                <a:ext cx="56556" cy="48062"/>
              </a:xfrm>
              <a:custGeom>
                <a:avLst/>
                <a:gdLst/>
                <a:ahLst/>
                <a:cxnLst/>
                <a:rect l="l" t="t" r="r" b="b"/>
                <a:pathLst>
                  <a:path w="3096" h="2631" extrusionOk="0">
                    <a:moveTo>
                      <a:pt x="1756" y="1"/>
                    </a:moveTo>
                    <a:cubicBezTo>
                      <a:pt x="602" y="1"/>
                      <a:pt x="0" y="1380"/>
                      <a:pt x="803" y="2220"/>
                    </a:cubicBezTo>
                    <a:cubicBezTo>
                      <a:pt x="1074" y="2503"/>
                      <a:pt x="1415" y="2631"/>
                      <a:pt x="1751" y="2631"/>
                    </a:cubicBezTo>
                    <a:cubicBezTo>
                      <a:pt x="2422" y="2631"/>
                      <a:pt x="3071" y="2121"/>
                      <a:pt x="3095" y="1332"/>
                    </a:cubicBezTo>
                    <a:cubicBezTo>
                      <a:pt x="3095" y="630"/>
                      <a:pt x="2541" y="1"/>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1011;p53">
                <a:extLst>
                  <a:ext uri="{FF2B5EF4-FFF2-40B4-BE49-F238E27FC236}">
                    <a16:creationId xmlns:a16="http://schemas.microsoft.com/office/drawing/2014/main" id="{A53F4288-7F53-4B9F-A5AC-48E96AEE6135}"/>
                  </a:ext>
                </a:extLst>
              </p:cNvPr>
              <p:cNvSpPr/>
              <p:nvPr/>
            </p:nvSpPr>
            <p:spPr>
              <a:xfrm>
                <a:off x="6440631" y="1191492"/>
                <a:ext cx="56556" cy="48244"/>
              </a:xfrm>
              <a:custGeom>
                <a:avLst/>
                <a:gdLst/>
                <a:ahLst/>
                <a:cxnLst/>
                <a:rect l="l" t="t" r="r" b="b"/>
                <a:pathLst>
                  <a:path w="3096" h="2641" extrusionOk="0">
                    <a:moveTo>
                      <a:pt x="1756" y="1"/>
                    </a:moveTo>
                    <a:cubicBezTo>
                      <a:pt x="602" y="1"/>
                      <a:pt x="0" y="1380"/>
                      <a:pt x="803" y="2220"/>
                    </a:cubicBezTo>
                    <a:cubicBezTo>
                      <a:pt x="1080" y="2509"/>
                      <a:pt x="1430" y="2640"/>
                      <a:pt x="1771" y="2640"/>
                    </a:cubicBezTo>
                    <a:cubicBezTo>
                      <a:pt x="2432" y="2640"/>
                      <a:pt x="3058" y="2149"/>
                      <a:pt x="3058" y="1369"/>
                    </a:cubicBezTo>
                    <a:cubicBezTo>
                      <a:pt x="3095" y="630"/>
                      <a:pt x="2541" y="38"/>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1012;p53">
                <a:extLst>
                  <a:ext uri="{FF2B5EF4-FFF2-40B4-BE49-F238E27FC236}">
                    <a16:creationId xmlns:a16="http://schemas.microsoft.com/office/drawing/2014/main" id="{A5B7DFFD-45E8-48B2-9907-0C932B47D2ED}"/>
                  </a:ext>
                </a:extLst>
              </p:cNvPr>
              <p:cNvSpPr/>
              <p:nvPr/>
            </p:nvSpPr>
            <p:spPr>
              <a:xfrm>
                <a:off x="6437252" y="1309683"/>
                <a:ext cx="56556" cy="48080"/>
              </a:xfrm>
              <a:custGeom>
                <a:avLst/>
                <a:gdLst/>
                <a:ahLst/>
                <a:cxnLst/>
                <a:rect l="l" t="t" r="r" b="b"/>
                <a:pathLst>
                  <a:path w="3096" h="2632" extrusionOk="0">
                    <a:moveTo>
                      <a:pt x="1756" y="1"/>
                    </a:moveTo>
                    <a:cubicBezTo>
                      <a:pt x="603" y="1"/>
                      <a:pt x="1" y="1380"/>
                      <a:pt x="803" y="2220"/>
                    </a:cubicBezTo>
                    <a:cubicBezTo>
                      <a:pt x="1076" y="2505"/>
                      <a:pt x="1419" y="2632"/>
                      <a:pt x="1756" y="2632"/>
                    </a:cubicBezTo>
                    <a:cubicBezTo>
                      <a:pt x="2425" y="2632"/>
                      <a:pt x="3071" y="2131"/>
                      <a:pt x="3096" y="1369"/>
                    </a:cubicBezTo>
                    <a:cubicBezTo>
                      <a:pt x="3096" y="630"/>
                      <a:pt x="2541" y="1"/>
                      <a:pt x="1802"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1013;p53">
                <a:extLst>
                  <a:ext uri="{FF2B5EF4-FFF2-40B4-BE49-F238E27FC236}">
                    <a16:creationId xmlns:a16="http://schemas.microsoft.com/office/drawing/2014/main" id="{B96E547F-180D-4E2D-9D6D-A9636196ED79}"/>
                  </a:ext>
                </a:extLst>
              </p:cNvPr>
              <p:cNvSpPr/>
              <p:nvPr/>
            </p:nvSpPr>
            <p:spPr>
              <a:xfrm>
                <a:off x="6433690" y="1427216"/>
                <a:ext cx="56739" cy="48719"/>
              </a:xfrm>
              <a:custGeom>
                <a:avLst/>
                <a:gdLst/>
                <a:ahLst/>
                <a:cxnLst/>
                <a:rect l="l" t="t" r="r" b="b"/>
                <a:pathLst>
                  <a:path w="3106" h="2667" extrusionOk="0">
                    <a:moveTo>
                      <a:pt x="1812" y="0"/>
                    </a:moveTo>
                    <a:cubicBezTo>
                      <a:pt x="629" y="0"/>
                      <a:pt x="0" y="1368"/>
                      <a:pt x="814" y="2255"/>
                    </a:cubicBezTo>
                    <a:cubicBezTo>
                      <a:pt x="1085" y="2539"/>
                      <a:pt x="1426" y="2666"/>
                      <a:pt x="1760" y="2666"/>
                    </a:cubicBezTo>
                    <a:cubicBezTo>
                      <a:pt x="2428" y="2666"/>
                      <a:pt x="3069" y="2157"/>
                      <a:pt x="3069" y="1368"/>
                    </a:cubicBezTo>
                    <a:cubicBezTo>
                      <a:pt x="3106" y="629"/>
                      <a:pt x="2551" y="37"/>
                      <a:pt x="18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1014;p53">
                <a:extLst>
                  <a:ext uri="{FF2B5EF4-FFF2-40B4-BE49-F238E27FC236}">
                    <a16:creationId xmlns:a16="http://schemas.microsoft.com/office/drawing/2014/main" id="{3FA6EC0C-B219-4D26-8A7C-F9D0F779EBE2}"/>
                  </a:ext>
                </a:extLst>
              </p:cNvPr>
              <p:cNvSpPr/>
              <p:nvPr/>
            </p:nvSpPr>
            <p:spPr>
              <a:xfrm>
                <a:off x="6430493" y="1545388"/>
                <a:ext cx="56556" cy="48080"/>
              </a:xfrm>
              <a:custGeom>
                <a:avLst/>
                <a:gdLst/>
                <a:ahLst/>
                <a:cxnLst/>
                <a:rect l="l" t="t" r="r" b="b"/>
                <a:pathLst>
                  <a:path w="3096" h="2632" extrusionOk="0">
                    <a:moveTo>
                      <a:pt x="1756" y="0"/>
                    </a:moveTo>
                    <a:cubicBezTo>
                      <a:pt x="603" y="0"/>
                      <a:pt x="1" y="1380"/>
                      <a:pt x="804" y="2219"/>
                    </a:cubicBezTo>
                    <a:cubicBezTo>
                      <a:pt x="1076" y="2504"/>
                      <a:pt x="1419" y="2631"/>
                      <a:pt x="1757" y="2631"/>
                    </a:cubicBezTo>
                    <a:cubicBezTo>
                      <a:pt x="2426" y="2631"/>
                      <a:pt x="3071" y="2131"/>
                      <a:pt x="3096" y="1369"/>
                    </a:cubicBezTo>
                    <a:cubicBezTo>
                      <a:pt x="3096" y="630"/>
                      <a:pt x="2541" y="38"/>
                      <a:pt x="1802" y="1"/>
                    </a:cubicBezTo>
                    <a:cubicBezTo>
                      <a:pt x="1787" y="1"/>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1015;p53">
                <a:extLst>
                  <a:ext uri="{FF2B5EF4-FFF2-40B4-BE49-F238E27FC236}">
                    <a16:creationId xmlns:a16="http://schemas.microsoft.com/office/drawing/2014/main" id="{8FCBB691-5BC6-4F8B-A358-78607AB149CF}"/>
                  </a:ext>
                </a:extLst>
              </p:cNvPr>
              <p:cNvSpPr/>
              <p:nvPr/>
            </p:nvSpPr>
            <p:spPr>
              <a:xfrm>
                <a:off x="6427132" y="1663579"/>
                <a:ext cx="56556" cy="48044"/>
              </a:xfrm>
              <a:custGeom>
                <a:avLst/>
                <a:gdLst/>
                <a:ahLst/>
                <a:cxnLst/>
                <a:rect l="l" t="t" r="r" b="b"/>
                <a:pathLst>
                  <a:path w="3096" h="2630" extrusionOk="0">
                    <a:moveTo>
                      <a:pt x="1755" y="0"/>
                    </a:moveTo>
                    <a:cubicBezTo>
                      <a:pt x="602" y="0"/>
                      <a:pt x="0" y="1380"/>
                      <a:pt x="803" y="2219"/>
                    </a:cubicBezTo>
                    <a:cubicBezTo>
                      <a:pt x="1074" y="2503"/>
                      <a:pt x="1415" y="2630"/>
                      <a:pt x="1750" y="2630"/>
                    </a:cubicBezTo>
                    <a:cubicBezTo>
                      <a:pt x="2421" y="2630"/>
                      <a:pt x="3070" y="2121"/>
                      <a:pt x="3095" y="1332"/>
                    </a:cubicBezTo>
                    <a:cubicBezTo>
                      <a:pt x="3095" y="629"/>
                      <a:pt x="2540" y="1"/>
                      <a:pt x="1801" y="1"/>
                    </a:cubicBezTo>
                    <a:cubicBezTo>
                      <a:pt x="1786" y="0"/>
                      <a:pt x="1771" y="0"/>
                      <a:pt x="175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1016;p53">
                <a:extLst>
                  <a:ext uri="{FF2B5EF4-FFF2-40B4-BE49-F238E27FC236}">
                    <a16:creationId xmlns:a16="http://schemas.microsoft.com/office/drawing/2014/main" id="{61DBD1E7-9F62-4B86-B555-AE7E6BBA68C5}"/>
                  </a:ext>
                </a:extLst>
              </p:cNvPr>
              <p:cNvSpPr/>
              <p:nvPr/>
            </p:nvSpPr>
            <p:spPr>
              <a:xfrm>
                <a:off x="6423752" y="1781094"/>
                <a:ext cx="56556" cy="48537"/>
              </a:xfrm>
              <a:custGeom>
                <a:avLst/>
                <a:gdLst/>
                <a:ahLst/>
                <a:cxnLst/>
                <a:rect l="l" t="t" r="r" b="b"/>
                <a:pathLst>
                  <a:path w="3096" h="2657" extrusionOk="0">
                    <a:moveTo>
                      <a:pt x="1756" y="0"/>
                    </a:moveTo>
                    <a:cubicBezTo>
                      <a:pt x="602" y="0"/>
                      <a:pt x="0" y="1380"/>
                      <a:pt x="803" y="2219"/>
                    </a:cubicBezTo>
                    <a:cubicBezTo>
                      <a:pt x="1080" y="2521"/>
                      <a:pt x="1429" y="2656"/>
                      <a:pt x="1772" y="2656"/>
                    </a:cubicBezTo>
                    <a:cubicBezTo>
                      <a:pt x="2435" y="2656"/>
                      <a:pt x="3071" y="2149"/>
                      <a:pt x="3095" y="1369"/>
                    </a:cubicBezTo>
                    <a:cubicBezTo>
                      <a:pt x="3095" y="629"/>
                      <a:pt x="2541" y="38"/>
                      <a:pt x="1801" y="1"/>
                    </a:cubicBezTo>
                    <a:cubicBezTo>
                      <a:pt x="1786" y="0"/>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1017;p53">
                <a:extLst>
                  <a:ext uri="{FF2B5EF4-FFF2-40B4-BE49-F238E27FC236}">
                    <a16:creationId xmlns:a16="http://schemas.microsoft.com/office/drawing/2014/main" id="{736A8D54-013D-43E6-819B-4274070FC8A0}"/>
                  </a:ext>
                </a:extLst>
              </p:cNvPr>
              <p:cNvSpPr/>
              <p:nvPr/>
            </p:nvSpPr>
            <p:spPr>
              <a:xfrm>
                <a:off x="6535659" y="987553"/>
                <a:ext cx="138468" cy="6083"/>
              </a:xfrm>
              <a:custGeom>
                <a:avLst/>
                <a:gdLst/>
                <a:ahLst/>
                <a:cxnLst/>
                <a:rect l="l" t="t" r="r" b="b"/>
                <a:pathLst>
                  <a:path w="7580" h="333"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1018;p53">
                <a:extLst>
                  <a:ext uri="{FF2B5EF4-FFF2-40B4-BE49-F238E27FC236}">
                    <a16:creationId xmlns:a16="http://schemas.microsoft.com/office/drawing/2014/main" id="{7D4E46F0-24C5-431A-A1A5-CB0B968B8014}"/>
                  </a:ext>
                </a:extLst>
              </p:cNvPr>
              <p:cNvSpPr/>
              <p:nvPr/>
            </p:nvSpPr>
            <p:spPr>
              <a:xfrm>
                <a:off x="6534983" y="1095606"/>
                <a:ext cx="138468" cy="6101"/>
              </a:xfrm>
              <a:custGeom>
                <a:avLst/>
                <a:gdLst/>
                <a:ahLst/>
                <a:cxnLst/>
                <a:rect l="l" t="t" r="r" b="b"/>
                <a:pathLst>
                  <a:path w="7580" h="334" fill="none" extrusionOk="0">
                    <a:moveTo>
                      <a:pt x="1" y="1"/>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1019;p53">
                <a:extLst>
                  <a:ext uri="{FF2B5EF4-FFF2-40B4-BE49-F238E27FC236}">
                    <a16:creationId xmlns:a16="http://schemas.microsoft.com/office/drawing/2014/main" id="{33D30D14-5321-4CEB-994A-AACD1E21487B}"/>
                  </a:ext>
                </a:extLst>
              </p:cNvPr>
              <p:cNvSpPr/>
              <p:nvPr/>
            </p:nvSpPr>
            <p:spPr>
              <a:xfrm>
                <a:off x="6534307" y="1212445"/>
                <a:ext cx="138468" cy="6101"/>
              </a:xfrm>
              <a:custGeom>
                <a:avLst/>
                <a:gdLst/>
                <a:ahLst/>
                <a:cxnLst/>
                <a:rect l="l" t="t" r="r" b="b"/>
                <a:pathLst>
                  <a:path w="7580" h="334"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1020;p53">
                <a:extLst>
                  <a:ext uri="{FF2B5EF4-FFF2-40B4-BE49-F238E27FC236}">
                    <a16:creationId xmlns:a16="http://schemas.microsoft.com/office/drawing/2014/main" id="{96CF37BF-6F6C-428A-AAD2-686934454ED4}"/>
                  </a:ext>
                </a:extLst>
              </p:cNvPr>
              <p:cNvSpPr/>
              <p:nvPr/>
            </p:nvSpPr>
            <p:spPr>
              <a:xfrm>
                <a:off x="6520808" y="1331311"/>
                <a:ext cx="138468" cy="6101"/>
              </a:xfrm>
              <a:custGeom>
                <a:avLst/>
                <a:gdLst/>
                <a:ahLst/>
                <a:cxnLst/>
                <a:rect l="l" t="t" r="r" b="b"/>
                <a:pathLst>
                  <a:path w="7580" h="334" fill="none" extrusionOk="0">
                    <a:moveTo>
                      <a:pt x="0" y="0"/>
                    </a:moveTo>
                    <a:lnTo>
                      <a:pt x="7579"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1021;p53">
                <a:extLst>
                  <a:ext uri="{FF2B5EF4-FFF2-40B4-BE49-F238E27FC236}">
                    <a16:creationId xmlns:a16="http://schemas.microsoft.com/office/drawing/2014/main" id="{A09AF00A-B0EA-47C0-9F22-1CD2BA7AD1D3}"/>
                  </a:ext>
                </a:extLst>
              </p:cNvPr>
              <p:cNvSpPr/>
              <p:nvPr/>
            </p:nvSpPr>
            <p:spPr>
              <a:xfrm>
                <a:off x="6520132" y="1449502"/>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1022;p53">
                <a:extLst>
                  <a:ext uri="{FF2B5EF4-FFF2-40B4-BE49-F238E27FC236}">
                    <a16:creationId xmlns:a16="http://schemas.microsoft.com/office/drawing/2014/main" id="{ECC30617-3027-415D-A1E2-9CEA89FB98EB}"/>
                  </a:ext>
                </a:extLst>
              </p:cNvPr>
              <p:cNvSpPr/>
              <p:nvPr/>
            </p:nvSpPr>
            <p:spPr>
              <a:xfrm>
                <a:off x="6519456" y="1567693"/>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1023;p53">
                <a:extLst>
                  <a:ext uri="{FF2B5EF4-FFF2-40B4-BE49-F238E27FC236}">
                    <a16:creationId xmlns:a16="http://schemas.microsoft.com/office/drawing/2014/main" id="{4F8BD692-A25A-4DBB-AC79-CE5FB8A25DF2}"/>
                  </a:ext>
                </a:extLst>
              </p:cNvPr>
              <p:cNvSpPr/>
              <p:nvPr/>
            </p:nvSpPr>
            <p:spPr>
              <a:xfrm>
                <a:off x="6518780" y="1687893"/>
                <a:ext cx="138468" cy="6101"/>
              </a:xfrm>
              <a:custGeom>
                <a:avLst/>
                <a:gdLst/>
                <a:ahLst/>
                <a:cxnLst/>
                <a:rect l="l" t="t" r="r" b="b"/>
                <a:pathLst>
                  <a:path w="7580" h="334" fill="none" extrusionOk="0">
                    <a:moveTo>
                      <a:pt x="1" y="1"/>
                    </a:moveTo>
                    <a:lnTo>
                      <a:pt x="7579"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1024;p53">
                <a:extLst>
                  <a:ext uri="{FF2B5EF4-FFF2-40B4-BE49-F238E27FC236}">
                    <a16:creationId xmlns:a16="http://schemas.microsoft.com/office/drawing/2014/main" id="{527578DE-F879-4FC6-ADCD-0327B333BD53}"/>
                  </a:ext>
                </a:extLst>
              </p:cNvPr>
              <p:cNvSpPr/>
              <p:nvPr/>
            </p:nvSpPr>
            <p:spPr>
              <a:xfrm>
                <a:off x="6518104" y="1803380"/>
                <a:ext cx="138468" cy="6101"/>
              </a:xfrm>
              <a:custGeom>
                <a:avLst/>
                <a:gdLst/>
                <a:ahLst/>
                <a:cxnLst/>
                <a:rect l="l" t="t" r="r" b="b"/>
                <a:pathLst>
                  <a:path w="7580" h="334" fill="none" extrusionOk="0">
                    <a:moveTo>
                      <a:pt x="1" y="1"/>
                    </a:moveTo>
                    <a:lnTo>
                      <a:pt x="7580"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1025;p53">
                <a:extLst>
                  <a:ext uri="{FF2B5EF4-FFF2-40B4-BE49-F238E27FC236}">
                    <a16:creationId xmlns:a16="http://schemas.microsoft.com/office/drawing/2014/main" id="{4AC2B6DC-FCA4-42C4-BDDC-4A3C066FD16B}"/>
                  </a:ext>
                </a:extLst>
              </p:cNvPr>
              <p:cNvSpPr/>
              <p:nvPr/>
            </p:nvSpPr>
            <p:spPr>
              <a:xfrm>
                <a:off x="6718005" y="883538"/>
                <a:ext cx="777373" cy="578806"/>
              </a:xfrm>
              <a:custGeom>
                <a:avLst/>
                <a:gdLst/>
                <a:ahLst/>
                <a:cxnLst/>
                <a:rect l="l" t="t" r="r" b="b"/>
                <a:pathLst>
                  <a:path w="42555" h="31685" extrusionOk="0">
                    <a:moveTo>
                      <a:pt x="1369" y="1"/>
                    </a:moveTo>
                    <a:lnTo>
                      <a:pt x="1" y="30021"/>
                    </a:lnTo>
                    <a:lnTo>
                      <a:pt x="40225" y="31685"/>
                    </a:lnTo>
                    <a:lnTo>
                      <a:pt x="42554" y="3106"/>
                    </a:lnTo>
                    <a:lnTo>
                      <a:pt x="13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1026;p53">
                <a:extLst>
                  <a:ext uri="{FF2B5EF4-FFF2-40B4-BE49-F238E27FC236}">
                    <a16:creationId xmlns:a16="http://schemas.microsoft.com/office/drawing/2014/main" id="{1B1CC494-E850-4AE9-9CE1-DC59A12E99B0}"/>
                  </a:ext>
                </a:extLst>
              </p:cNvPr>
              <p:cNvSpPr/>
              <p:nvPr/>
            </p:nvSpPr>
            <p:spPr>
              <a:xfrm>
                <a:off x="6803113" y="1225195"/>
                <a:ext cx="586898" cy="237752"/>
              </a:xfrm>
              <a:custGeom>
                <a:avLst/>
                <a:gdLst/>
                <a:ahLst/>
                <a:cxnLst/>
                <a:rect l="l" t="t" r="r" b="b"/>
                <a:pathLst>
                  <a:path w="32128" h="13015" extrusionOk="0">
                    <a:moveTo>
                      <a:pt x="15073" y="0"/>
                    </a:moveTo>
                    <a:cubicBezTo>
                      <a:pt x="12504" y="0"/>
                      <a:pt x="9281" y="590"/>
                      <a:pt x="7468" y="1706"/>
                    </a:cubicBezTo>
                    <a:cubicBezTo>
                      <a:pt x="5139" y="3184"/>
                      <a:pt x="1701" y="7843"/>
                      <a:pt x="1701" y="7843"/>
                    </a:cubicBezTo>
                    <a:cubicBezTo>
                      <a:pt x="1035" y="8989"/>
                      <a:pt x="481" y="10246"/>
                      <a:pt x="0" y="11540"/>
                    </a:cubicBezTo>
                    <a:cubicBezTo>
                      <a:pt x="0" y="11540"/>
                      <a:pt x="6100" y="11762"/>
                      <a:pt x="8097" y="11873"/>
                    </a:cubicBezTo>
                    <a:cubicBezTo>
                      <a:pt x="15372" y="12205"/>
                      <a:pt x="22408" y="13014"/>
                      <a:pt x="29661" y="13014"/>
                    </a:cubicBezTo>
                    <a:cubicBezTo>
                      <a:pt x="30480" y="13014"/>
                      <a:pt x="31302" y="13004"/>
                      <a:pt x="32128" y="12982"/>
                    </a:cubicBezTo>
                    <a:cubicBezTo>
                      <a:pt x="31721" y="11614"/>
                      <a:pt x="31425" y="9691"/>
                      <a:pt x="30538" y="8434"/>
                    </a:cubicBezTo>
                    <a:cubicBezTo>
                      <a:pt x="28985" y="6105"/>
                      <a:pt x="26767" y="3591"/>
                      <a:pt x="24401" y="2038"/>
                    </a:cubicBezTo>
                    <a:cubicBezTo>
                      <a:pt x="22256" y="596"/>
                      <a:pt x="19779" y="670"/>
                      <a:pt x="17302" y="190"/>
                    </a:cubicBezTo>
                    <a:cubicBezTo>
                      <a:pt x="16676" y="63"/>
                      <a:pt x="15909" y="0"/>
                      <a:pt x="1507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1027;p53">
                <a:extLst>
                  <a:ext uri="{FF2B5EF4-FFF2-40B4-BE49-F238E27FC236}">
                    <a16:creationId xmlns:a16="http://schemas.microsoft.com/office/drawing/2014/main" id="{E8ED4CE3-2DB2-4CA5-8465-E901FF42393C}"/>
                  </a:ext>
                </a:extLst>
              </p:cNvPr>
              <p:cNvSpPr/>
              <p:nvPr/>
            </p:nvSpPr>
            <p:spPr>
              <a:xfrm>
                <a:off x="7007746" y="998934"/>
                <a:ext cx="215940" cy="212195"/>
              </a:xfrm>
              <a:custGeom>
                <a:avLst/>
                <a:gdLst/>
                <a:ahLst/>
                <a:cxnLst/>
                <a:rect l="l" t="t" r="r" b="b"/>
                <a:pathLst>
                  <a:path w="11821" h="11616" extrusionOk="0">
                    <a:moveTo>
                      <a:pt x="4684" y="1"/>
                    </a:moveTo>
                    <a:cubicBezTo>
                      <a:pt x="3148" y="1"/>
                      <a:pt x="1886" y="460"/>
                      <a:pt x="1886" y="1632"/>
                    </a:cubicBezTo>
                    <a:lnTo>
                      <a:pt x="1886" y="1374"/>
                    </a:lnTo>
                    <a:lnTo>
                      <a:pt x="1886" y="1374"/>
                    </a:lnTo>
                    <a:cubicBezTo>
                      <a:pt x="0" y="4405"/>
                      <a:pt x="185" y="11504"/>
                      <a:pt x="4880" y="11615"/>
                    </a:cubicBezTo>
                    <a:cubicBezTo>
                      <a:pt x="4901" y="11615"/>
                      <a:pt x="4921" y="11615"/>
                      <a:pt x="4942" y="11615"/>
                    </a:cubicBezTo>
                    <a:cubicBezTo>
                      <a:pt x="8758" y="11615"/>
                      <a:pt x="11821" y="4759"/>
                      <a:pt x="9945" y="1854"/>
                    </a:cubicBezTo>
                    <a:cubicBezTo>
                      <a:pt x="9269" y="819"/>
                      <a:pt x="6733" y="1"/>
                      <a:pt x="468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1028;p53">
                <a:extLst>
                  <a:ext uri="{FF2B5EF4-FFF2-40B4-BE49-F238E27FC236}">
                    <a16:creationId xmlns:a16="http://schemas.microsoft.com/office/drawing/2014/main" id="{D8581700-87F5-46B7-AC3A-3E38503EFDCE}"/>
                  </a:ext>
                </a:extLst>
              </p:cNvPr>
              <p:cNvSpPr/>
              <p:nvPr/>
            </p:nvSpPr>
            <p:spPr>
              <a:xfrm>
                <a:off x="7007746" y="948753"/>
                <a:ext cx="230682" cy="165193"/>
              </a:xfrm>
              <a:custGeom>
                <a:avLst/>
                <a:gdLst/>
                <a:ahLst/>
                <a:cxnLst/>
                <a:rect l="l" t="t" r="r" b="b"/>
                <a:pathLst>
                  <a:path w="12628" h="9043" extrusionOk="0">
                    <a:moveTo>
                      <a:pt x="4759" y="0"/>
                    </a:moveTo>
                    <a:cubicBezTo>
                      <a:pt x="2725" y="0"/>
                      <a:pt x="180" y="2695"/>
                      <a:pt x="74" y="4712"/>
                    </a:cubicBezTo>
                    <a:cubicBezTo>
                      <a:pt x="0" y="5895"/>
                      <a:pt x="74" y="7041"/>
                      <a:pt x="296" y="8187"/>
                    </a:cubicBezTo>
                    <a:cubicBezTo>
                      <a:pt x="478" y="8803"/>
                      <a:pt x="654" y="9043"/>
                      <a:pt x="830" y="9043"/>
                    </a:cubicBezTo>
                    <a:cubicBezTo>
                      <a:pt x="1118" y="9043"/>
                      <a:pt x="1402" y="8396"/>
                      <a:pt x="1701" y="7707"/>
                    </a:cubicBezTo>
                    <a:cubicBezTo>
                      <a:pt x="2579" y="5401"/>
                      <a:pt x="2914" y="3603"/>
                      <a:pt x="5719" y="3603"/>
                    </a:cubicBezTo>
                    <a:cubicBezTo>
                      <a:pt x="5747" y="3603"/>
                      <a:pt x="5776" y="3603"/>
                      <a:pt x="5805" y="3603"/>
                    </a:cubicBezTo>
                    <a:cubicBezTo>
                      <a:pt x="7136" y="3603"/>
                      <a:pt x="8245" y="3677"/>
                      <a:pt x="9354" y="4416"/>
                    </a:cubicBezTo>
                    <a:cubicBezTo>
                      <a:pt x="10870" y="5378"/>
                      <a:pt x="10056" y="5747"/>
                      <a:pt x="10463" y="7152"/>
                    </a:cubicBezTo>
                    <a:cubicBezTo>
                      <a:pt x="10537" y="7337"/>
                      <a:pt x="10537" y="7596"/>
                      <a:pt x="10611" y="7818"/>
                    </a:cubicBezTo>
                    <a:cubicBezTo>
                      <a:pt x="10661" y="7821"/>
                      <a:pt x="10710" y="7823"/>
                      <a:pt x="10756" y="7823"/>
                    </a:cubicBezTo>
                    <a:cubicBezTo>
                      <a:pt x="12628" y="7823"/>
                      <a:pt x="11569" y="4986"/>
                      <a:pt x="11461" y="4121"/>
                    </a:cubicBezTo>
                    <a:cubicBezTo>
                      <a:pt x="11239" y="2716"/>
                      <a:pt x="10685" y="1533"/>
                      <a:pt x="9391" y="867"/>
                    </a:cubicBezTo>
                    <a:lnTo>
                      <a:pt x="5028" y="17"/>
                    </a:lnTo>
                    <a:cubicBezTo>
                      <a:pt x="4940" y="6"/>
                      <a:pt x="4850" y="0"/>
                      <a:pt x="475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1029;p53">
                <a:extLst>
                  <a:ext uri="{FF2B5EF4-FFF2-40B4-BE49-F238E27FC236}">
                    <a16:creationId xmlns:a16="http://schemas.microsoft.com/office/drawing/2014/main" id="{D8D23F6D-B477-461A-ACB3-601F6E4F0A21}"/>
                  </a:ext>
                </a:extLst>
              </p:cNvPr>
              <p:cNvSpPr/>
              <p:nvPr/>
            </p:nvSpPr>
            <p:spPr>
              <a:xfrm>
                <a:off x="6981404" y="938103"/>
                <a:ext cx="264075" cy="156169"/>
              </a:xfrm>
              <a:custGeom>
                <a:avLst/>
                <a:gdLst/>
                <a:ahLst/>
                <a:cxnLst/>
                <a:rect l="l" t="t" r="r" b="b"/>
                <a:pathLst>
                  <a:path w="14456" h="8549" extrusionOk="0">
                    <a:moveTo>
                      <a:pt x="7162" y="0"/>
                    </a:moveTo>
                    <a:cubicBezTo>
                      <a:pt x="3394" y="0"/>
                      <a:pt x="252" y="2932"/>
                      <a:pt x="0" y="6700"/>
                    </a:cubicBezTo>
                    <a:lnTo>
                      <a:pt x="0" y="6774"/>
                    </a:lnTo>
                    <a:lnTo>
                      <a:pt x="1220" y="6848"/>
                    </a:lnTo>
                    <a:cubicBezTo>
                      <a:pt x="1220" y="6811"/>
                      <a:pt x="1220" y="6774"/>
                      <a:pt x="1220" y="6774"/>
                    </a:cubicBezTo>
                    <a:cubicBezTo>
                      <a:pt x="1400" y="3575"/>
                      <a:pt x="4027" y="1074"/>
                      <a:pt x="7196" y="1074"/>
                    </a:cubicBezTo>
                    <a:cubicBezTo>
                      <a:pt x="7287" y="1074"/>
                      <a:pt x="7377" y="1076"/>
                      <a:pt x="7468" y="1081"/>
                    </a:cubicBezTo>
                    <a:cubicBezTo>
                      <a:pt x="10759" y="1228"/>
                      <a:pt x="13310" y="4038"/>
                      <a:pt x="13125" y="7329"/>
                    </a:cubicBezTo>
                    <a:cubicBezTo>
                      <a:pt x="13125" y="7329"/>
                      <a:pt x="14123" y="8549"/>
                      <a:pt x="14123" y="8549"/>
                    </a:cubicBezTo>
                    <a:lnTo>
                      <a:pt x="14382" y="7366"/>
                    </a:lnTo>
                    <a:cubicBezTo>
                      <a:pt x="14456" y="3447"/>
                      <a:pt x="11424" y="193"/>
                      <a:pt x="7505" y="8"/>
                    </a:cubicBezTo>
                    <a:cubicBezTo>
                      <a:pt x="7390" y="3"/>
                      <a:pt x="7276" y="0"/>
                      <a:pt x="716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1030;p53">
                <a:extLst>
                  <a:ext uri="{FF2B5EF4-FFF2-40B4-BE49-F238E27FC236}">
                    <a16:creationId xmlns:a16="http://schemas.microsoft.com/office/drawing/2014/main" id="{FC929F1E-D459-4864-BF35-8CFB9EECEDE3}"/>
                  </a:ext>
                </a:extLst>
              </p:cNvPr>
              <p:cNvSpPr/>
              <p:nvPr/>
            </p:nvSpPr>
            <p:spPr>
              <a:xfrm>
                <a:off x="6928374" y="1028619"/>
                <a:ext cx="106408" cy="123744"/>
              </a:xfrm>
              <a:custGeom>
                <a:avLst/>
                <a:gdLst/>
                <a:ahLst/>
                <a:cxnLst/>
                <a:rect l="l" t="t" r="r" b="b"/>
                <a:pathLst>
                  <a:path w="5825" h="6774" extrusionOk="0">
                    <a:moveTo>
                      <a:pt x="5107" y="1"/>
                    </a:moveTo>
                    <a:cubicBezTo>
                      <a:pt x="2412" y="1"/>
                      <a:pt x="1" y="3612"/>
                      <a:pt x="2238" y="5849"/>
                    </a:cubicBezTo>
                    <a:cubicBezTo>
                      <a:pt x="2719" y="6366"/>
                      <a:pt x="3421" y="6699"/>
                      <a:pt x="4160" y="6773"/>
                    </a:cubicBezTo>
                    <a:cubicBezTo>
                      <a:pt x="5270" y="6736"/>
                      <a:pt x="5011" y="6403"/>
                      <a:pt x="5196" y="5257"/>
                    </a:cubicBezTo>
                    <a:cubicBezTo>
                      <a:pt x="5417" y="3705"/>
                      <a:pt x="5676" y="1967"/>
                      <a:pt x="5824" y="451"/>
                    </a:cubicBezTo>
                    <a:lnTo>
                      <a:pt x="5306" y="7"/>
                    </a:lnTo>
                    <a:cubicBezTo>
                      <a:pt x="5240" y="3"/>
                      <a:pt x="5174" y="1"/>
                      <a:pt x="510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1031;p53">
                <a:extLst>
                  <a:ext uri="{FF2B5EF4-FFF2-40B4-BE49-F238E27FC236}">
                    <a16:creationId xmlns:a16="http://schemas.microsoft.com/office/drawing/2014/main" id="{82234C17-619B-48A6-9C35-6C7FD60B3AED}"/>
                  </a:ext>
                </a:extLst>
              </p:cNvPr>
              <p:cNvSpPr/>
              <p:nvPr/>
            </p:nvSpPr>
            <p:spPr>
              <a:xfrm>
                <a:off x="7175898" y="1057573"/>
                <a:ext cx="66877" cy="115487"/>
              </a:xfrm>
              <a:custGeom>
                <a:avLst/>
                <a:gdLst/>
                <a:ahLst/>
                <a:cxnLst/>
                <a:rect l="l" t="t" r="r" b="b"/>
                <a:pathLst>
                  <a:path w="3661" h="6322" extrusionOk="0">
                    <a:moveTo>
                      <a:pt x="1790" y="0"/>
                    </a:moveTo>
                    <a:cubicBezTo>
                      <a:pt x="1544" y="0"/>
                      <a:pt x="1331" y="107"/>
                      <a:pt x="1221" y="382"/>
                    </a:cubicBezTo>
                    <a:lnTo>
                      <a:pt x="1" y="6260"/>
                    </a:lnTo>
                    <a:cubicBezTo>
                      <a:pt x="171" y="6302"/>
                      <a:pt x="335" y="6321"/>
                      <a:pt x="494" y="6321"/>
                    </a:cubicBezTo>
                    <a:cubicBezTo>
                      <a:pt x="2027" y="6321"/>
                      <a:pt x="3023" y="4502"/>
                      <a:pt x="3291" y="3229"/>
                    </a:cubicBezTo>
                    <a:cubicBezTo>
                      <a:pt x="3476" y="2341"/>
                      <a:pt x="3661" y="1380"/>
                      <a:pt x="2996" y="604"/>
                    </a:cubicBezTo>
                    <a:cubicBezTo>
                      <a:pt x="2717" y="302"/>
                      <a:pt x="2206" y="0"/>
                      <a:pt x="1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1032;p53">
                <a:extLst>
                  <a:ext uri="{FF2B5EF4-FFF2-40B4-BE49-F238E27FC236}">
                    <a16:creationId xmlns:a16="http://schemas.microsoft.com/office/drawing/2014/main" id="{15E32EC0-34CA-4CB4-B26E-4248CABFB74A}"/>
                  </a:ext>
                </a:extLst>
              </p:cNvPr>
              <p:cNvSpPr/>
              <p:nvPr/>
            </p:nvSpPr>
            <p:spPr>
              <a:xfrm>
                <a:off x="7033412" y="1140379"/>
                <a:ext cx="146560" cy="155584"/>
              </a:xfrm>
              <a:custGeom>
                <a:avLst/>
                <a:gdLst/>
                <a:ahLst/>
                <a:cxnLst/>
                <a:rect l="l" t="t" r="r" b="b"/>
                <a:pathLst>
                  <a:path w="8023" h="8517" extrusionOk="0">
                    <a:moveTo>
                      <a:pt x="740" y="729"/>
                    </a:moveTo>
                    <a:cubicBezTo>
                      <a:pt x="796" y="729"/>
                      <a:pt x="829" y="746"/>
                      <a:pt x="850" y="773"/>
                    </a:cubicBezTo>
                    <a:lnTo>
                      <a:pt x="850" y="773"/>
                    </a:lnTo>
                    <a:cubicBezTo>
                      <a:pt x="813" y="759"/>
                      <a:pt x="776" y="745"/>
                      <a:pt x="740" y="729"/>
                    </a:cubicBezTo>
                    <a:close/>
                    <a:moveTo>
                      <a:pt x="6537" y="0"/>
                    </a:moveTo>
                    <a:cubicBezTo>
                      <a:pt x="5052" y="0"/>
                      <a:pt x="3307" y="930"/>
                      <a:pt x="1807" y="930"/>
                    </a:cubicBezTo>
                    <a:cubicBezTo>
                      <a:pt x="1496" y="930"/>
                      <a:pt x="1196" y="891"/>
                      <a:pt x="911" y="794"/>
                    </a:cubicBezTo>
                    <a:lnTo>
                      <a:pt x="911" y="794"/>
                    </a:lnTo>
                    <a:lnTo>
                      <a:pt x="740" y="138"/>
                    </a:lnTo>
                    <a:cubicBezTo>
                      <a:pt x="629" y="2799"/>
                      <a:pt x="0" y="5942"/>
                      <a:pt x="518" y="7014"/>
                    </a:cubicBezTo>
                    <a:cubicBezTo>
                      <a:pt x="887" y="7861"/>
                      <a:pt x="3054" y="8516"/>
                      <a:pt x="4937" y="8516"/>
                    </a:cubicBezTo>
                    <a:cubicBezTo>
                      <a:pt x="6260" y="8516"/>
                      <a:pt x="7444" y="8193"/>
                      <a:pt x="7764" y="7384"/>
                    </a:cubicBezTo>
                    <a:cubicBezTo>
                      <a:pt x="8023" y="6718"/>
                      <a:pt x="7025" y="4722"/>
                      <a:pt x="6951" y="3872"/>
                    </a:cubicBezTo>
                    <a:cubicBezTo>
                      <a:pt x="6840" y="2615"/>
                      <a:pt x="6951" y="1321"/>
                      <a:pt x="6951" y="27"/>
                    </a:cubicBezTo>
                    <a:cubicBezTo>
                      <a:pt x="6815" y="8"/>
                      <a:pt x="6677" y="0"/>
                      <a:pt x="65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1033;p53">
                <a:extLst>
                  <a:ext uri="{FF2B5EF4-FFF2-40B4-BE49-F238E27FC236}">
                    <a16:creationId xmlns:a16="http://schemas.microsoft.com/office/drawing/2014/main" id="{5D91D2D5-1B5F-4121-92C5-20D0BC853BDA}"/>
                  </a:ext>
                </a:extLst>
              </p:cNvPr>
              <p:cNvSpPr/>
              <p:nvPr/>
            </p:nvSpPr>
            <p:spPr>
              <a:xfrm>
                <a:off x="6759217" y="1327932"/>
                <a:ext cx="243816" cy="164133"/>
              </a:xfrm>
              <a:custGeom>
                <a:avLst/>
                <a:gdLst/>
                <a:ahLst/>
                <a:cxnLst/>
                <a:rect l="l" t="t" r="r" b="b"/>
                <a:pathLst>
                  <a:path w="13347" h="8985" extrusionOk="0">
                    <a:moveTo>
                      <a:pt x="629" y="0"/>
                    </a:moveTo>
                    <a:lnTo>
                      <a:pt x="0" y="8504"/>
                    </a:lnTo>
                    <a:lnTo>
                      <a:pt x="12977" y="8984"/>
                    </a:lnTo>
                    <a:lnTo>
                      <a:pt x="13346" y="1036"/>
                    </a:lnTo>
                    <a:lnTo>
                      <a:pt x="62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1034;p53">
                <a:extLst>
                  <a:ext uri="{FF2B5EF4-FFF2-40B4-BE49-F238E27FC236}">
                    <a16:creationId xmlns:a16="http://schemas.microsoft.com/office/drawing/2014/main" id="{C5DA0CA4-A8B5-47EE-8081-B7C47FA9BCC0}"/>
                  </a:ext>
                </a:extLst>
              </p:cNvPr>
              <p:cNvSpPr/>
              <p:nvPr/>
            </p:nvSpPr>
            <p:spPr>
              <a:xfrm>
                <a:off x="7034764" y="1346839"/>
                <a:ext cx="244492" cy="158050"/>
              </a:xfrm>
              <a:custGeom>
                <a:avLst/>
                <a:gdLst/>
                <a:ahLst/>
                <a:cxnLst/>
                <a:rect l="l" t="t" r="r" b="b"/>
                <a:pathLst>
                  <a:path w="13384" h="8652" extrusionOk="0">
                    <a:moveTo>
                      <a:pt x="259" y="1"/>
                    </a:moveTo>
                    <a:lnTo>
                      <a:pt x="0" y="8134"/>
                    </a:lnTo>
                    <a:lnTo>
                      <a:pt x="12977" y="8652"/>
                    </a:lnTo>
                    <a:lnTo>
                      <a:pt x="13383" y="666"/>
                    </a:lnTo>
                    <a:lnTo>
                      <a:pt x="25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1035;p53">
                <a:extLst>
                  <a:ext uri="{FF2B5EF4-FFF2-40B4-BE49-F238E27FC236}">
                    <a16:creationId xmlns:a16="http://schemas.microsoft.com/office/drawing/2014/main" id="{3BC65B96-2637-41AD-936E-D8CDA4B25B5B}"/>
                  </a:ext>
                </a:extLst>
              </p:cNvPr>
              <p:cNvSpPr/>
              <p:nvPr/>
            </p:nvSpPr>
            <p:spPr>
              <a:xfrm>
                <a:off x="7300848" y="1359681"/>
                <a:ext cx="160754" cy="154671"/>
              </a:xfrm>
              <a:custGeom>
                <a:avLst/>
                <a:gdLst/>
                <a:ahLst/>
                <a:cxnLst/>
                <a:rect l="l" t="t" r="r" b="b"/>
                <a:pathLst>
                  <a:path w="8800" h="8467" extrusionOk="0">
                    <a:moveTo>
                      <a:pt x="666" y="0"/>
                    </a:moveTo>
                    <a:lnTo>
                      <a:pt x="0" y="7912"/>
                    </a:lnTo>
                    <a:lnTo>
                      <a:pt x="7949" y="8466"/>
                    </a:lnTo>
                    <a:lnTo>
                      <a:pt x="8799" y="666"/>
                    </a:lnTo>
                    <a:lnTo>
                      <a:pt x="66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036;p53">
                <a:extLst>
                  <a:ext uri="{FF2B5EF4-FFF2-40B4-BE49-F238E27FC236}">
                    <a16:creationId xmlns:a16="http://schemas.microsoft.com/office/drawing/2014/main" id="{D5F6AAE3-F8F6-42B0-8904-F682DC42DC31}"/>
                  </a:ext>
                </a:extLst>
              </p:cNvPr>
              <p:cNvSpPr/>
              <p:nvPr/>
            </p:nvSpPr>
            <p:spPr>
              <a:xfrm>
                <a:off x="5821126" y="1890516"/>
                <a:ext cx="1215666" cy="958350"/>
              </a:xfrm>
              <a:custGeom>
                <a:avLst/>
                <a:gdLst/>
                <a:ahLst/>
                <a:cxnLst/>
                <a:rect l="l" t="t" r="r" b="b"/>
                <a:pathLst>
                  <a:path w="66548" h="52462" extrusionOk="0">
                    <a:moveTo>
                      <a:pt x="64515" y="0"/>
                    </a:moveTo>
                    <a:lnTo>
                      <a:pt x="1" y="1738"/>
                    </a:lnTo>
                    <a:lnTo>
                      <a:pt x="1701" y="52462"/>
                    </a:lnTo>
                    <a:lnTo>
                      <a:pt x="66548" y="43773"/>
                    </a:lnTo>
                    <a:lnTo>
                      <a:pt x="645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1037;p53">
                <a:extLst>
                  <a:ext uri="{FF2B5EF4-FFF2-40B4-BE49-F238E27FC236}">
                    <a16:creationId xmlns:a16="http://schemas.microsoft.com/office/drawing/2014/main" id="{B44E083C-C2CB-41A1-B6B3-C87E93725CB0}"/>
                  </a:ext>
                </a:extLst>
              </p:cNvPr>
              <p:cNvSpPr/>
              <p:nvPr/>
            </p:nvSpPr>
            <p:spPr>
              <a:xfrm>
                <a:off x="5869078" y="1924274"/>
                <a:ext cx="1129900" cy="872584"/>
              </a:xfrm>
              <a:custGeom>
                <a:avLst/>
                <a:gdLst/>
                <a:ahLst/>
                <a:cxnLst/>
                <a:rect l="l" t="t" r="r" b="b"/>
                <a:pathLst>
                  <a:path w="61853" h="47767" extrusionOk="0">
                    <a:moveTo>
                      <a:pt x="59745" y="1"/>
                    </a:moveTo>
                    <a:lnTo>
                      <a:pt x="1" y="3476"/>
                    </a:lnTo>
                    <a:lnTo>
                      <a:pt x="1590" y="47767"/>
                    </a:lnTo>
                    <a:lnTo>
                      <a:pt x="61853" y="40188"/>
                    </a:lnTo>
                    <a:lnTo>
                      <a:pt x="5974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038;p53">
                <a:extLst>
                  <a:ext uri="{FF2B5EF4-FFF2-40B4-BE49-F238E27FC236}">
                    <a16:creationId xmlns:a16="http://schemas.microsoft.com/office/drawing/2014/main" id="{C783B0E9-117F-4467-B1E8-1A598F38BB79}"/>
                  </a:ext>
                </a:extLst>
              </p:cNvPr>
              <p:cNvSpPr/>
              <p:nvPr/>
            </p:nvSpPr>
            <p:spPr>
              <a:xfrm>
                <a:off x="5896771" y="2266680"/>
                <a:ext cx="1066420" cy="530854"/>
              </a:xfrm>
              <a:custGeom>
                <a:avLst/>
                <a:gdLst/>
                <a:ahLst/>
                <a:cxnLst/>
                <a:rect l="l" t="t" r="r" b="b"/>
                <a:pathLst>
                  <a:path w="58378" h="29060" extrusionOk="0">
                    <a:moveTo>
                      <a:pt x="26804" y="1"/>
                    </a:moveTo>
                    <a:lnTo>
                      <a:pt x="1" y="29060"/>
                    </a:lnTo>
                    <a:lnTo>
                      <a:pt x="1" y="29060"/>
                    </a:lnTo>
                    <a:lnTo>
                      <a:pt x="58377" y="21740"/>
                    </a:lnTo>
                    <a:lnTo>
                      <a:pt x="3419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039;p53">
                <a:extLst>
                  <a:ext uri="{FF2B5EF4-FFF2-40B4-BE49-F238E27FC236}">
                    <a16:creationId xmlns:a16="http://schemas.microsoft.com/office/drawing/2014/main" id="{3CE70733-9F8B-4D3B-8D2D-EAF2027CAE19}"/>
                  </a:ext>
                </a:extLst>
              </p:cNvPr>
              <p:cNvSpPr/>
              <p:nvPr/>
            </p:nvSpPr>
            <p:spPr>
              <a:xfrm>
                <a:off x="5749535" y="2266680"/>
                <a:ext cx="636896" cy="658507"/>
              </a:xfrm>
              <a:custGeom>
                <a:avLst/>
                <a:gdLst/>
                <a:ahLst/>
                <a:cxnLst/>
                <a:rect l="l" t="t" r="r" b="b"/>
                <a:pathLst>
                  <a:path w="34865" h="36048" extrusionOk="0">
                    <a:moveTo>
                      <a:pt x="33607" y="1"/>
                    </a:moveTo>
                    <a:lnTo>
                      <a:pt x="1" y="33459"/>
                    </a:lnTo>
                    <a:lnTo>
                      <a:pt x="3070" y="36047"/>
                    </a:lnTo>
                    <a:lnTo>
                      <a:pt x="3486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040;p53">
                <a:extLst>
                  <a:ext uri="{FF2B5EF4-FFF2-40B4-BE49-F238E27FC236}">
                    <a16:creationId xmlns:a16="http://schemas.microsoft.com/office/drawing/2014/main" id="{90BC5C88-08AA-4706-B092-5C79D332197A}"/>
                  </a:ext>
                </a:extLst>
              </p:cNvPr>
              <p:cNvSpPr/>
              <p:nvPr/>
            </p:nvSpPr>
            <p:spPr>
              <a:xfrm>
                <a:off x="6778799" y="2134314"/>
                <a:ext cx="104015" cy="515326"/>
              </a:xfrm>
              <a:custGeom>
                <a:avLst/>
                <a:gdLst/>
                <a:ahLst/>
                <a:cxnLst/>
                <a:rect l="l" t="t" r="r" b="b"/>
                <a:pathLst>
                  <a:path w="5694" h="28210" extrusionOk="0">
                    <a:moveTo>
                      <a:pt x="4215" y="1"/>
                    </a:moveTo>
                    <a:lnTo>
                      <a:pt x="0" y="28209"/>
                    </a:lnTo>
                    <a:lnTo>
                      <a:pt x="1960" y="28172"/>
                    </a:lnTo>
                    <a:lnTo>
                      <a:pt x="5694"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041;p53">
                <a:extLst>
                  <a:ext uri="{FF2B5EF4-FFF2-40B4-BE49-F238E27FC236}">
                    <a16:creationId xmlns:a16="http://schemas.microsoft.com/office/drawing/2014/main" id="{4F36926E-C9CA-40DB-981C-C514AB942D0F}"/>
                  </a:ext>
                </a:extLst>
              </p:cNvPr>
              <p:cNvSpPr/>
              <p:nvPr/>
            </p:nvSpPr>
            <p:spPr>
              <a:xfrm>
                <a:off x="6740292" y="2199821"/>
                <a:ext cx="81071" cy="301231"/>
              </a:xfrm>
              <a:custGeom>
                <a:avLst/>
                <a:gdLst/>
                <a:ahLst/>
                <a:cxnLst/>
                <a:rect l="l" t="t" r="r" b="b"/>
                <a:pathLst>
                  <a:path w="4438" h="16490" extrusionOk="0">
                    <a:moveTo>
                      <a:pt x="4437" y="1"/>
                    </a:moveTo>
                    <a:lnTo>
                      <a:pt x="3032" y="75"/>
                    </a:lnTo>
                    <a:lnTo>
                      <a:pt x="1" y="16490"/>
                    </a:lnTo>
                    <a:lnTo>
                      <a:pt x="1" y="16490"/>
                    </a:lnTo>
                    <a:lnTo>
                      <a:pt x="1886" y="16342"/>
                    </a:lnTo>
                    <a:lnTo>
                      <a:pt x="4437"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1042;p53">
                <a:extLst>
                  <a:ext uri="{FF2B5EF4-FFF2-40B4-BE49-F238E27FC236}">
                    <a16:creationId xmlns:a16="http://schemas.microsoft.com/office/drawing/2014/main" id="{7A99CE3B-7110-4868-B000-0B1E91260354}"/>
                  </a:ext>
                </a:extLst>
              </p:cNvPr>
              <p:cNvSpPr/>
              <p:nvPr/>
            </p:nvSpPr>
            <p:spPr>
              <a:xfrm>
                <a:off x="6041980" y="2232246"/>
                <a:ext cx="36480" cy="262047"/>
              </a:xfrm>
              <a:custGeom>
                <a:avLst/>
                <a:gdLst/>
                <a:ahLst/>
                <a:cxnLst/>
                <a:rect l="l" t="t" r="r" b="b"/>
                <a:pathLst>
                  <a:path w="1997" h="14345" extrusionOk="0">
                    <a:moveTo>
                      <a:pt x="0" y="0"/>
                    </a:moveTo>
                    <a:lnTo>
                      <a:pt x="703" y="14345"/>
                    </a:lnTo>
                    <a:lnTo>
                      <a:pt x="1997" y="14345"/>
                    </a:lnTo>
                    <a:lnTo>
                      <a:pt x="1405"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1043;p53">
                <a:extLst>
                  <a:ext uri="{FF2B5EF4-FFF2-40B4-BE49-F238E27FC236}">
                    <a16:creationId xmlns:a16="http://schemas.microsoft.com/office/drawing/2014/main" id="{8C3F6401-FC21-4832-AA9E-3495F76D8CF7}"/>
                  </a:ext>
                </a:extLst>
              </p:cNvPr>
              <p:cNvSpPr/>
              <p:nvPr/>
            </p:nvSpPr>
            <p:spPr>
              <a:xfrm>
                <a:off x="5973093" y="2232922"/>
                <a:ext cx="49998" cy="418070"/>
              </a:xfrm>
              <a:custGeom>
                <a:avLst/>
                <a:gdLst/>
                <a:ahLst/>
                <a:cxnLst/>
                <a:rect l="l" t="t" r="r" b="b"/>
                <a:pathLst>
                  <a:path w="2737" h="22886" extrusionOk="0">
                    <a:moveTo>
                      <a:pt x="0" y="0"/>
                    </a:moveTo>
                    <a:lnTo>
                      <a:pt x="1220" y="22885"/>
                    </a:lnTo>
                    <a:lnTo>
                      <a:pt x="2736" y="22885"/>
                    </a:lnTo>
                    <a:lnTo>
                      <a:pt x="1553"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1044;p53">
                <a:extLst>
                  <a:ext uri="{FF2B5EF4-FFF2-40B4-BE49-F238E27FC236}">
                    <a16:creationId xmlns:a16="http://schemas.microsoft.com/office/drawing/2014/main" id="{26A695FA-3BBC-4896-B784-65340134597F}"/>
                  </a:ext>
                </a:extLst>
              </p:cNvPr>
              <p:cNvSpPr/>
              <p:nvPr/>
            </p:nvSpPr>
            <p:spPr>
              <a:xfrm>
                <a:off x="6391821" y="2134314"/>
                <a:ext cx="545705" cy="272862"/>
              </a:xfrm>
              <a:custGeom>
                <a:avLst/>
                <a:gdLst/>
                <a:ahLst/>
                <a:cxnLst/>
                <a:rect l="l" t="t" r="r" b="b"/>
                <a:pathLst>
                  <a:path w="29873" h="14937" extrusionOk="0">
                    <a:moveTo>
                      <a:pt x="29872" y="1"/>
                    </a:moveTo>
                    <a:lnTo>
                      <a:pt x="0" y="2219"/>
                    </a:lnTo>
                    <a:lnTo>
                      <a:pt x="1331" y="14937"/>
                    </a:lnTo>
                    <a:lnTo>
                      <a:pt x="29761" y="12829"/>
                    </a:lnTo>
                    <a:lnTo>
                      <a:pt x="2987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1045;p53">
                <a:extLst>
                  <a:ext uri="{FF2B5EF4-FFF2-40B4-BE49-F238E27FC236}">
                    <a16:creationId xmlns:a16="http://schemas.microsoft.com/office/drawing/2014/main" id="{3F3148D9-02E9-4D52-8A14-02119727D11B}"/>
                  </a:ext>
                </a:extLst>
              </p:cNvPr>
              <p:cNvSpPr/>
              <p:nvPr/>
            </p:nvSpPr>
            <p:spPr>
              <a:xfrm>
                <a:off x="6282398" y="2320716"/>
                <a:ext cx="545723" cy="272862"/>
              </a:xfrm>
              <a:custGeom>
                <a:avLst/>
                <a:gdLst/>
                <a:ahLst/>
                <a:cxnLst/>
                <a:rect l="l" t="t" r="r" b="b"/>
                <a:pathLst>
                  <a:path w="29874" h="14937" extrusionOk="0">
                    <a:moveTo>
                      <a:pt x="29873" y="0"/>
                    </a:moveTo>
                    <a:lnTo>
                      <a:pt x="1" y="2219"/>
                    </a:lnTo>
                    <a:lnTo>
                      <a:pt x="1332" y="14937"/>
                    </a:lnTo>
                    <a:lnTo>
                      <a:pt x="29725" y="12829"/>
                    </a:lnTo>
                    <a:lnTo>
                      <a:pt x="2987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1046;p53">
                <a:extLst>
                  <a:ext uri="{FF2B5EF4-FFF2-40B4-BE49-F238E27FC236}">
                    <a16:creationId xmlns:a16="http://schemas.microsoft.com/office/drawing/2014/main" id="{06FE016D-39AD-4B9B-A5B9-8FBDC018FDF2}"/>
                  </a:ext>
                </a:extLst>
              </p:cNvPr>
              <p:cNvSpPr/>
              <p:nvPr/>
            </p:nvSpPr>
            <p:spPr>
              <a:xfrm>
                <a:off x="5903530" y="2055289"/>
                <a:ext cx="455208" cy="234372"/>
              </a:xfrm>
              <a:custGeom>
                <a:avLst/>
                <a:gdLst/>
                <a:ahLst/>
                <a:cxnLst/>
                <a:rect l="l" t="t" r="r" b="b"/>
                <a:pathLst>
                  <a:path w="24919" h="12830" extrusionOk="0">
                    <a:moveTo>
                      <a:pt x="24327" y="1"/>
                    </a:moveTo>
                    <a:lnTo>
                      <a:pt x="0" y="1739"/>
                    </a:lnTo>
                    <a:lnTo>
                      <a:pt x="592" y="12830"/>
                    </a:lnTo>
                    <a:lnTo>
                      <a:pt x="24918" y="11203"/>
                    </a:lnTo>
                    <a:lnTo>
                      <a:pt x="2432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1047;p53">
                <a:extLst>
                  <a:ext uri="{FF2B5EF4-FFF2-40B4-BE49-F238E27FC236}">
                    <a16:creationId xmlns:a16="http://schemas.microsoft.com/office/drawing/2014/main" id="{9B8F5F23-4638-4BFC-95B3-D64301FFFD1F}"/>
                  </a:ext>
                </a:extLst>
              </p:cNvPr>
              <p:cNvSpPr/>
              <p:nvPr/>
            </p:nvSpPr>
            <p:spPr>
              <a:xfrm>
                <a:off x="5920410" y="2571949"/>
                <a:ext cx="345804" cy="155347"/>
              </a:xfrm>
              <a:custGeom>
                <a:avLst/>
                <a:gdLst/>
                <a:ahLst/>
                <a:cxnLst/>
                <a:rect l="l" t="t" r="r" b="b"/>
                <a:pathLst>
                  <a:path w="18930" h="8504" extrusionOk="0">
                    <a:moveTo>
                      <a:pt x="18671" y="1"/>
                    </a:moveTo>
                    <a:lnTo>
                      <a:pt x="1" y="925"/>
                    </a:lnTo>
                    <a:lnTo>
                      <a:pt x="259" y="8504"/>
                    </a:lnTo>
                    <a:lnTo>
                      <a:pt x="18929" y="7653"/>
                    </a:lnTo>
                    <a:lnTo>
                      <a:pt x="1867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1048;p53">
                <a:extLst>
                  <a:ext uri="{FF2B5EF4-FFF2-40B4-BE49-F238E27FC236}">
                    <a16:creationId xmlns:a16="http://schemas.microsoft.com/office/drawing/2014/main" id="{FFE30D8F-709A-4910-A4C3-F7B24B85D11B}"/>
                  </a:ext>
                </a:extLst>
              </p:cNvPr>
              <p:cNvSpPr/>
              <p:nvPr/>
            </p:nvSpPr>
            <p:spPr>
              <a:xfrm>
                <a:off x="6993552" y="1864174"/>
                <a:ext cx="877991" cy="735486"/>
              </a:xfrm>
              <a:custGeom>
                <a:avLst/>
                <a:gdLst/>
                <a:ahLst/>
                <a:cxnLst/>
                <a:rect l="l" t="t" r="r" b="b"/>
                <a:pathLst>
                  <a:path w="48063" h="40262" extrusionOk="0">
                    <a:moveTo>
                      <a:pt x="47323" y="0"/>
                    </a:moveTo>
                    <a:lnTo>
                      <a:pt x="1" y="1442"/>
                    </a:lnTo>
                    <a:lnTo>
                      <a:pt x="1775" y="40261"/>
                    </a:lnTo>
                    <a:lnTo>
                      <a:pt x="48063" y="34716"/>
                    </a:lnTo>
                    <a:lnTo>
                      <a:pt x="4732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1049;p53">
                <a:extLst>
                  <a:ext uri="{FF2B5EF4-FFF2-40B4-BE49-F238E27FC236}">
                    <a16:creationId xmlns:a16="http://schemas.microsoft.com/office/drawing/2014/main" id="{9B065D56-BAB2-431E-B4BF-92354A2229A6}"/>
                  </a:ext>
                </a:extLst>
              </p:cNvPr>
              <p:cNvSpPr/>
              <p:nvPr/>
            </p:nvSpPr>
            <p:spPr>
              <a:xfrm>
                <a:off x="7050291" y="1899284"/>
                <a:ext cx="792207" cy="663896"/>
              </a:xfrm>
              <a:custGeom>
                <a:avLst/>
                <a:gdLst/>
                <a:ahLst/>
                <a:cxnLst/>
                <a:rect l="l" t="t" r="r" b="b"/>
                <a:pathLst>
                  <a:path w="43367" h="36343" extrusionOk="0">
                    <a:moveTo>
                      <a:pt x="42701" y="1"/>
                    </a:moveTo>
                    <a:lnTo>
                      <a:pt x="0" y="1295"/>
                    </a:lnTo>
                    <a:lnTo>
                      <a:pt x="1590" y="36343"/>
                    </a:lnTo>
                    <a:lnTo>
                      <a:pt x="43367" y="31352"/>
                    </a:lnTo>
                    <a:lnTo>
                      <a:pt x="42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1050;p53">
                <a:extLst>
                  <a:ext uri="{FF2B5EF4-FFF2-40B4-BE49-F238E27FC236}">
                    <a16:creationId xmlns:a16="http://schemas.microsoft.com/office/drawing/2014/main" id="{61FEB06E-811F-4C1F-891E-66073454DA15}"/>
                  </a:ext>
                </a:extLst>
              </p:cNvPr>
              <p:cNvSpPr/>
              <p:nvPr/>
            </p:nvSpPr>
            <p:spPr>
              <a:xfrm>
                <a:off x="7467667" y="1959403"/>
                <a:ext cx="326221" cy="493022"/>
              </a:xfrm>
              <a:custGeom>
                <a:avLst/>
                <a:gdLst/>
                <a:ahLst/>
                <a:cxnLst/>
                <a:rect l="l" t="t" r="r" b="b"/>
                <a:pathLst>
                  <a:path w="17858" h="26989" extrusionOk="0">
                    <a:moveTo>
                      <a:pt x="16933" y="0"/>
                    </a:moveTo>
                    <a:lnTo>
                      <a:pt x="0" y="776"/>
                    </a:lnTo>
                    <a:lnTo>
                      <a:pt x="592" y="26989"/>
                    </a:lnTo>
                    <a:lnTo>
                      <a:pt x="17857" y="25584"/>
                    </a:lnTo>
                    <a:lnTo>
                      <a:pt x="1693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1051;p53">
                <a:extLst>
                  <a:ext uri="{FF2B5EF4-FFF2-40B4-BE49-F238E27FC236}">
                    <a16:creationId xmlns:a16="http://schemas.microsoft.com/office/drawing/2014/main" id="{1AE9AD55-A627-410F-B7DA-E5617B029185}"/>
                  </a:ext>
                </a:extLst>
              </p:cNvPr>
              <p:cNvSpPr/>
              <p:nvPr/>
            </p:nvSpPr>
            <p:spPr>
              <a:xfrm>
                <a:off x="7338662" y="2075566"/>
                <a:ext cx="107413" cy="80377"/>
              </a:xfrm>
              <a:custGeom>
                <a:avLst/>
                <a:gdLst/>
                <a:ahLst/>
                <a:cxnLst/>
                <a:rect l="l" t="t" r="r" b="b"/>
                <a:pathLst>
                  <a:path w="5880" h="4400" extrusionOk="0">
                    <a:moveTo>
                      <a:pt x="5768" y="0"/>
                    </a:moveTo>
                    <a:lnTo>
                      <a:pt x="1" y="333"/>
                    </a:lnTo>
                    <a:lnTo>
                      <a:pt x="186" y="4400"/>
                    </a:lnTo>
                    <a:lnTo>
                      <a:pt x="5879" y="4104"/>
                    </a:lnTo>
                    <a:lnTo>
                      <a:pt x="576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1052;p53">
                <a:extLst>
                  <a:ext uri="{FF2B5EF4-FFF2-40B4-BE49-F238E27FC236}">
                    <a16:creationId xmlns:a16="http://schemas.microsoft.com/office/drawing/2014/main" id="{303C86E6-0586-498E-A028-DD315C2D3538}"/>
                  </a:ext>
                </a:extLst>
              </p:cNvPr>
              <p:cNvSpPr/>
              <p:nvPr/>
            </p:nvSpPr>
            <p:spPr>
              <a:xfrm>
                <a:off x="7209675" y="1978310"/>
                <a:ext cx="106719" cy="84432"/>
              </a:xfrm>
              <a:custGeom>
                <a:avLst/>
                <a:gdLst/>
                <a:ahLst/>
                <a:cxnLst/>
                <a:rect l="l" t="t" r="r" b="b"/>
                <a:pathLst>
                  <a:path w="5842" h="4622" extrusionOk="0">
                    <a:moveTo>
                      <a:pt x="5583" y="0"/>
                    </a:moveTo>
                    <a:lnTo>
                      <a:pt x="0" y="74"/>
                    </a:lnTo>
                    <a:lnTo>
                      <a:pt x="222" y="4622"/>
                    </a:lnTo>
                    <a:lnTo>
                      <a:pt x="5842" y="4326"/>
                    </a:lnTo>
                    <a:lnTo>
                      <a:pt x="558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1053;p53">
                <a:extLst>
                  <a:ext uri="{FF2B5EF4-FFF2-40B4-BE49-F238E27FC236}">
                    <a16:creationId xmlns:a16="http://schemas.microsoft.com/office/drawing/2014/main" id="{DAD744AE-AD71-408B-9068-E872BBE25236}"/>
                  </a:ext>
                </a:extLst>
              </p:cNvPr>
              <p:cNvSpPr/>
              <p:nvPr/>
            </p:nvSpPr>
            <p:spPr>
              <a:xfrm>
                <a:off x="7215082" y="2082982"/>
                <a:ext cx="106719" cy="78368"/>
              </a:xfrm>
              <a:custGeom>
                <a:avLst/>
                <a:gdLst/>
                <a:ahLst/>
                <a:cxnLst/>
                <a:rect l="l" t="t" r="r" b="b"/>
                <a:pathLst>
                  <a:path w="5842" h="4290" extrusionOk="0">
                    <a:moveTo>
                      <a:pt x="5620" y="1"/>
                    </a:moveTo>
                    <a:lnTo>
                      <a:pt x="0" y="333"/>
                    </a:lnTo>
                    <a:lnTo>
                      <a:pt x="222" y="4289"/>
                    </a:lnTo>
                    <a:lnTo>
                      <a:pt x="5842" y="4031"/>
                    </a:lnTo>
                    <a:lnTo>
                      <a:pt x="562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1054;p53">
                <a:extLst>
                  <a:ext uri="{FF2B5EF4-FFF2-40B4-BE49-F238E27FC236}">
                    <a16:creationId xmlns:a16="http://schemas.microsoft.com/office/drawing/2014/main" id="{4316376A-51D2-4D0F-9C58-068B7362948B}"/>
                  </a:ext>
                </a:extLst>
              </p:cNvPr>
              <p:cNvSpPr/>
              <p:nvPr/>
            </p:nvSpPr>
            <p:spPr>
              <a:xfrm>
                <a:off x="7220471" y="2182266"/>
                <a:ext cx="107413" cy="83756"/>
              </a:xfrm>
              <a:custGeom>
                <a:avLst/>
                <a:gdLst/>
                <a:ahLst/>
                <a:cxnLst/>
                <a:rect l="l" t="t" r="r" b="b"/>
                <a:pathLst>
                  <a:path w="5880" h="4585" extrusionOk="0">
                    <a:moveTo>
                      <a:pt x="5621" y="0"/>
                    </a:moveTo>
                    <a:lnTo>
                      <a:pt x="1" y="333"/>
                    </a:lnTo>
                    <a:lnTo>
                      <a:pt x="186" y="4585"/>
                    </a:lnTo>
                    <a:lnTo>
                      <a:pt x="5879" y="4326"/>
                    </a:lnTo>
                    <a:lnTo>
                      <a:pt x="562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1055;p53">
                <a:extLst>
                  <a:ext uri="{FF2B5EF4-FFF2-40B4-BE49-F238E27FC236}">
                    <a16:creationId xmlns:a16="http://schemas.microsoft.com/office/drawing/2014/main" id="{EC5F2221-2557-4260-9A2E-13E514781DA1}"/>
                  </a:ext>
                </a:extLst>
              </p:cNvPr>
              <p:cNvSpPr/>
              <p:nvPr/>
            </p:nvSpPr>
            <p:spPr>
              <a:xfrm>
                <a:off x="7225202" y="2286263"/>
                <a:ext cx="113478" cy="186420"/>
              </a:xfrm>
              <a:custGeom>
                <a:avLst/>
                <a:gdLst/>
                <a:ahLst/>
                <a:cxnLst/>
                <a:rect l="l" t="t" r="r" b="b"/>
                <a:pathLst>
                  <a:path w="6212" h="10205" extrusionOk="0">
                    <a:moveTo>
                      <a:pt x="5694" y="1"/>
                    </a:moveTo>
                    <a:lnTo>
                      <a:pt x="1" y="371"/>
                    </a:lnTo>
                    <a:lnTo>
                      <a:pt x="518" y="10205"/>
                    </a:lnTo>
                    <a:lnTo>
                      <a:pt x="6212" y="9687"/>
                    </a:lnTo>
                    <a:lnTo>
                      <a:pt x="569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1056;p53">
                <a:extLst>
                  <a:ext uri="{FF2B5EF4-FFF2-40B4-BE49-F238E27FC236}">
                    <a16:creationId xmlns:a16="http://schemas.microsoft.com/office/drawing/2014/main" id="{654EE103-4D87-4E58-8E5C-064E2DB06C8F}"/>
                  </a:ext>
                </a:extLst>
              </p:cNvPr>
              <p:cNvSpPr/>
              <p:nvPr/>
            </p:nvSpPr>
            <p:spPr>
              <a:xfrm>
                <a:off x="7114446" y="2090417"/>
                <a:ext cx="83756" cy="76340"/>
              </a:xfrm>
              <a:custGeom>
                <a:avLst/>
                <a:gdLst/>
                <a:ahLst/>
                <a:cxnLst/>
                <a:rect l="l" t="t" r="r" b="b"/>
                <a:pathLst>
                  <a:path w="4585" h="4179" extrusionOk="0">
                    <a:moveTo>
                      <a:pt x="4363" y="0"/>
                    </a:moveTo>
                    <a:lnTo>
                      <a:pt x="1" y="296"/>
                    </a:lnTo>
                    <a:lnTo>
                      <a:pt x="148" y="4178"/>
                    </a:lnTo>
                    <a:lnTo>
                      <a:pt x="4585" y="3956"/>
                    </a:lnTo>
                    <a:lnTo>
                      <a:pt x="436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1057;p53">
                <a:extLst>
                  <a:ext uri="{FF2B5EF4-FFF2-40B4-BE49-F238E27FC236}">
                    <a16:creationId xmlns:a16="http://schemas.microsoft.com/office/drawing/2014/main" id="{98F9366E-DA4A-4EA5-9C03-680654CA3D53}"/>
                  </a:ext>
                </a:extLst>
              </p:cNvPr>
              <p:cNvSpPr/>
              <p:nvPr/>
            </p:nvSpPr>
            <p:spPr>
              <a:xfrm>
                <a:off x="7118502" y="2189701"/>
                <a:ext cx="85784" cy="81729"/>
              </a:xfrm>
              <a:custGeom>
                <a:avLst/>
                <a:gdLst/>
                <a:ahLst/>
                <a:cxnLst/>
                <a:rect l="l" t="t" r="r" b="b"/>
                <a:pathLst>
                  <a:path w="4696" h="4474" extrusionOk="0">
                    <a:moveTo>
                      <a:pt x="4474" y="0"/>
                    </a:moveTo>
                    <a:lnTo>
                      <a:pt x="0" y="259"/>
                    </a:lnTo>
                    <a:lnTo>
                      <a:pt x="185" y="4474"/>
                    </a:lnTo>
                    <a:lnTo>
                      <a:pt x="4696" y="4252"/>
                    </a:lnTo>
                    <a:lnTo>
                      <a:pt x="447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1058;p53">
                <a:extLst>
                  <a:ext uri="{FF2B5EF4-FFF2-40B4-BE49-F238E27FC236}">
                    <a16:creationId xmlns:a16="http://schemas.microsoft.com/office/drawing/2014/main" id="{9798BC6C-280C-4C8F-B610-950BD6858E7F}"/>
                  </a:ext>
                </a:extLst>
              </p:cNvPr>
              <p:cNvSpPr/>
              <p:nvPr/>
            </p:nvSpPr>
            <p:spPr>
              <a:xfrm>
                <a:off x="7348800" y="2279522"/>
                <a:ext cx="104691" cy="181689"/>
              </a:xfrm>
              <a:custGeom>
                <a:avLst/>
                <a:gdLst/>
                <a:ahLst/>
                <a:cxnLst/>
                <a:rect l="l" t="t" r="r" b="b"/>
                <a:pathLst>
                  <a:path w="5731" h="9946" extrusionOk="0">
                    <a:moveTo>
                      <a:pt x="5509" y="0"/>
                    </a:moveTo>
                    <a:lnTo>
                      <a:pt x="0" y="333"/>
                    </a:lnTo>
                    <a:lnTo>
                      <a:pt x="481" y="9945"/>
                    </a:lnTo>
                    <a:lnTo>
                      <a:pt x="5731" y="9465"/>
                    </a:lnTo>
                    <a:lnTo>
                      <a:pt x="5509"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1059;p53">
                <a:extLst>
                  <a:ext uri="{FF2B5EF4-FFF2-40B4-BE49-F238E27FC236}">
                    <a16:creationId xmlns:a16="http://schemas.microsoft.com/office/drawing/2014/main" id="{30088307-C81A-48CF-9863-00ACAF602599}"/>
                  </a:ext>
                </a:extLst>
              </p:cNvPr>
              <p:cNvSpPr/>
              <p:nvPr/>
            </p:nvSpPr>
            <p:spPr>
              <a:xfrm>
                <a:off x="7343393" y="2174831"/>
                <a:ext cx="105385" cy="85127"/>
              </a:xfrm>
              <a:custGeom>
                <a:avLst/>
                <a:gdLst/>
                <a:ahLst/>
                <a:cxnLst/>
                <a:rect l="l" t="t" r="r" b="b"/>
                <a:pathLst>
                  <a:path w="5769" h="4660" extrusionOk="0">
                    <a:moveTo>
                      <a:pt x="5657" y="1"/>
                    </a:moveTo>
                    <a:lnTo>
                      <a:pt x="1" y="333"/>
                    </a:lnTo>
                    <a:lnTo>
                      <a:pt x="222" y="4659"/>
                    </a:lnTo>
                    <a:lnTo>
                      <a:pt x="5768" y="4400"/>
                    </a:lnTo>
                    <a:lnTo>
                      <a:pt x="565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1060;p53">
                <a:extLst>
                  <a:ext uri="{FF2B5EF4-FFF2-40B4-BE49-F238E27FC236}">
                    <a16:creationId xmlns:a16="http://schemas.microsoft.com/office/drawing/2014/main" id="{926AAB84-5149-49E4-96F5-C67159B0C856}"/>
                  </a:ext>
                </a:extLst>
              </p:cNvPr>
              <p:cNvSpPr/>
              <p:nvPr/>
            </p:nvSpPr>
            <p:spPr>
              <a:xfrm>
                <a:off x="7123233" y="2293698"/>
                <a:ext cx="92543" cy="187772"/>
              </a:xfrm>
              <a:custGeom>
                <a:avLst/>
                <a:gdLst/>
                <a:ahLst/>
                <a:cxnLst/>
                <a:rect l="l" t="t" r="r" b="b"/>
                <a:pathLst>
                  <a:path w="5066" h="10279" extrusionOk="0">
                    <a:moveTo>
                      <a:pt x="4511" y="1"/>
                    </a:moveTo>
                    <a:lnTo>
                      <a:pt x="0" y="296"/>
                    </a:lnTo>
                    <a:lnTo>
                      <a:pt x="444" y="10278"/>
                    </a:lnTo>
                    <a:lnTo>
                      <a:pt x="5065" y="9872"/>
                    </a:lnTo>
                    <a:lnTo>
                      <a:pt x="451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1061;p53">
                <a:extLst>
                  <a:ext uri="{FF2B5EF4-FFF2-40B4-BE49-F238E27FC236}">
                    <a16:creationId xmlns:a16="http://schemas.microsoft.com/office/drawing/2014/main" id="{000DEE0F-2A60-4146-8B8F-97A6DBD45096}"/>
                  </a:ext>
                </a:extLst>
              </p:cNvPr>
              <p:cNvSpPr/>
              <p:nvPr/>
            </p:nvSpPr>
            <p:spPr>
              <a:xfrm>
                <a:off x="7109039" y="1979661"/>
                <a:ext cx="83775" cy="87812"/>
              </a:xfrm>
              <a:custGeom>
                <a:avLst/>
                <a:gdLst/>
                <a:ahLst/>
                <a:cxnLst/>
                <a:rect l="l" t="t" r="r" b="b"/>
                <a:pathLst>
                  <a:path w="4586" h="4807" extrusionOk="0">
                    <a:moveTo>
                      <a:pt x="4326" y="0"/>
                    </a:moveTo>
                    <a:lnTo>
                      <a:pt x="1" y="37"/>
                    </a:lnTo>
                    <a:lnTo>
                      <a:pt x="223" y="4806"/>
                    </a:lnTo>
                    <a:lnTo>
                      <a:pt x="4585" y="4585"/>
                    </a:lnTo>
                    <a:lnTo>
                      <a:pt x="432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1062;p53">
                <a:extLst>
                  <a:ext uri="{FF2B5EF4-FFF2-40B4-BE49-F238E27FC236}">
                    <a16:creationId xmlns:a16="http://schemas.microsoft.com/office/drawing/2014/main" id="{19FC6B1E-2116-4424-8E04-30784054C31D}"/>
                  </a:ext>
                </a:extLst>
              </p:cNvPr>
              <p:cNvSpPr/>
              <p:nvPr/>
            </p:nvSpPr>
            <p:spPr>
              <a:xfrm>
                <a:off x="7333273" y="1976958"/>
                <a:ext cx="110098" cy="79701"/>
              </a:xfrm>
              <a:custGeom>
                <a:avLst/>
                <a:gdLst/>
                <a:ahLst/>
                <a:cxnLst/>
                <a:rect l="l" t="t" r="r" b="b"/>
                <a:pathLst>
                  <a:path w="6027" h="4363" extrusionOk="0">
                    <a:moveTo>
                      <a:pt x="5915" y="0"/>
                    </a:moveTo>
                    <a:lnTo>
                      <a:pt x="0" y="74"/>
                    </a:lnTo>
                    <a:lnTo>
                      <a:pt x="222" y="4363"/>
                    </a:lnTo>
                    <a:lnTo>
                      <a:pt x="6026" y="4067"/>
                    </a:lnTo>
                    <a:lnTo>
                      <a:pt x="5915"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1063;p53">
                <a:extLst>
                  <a:ext uri="{FF2B5EF4-FFF2-40B4-BE49-F238E27FC236}">
                    <a16:creationId xmlns:a16="http://schemas.microsoft.com/office/drawing/2014/main" id="{3379F5CA-5DA8-4D9E-8C96-DB032EA92381}"/>
                  </a:ext>
                </a:extLst>
              </p:cNvPr>
              <p:cNvSpPr/>
              <p:nvPr/>
            </p:nvSpPr>
            <p:spPr>
              <a:xfrm>
                <a:off x="7479139" y="2038410"/>
                <a:ext cx="299203" cy="359998"/>
              </a:xfrm>
              <a:custGeom>
                <a:avLst/>
                <a:gdLst/>
                <a:ahLst/>
                <a:cxnLst/>
                <a:rect l="l" t="t" r="r" b="b"/>
                <a:pathLst>
                  <a:path w="16379" h="19707" extrusionOk="0">
                    <a:moveTo>
                      <a:pt x="12238" y="8689"/>
                    </a:moveTo>
                    <a:lnTo>
                      <a:pt x="14197" y="11425"/>
                    </a:lnTo>
                    <a:cubicBezTo>
                      <a:pt x="13495" y="12053"/>
                      <a:pt x="12867" y="12756"/>
                      <a:pt x="12275" y="13495"/>
                    </a:cubicBezTo>
                    <a:lnTo>
                      <a:pt x="12275" y="13532"/>
                    </a:lnTo>
                    <a:cubicBezTo>
                      <a:pt x="12238" y="13606"/>
                      <a:pt x="12201" y="13680"/>
                      <a:pt x="12127" y="13754"/>
                    </a:cubicBezTo>
                    <a:lnTo>
                      <a:pt x="11942" y="13199"/>
                    </a:lnTo>
                    <a:cubicBezTo>
                      <a:pt x="11794" y="12571"/>
                      <a:pt x="11720" y="11905"/>
                      <a:pt x="11757" y="11240"/>
                    </a:cubicBezTo>
                    <a:cubicBezTo>
                      <a:pt x="11831" y="10537"/>
                      <a:pt x="12238" y="8689"/>
                      <a:pt x="12238" y="8689"/>
                    </a:cubicBezTo>
                    <a:close/>
                    <a:moveTo>
                      <a:pt x="10389" y="1"/>
                    </a:moveTo>
                    <a:cubicBezTo>
                      <a:pt x="8504" y="38"/>
                      <a:pt x="7580" y="3254"/>
                      <a:pt x="8171" y="4548"/>
                    </a:cubicBezTo>
                    <a:cubicBezTo>
                      <a:pt x="7765" y="4733"/>
                      <a:pt x="7395" y="4955"/>
                      <a:pt x="7062" y="5214"/>
                    </a:cubicBezTo>
                    <a:cubicBezTo>
                      <a:pt x="6766" y="5435"/>
                      <a:pt x="6582" y="6138"/>
                      <a:pt x="6508" y="7210"/>
                    </a:cubicBezTo>
                    <a:cubicBezTo>
                      <a:pt x="6286" y="8430"/>
                      <a:pt x="5657" y="9539"/>
                      <a:pt x="4770" y="10389"/>
                    </a:cubicBezTo>
                    <a:cubicBezTo>
                      <a:pt x="4623" y="10536"/>
                      <a:pt x="4415" y="10594"/>
                      <a:pt x="4178" y="10594"/>
                    </a:cubicBezTo>
                    <a:cubicBezTo>
                      <a:pt x="3279" y="10594"/>
                      <a:pt x="1960" y="9761"/>
                      <a:pt x="1960" y="9761"/>
                    </a:cubicBezTo>
                    <a:cubicBezTo>
                      <a:pt x="1960" y="9761"/>
                      <a:pt x="1462" y="8889"/>
                      <a:pt x="865" y="8889"/>
                    </a:cubicBezTo>
                    <a:cubicBezTo>
                      <a:pt x="812" y="8889"/>
                      <a:pt x="758" y="8895"/>
                      <a:pt x="703" y="8911"/>
                    </a:cubicBezTo>
                    <a:cubicBezTo>
                      <a:pt x="1" y="9059"/>
                      <a:pt x="555" y="10759"/>
                      <a:pt x="629" y="10907"/>
                    </a:cubicBezTo>
                    <a:cubicBezTo>
                      <a:pt x="694" y="11036"/>
                      <a:pt x="3049" y="12721"/>
                      <a:pt x="5123" y="12721"/>
                    </a:cubicBezTo>
                    <a:cubicBezTo>
                      <a:pt x="5420" y="12721"/>
                      <a:pt x="5712" y="12686"/>
                      <a:pt x="5990" y="12608"/>
                    </a:cubicBezTo>
                    <a:cubicBezTo>
                      <a:pt x="6323" y="12534"/>
                      <a:pt x="6582" y="12386"/>
                      <a:pt x="6803" y="12201"/>
                    </a:cubicBezTo>
                    <a:lnTo>
                      <a:pt x="6803" y="12201"/>
                    </a:lnTo>
                    <a:cubicBezTo>
                      <a:pt x="6877" y="12719"/>
                      <a:pt x="5879" y="19706"/>
                      <a:pt x="5879" y="19706"/>
                    </a:cubicBezTo>
                    <a:lnTo>
                      <a:pt x="13236" y="17377"/>
                    </a:lnTo>
                    <a:lnTo>
                      <a:pt x="12867" y="16194"/>
                    </a:lnTo>
                    <a:cubicBezTo>
                      <a:pt x="13347" y="15565"/>
                      <a:pt x="13902" y="15048"/>
                      <a:pt x="14493" y="14604"/>
                    </a:cubicBezTo>
                    <a:cubicBezTo>
                      <a:pt x="15417" y="14013"/>
                      <a:pt x="16046" y="12608"/>
                      <a:pt x="16194" y="12053"/>
                    </a:cubicBezTo>
                    <a:cubicBezTo>
                      <a:pt x="16379" y="11499"/>
                      <a:pt x="15713" y="9502"/>
                      <a:pt x="14308" y="7062"/>
                    </a:cubicBezTo>
                    <a:cubicBezTo>
                      <a:pt x="12903" y="4622"/>
                      <a:pt x="13199" y="5435"/>
                      <a:pt x="12349" y="4881"/>
                    </a:cubicBezTo>
                    <a:cubicBezTo>
                      <a:pt x="11979" y="4622"/>
                      <a:pt x="11573" y="4437"/>
                      <a:pt x="11129" y="4326"/>
                    </a:cubicBezTo>
                    <a:lnTo>
                      <a:pt x="11055" y="3328"/>
                    </a:lnTo>
                    <a:cubicBezTo>
                      <a:pt x="11240" y="3069"/>
                      <a:pt x="11351" y="2810"/>
                      <a:pt x="11425" y="2515"/>
                    </a:cubicBezTo>
                    <a:cubicBezTo>
                      <a:pt x="11646" y="1553"/>
                      <a:pt x="11425" y="1"/>
                      <a:pt x="1038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1064;p53">
                <a:extLst>
                  <a:ext uri="{FF2B5EF4-FFF2-40B4-BE49-F238E27FC236}">
                    <a16:creationId xmlns:a16="http://schemas.microsoft.com/office/drawing/2014/main" id="{E69182F6-9CF0-4573-95F7-C4A45B9F5671}"/>
                  </a:ext>
                </a:extLst>
              </p:cNvPr>
              <p:cNvSpPr/>
              <p:nvPr/>
            </p:nvSpPr>
            <p:spPr>
              <a:xfrm>
                <a:off x="7529119" y="2315984"/>
                <a:ext cx="241131" cy="47970"/>
              </a:xfrm>
              <a:custGeom>
                <a:avLst/>
                <a:gdLst/>
                <a:ahLst/>
                <a:cxnLst/>
                <a:rect l="l" t="t" r="r" b="b"/>
                <a:pathLst>
                  <a:path w="13200" h="2626" extrusionOk="0">
                    <a:moveTo>
                      <a:pt x="13199" y="1"/>
                    </a:moveTo>
                    <a:lnTo>
                      <a:pt x="296" y="1258"/>
                    </a:lnTo>
                    <a:lnTo>
                      <a:pt x="1" y="2626"/>
                    </a:lnTo>
                    <a:lnTo>
                      <a:pt x="12940" y="1258"/>
                    </a:lnTo>
                    <a:lnTo>
                      <a:pt x="1319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1065;p53">
                <a:extLst>
                  <a:ext uri="{FF2B5EF4-FFF2-40B4-BE49-F238E27FC236}">
                    <a16:creationId xmlns:a16="http://schemas.microsoft.com/office/drawing/2014/main" id="{B3E6A9AA-BC2F-4288-8006-ACBFB879D2BA}"/>
                  </a:ext>
                </a:extLst>
              </p:cNvPr>
              <p:cNvSpPr/>
              <p:nvPr/>
            </p:nvSpPr>
            <p:spPr>
              <a:xfrm>
                <a:off x="7539257" y="2349761"/>
                <a:ext cx="222882" cy="45943"/>
              </a:xfrm>
              <a:custGeom>
                <a:avLst/>
                <a:gdLst/>
                <a:ahLst/>
                <a:cxnLst/>
                <a:rect l="l" t="t" r="r" b="b"/>
                <a:pathLst>
                  <a:path w="12201" h="2515" extrusionOk="0">
                    <a:moveTo>
                      <a:pt x="12200" y="0"/>
                    </a:moveTo>
                    <a:lnTo>
                      <a:pt x="259" y="1368"/>
                    </a:lnTo>
                    <a:lnTo>
                      <a:pt x="0" y="2514"/>
                    </a:lnTo>
                    <a:lnTo>
                      <a:pt x="11979" y="1257"/>
                    </a:lnTo>
                    <a:lnTo>
                      <a:pt x="1220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1066;p53">
                <a:extLst>
                  <a:ext uri="{FF2B5EF4-FFF2-40B4-BE49-F238E27FC236}">
                    <a16:creationId xmlns:a16="http://schemas.microsoft.com/office/drawing/2014/main" id="{B474B77F-906C-4343-9D90-8E48E2C76D3D}"/>
                  </a:ext>
                </a:extLst>
              </p:cNvPr>
              <p:cNvSpPr/>
              <p:nvPr/>
            </p:nvSpPr>
            <p:spPr>
              <a:xfrm>
                <a:off x="5133610" y="3063618"/>
                <a:ext cx="1381133" cy="432246"/>
              </a:xfrm>
              <a:custGeom>
                <a:avLst/>
                <a:gdLst/>
                <a:ahLst/>
                <a:cxnLst/>
                <a:rect l="l" t="t" r="r" b="b"/>
                <a:pathLst>
                  <a:path w="75606" h="23662" extrusionOk="0">
                    <a:moveTo>
                      <a:pt x="42813" y="0"/>
                    </a:moveTo>
                    <a:lnTo>
                      <a:pt x="1" y="7801"/>
                    </a:lnTo>
                    <a:lnTo>
                      <a:pt x="28579" y="23661"/>
                    </a:lnTo>
                    <a:lnTo>
                      <a:pt x="75606" y="14308"/>
                    </a:lnTo>
                    <a:lnTo>
                      <a:pt x="4281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1067;p53">
                <a:extLst>
                  <a:ext uri="{FF2B5EF4-FFF2-40B4-BE49-F238E27FC236}">
                    <a16:creationId xmlns:a16="http://schemas.microsoft.com/office/drawing/2014/main" id="{D8642E3A-4FEC-4245-92E4-A33E064996CA}"/>
                  </a:ext>
                </a:extLst>
              </p:cNvPr>
              <p:cNvSpPr/>
              <p:nvPr/>
            </p:nvSpPr>
            <p:spPr>
              <a:xfrm>
                <a:off x="5649594" y="3324971"/>
                <a:ext cx="865149" cy="1280515"/>
              </a:xfrm>
              <a:custGeom>
                <a:avLst/>
                <a:gdLst/>
                <a:ahLst/>
                <a:cxnLst/>
                <a:rect l="l" t="t" r="r" b="b"/>
                <a:pathLst>
                  <a:path w="47360" h="70098" extrusionOk="0">
                    <a:moveTo>
                      <a:pt x="47360" y="1"/>
                    </a:moveTo>
                    <a:lnTo>
                      <a:pt x="333" y="9354"/>
                    </a:lnTo>
                    <a:lnTo>
                      <a:pt x="0" y="70097"/>
                    </a:lnTo>
                    <a:lnTo>
                      <a:pt x="47027" y="55346"/>
                    </a:lnTo>
                    <a:lnTo>
                      <a:pt x="4736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1068;p53">
                <a:extLst>
                  <a:ext uri="{FF2B5EF4-FFF2-40B4-BE49-F238E27FC236}">
                    <a16:creationId xmlns:a16="http://schemas.microsoft.com/office/drawing/2014/main" id="{C9201500-2B0B-481A-9C1F-1DBBBAA1A665}"/>
                  </a:ext>
                </a:extLst>
              </p:cNvPr>
              <p:cNvSpPr/>
              <p:nvPr/>
            </p:nvSpPr>
            <p:spPr>
              <a:xfrm>
                <a:off x="5127545" y="3206123"/>
                <a:ext cx="528150" cy="1399364"/>
              </a:xfrm>
              <a:custGeom>
                <a:avLst/>
                <a:gdLst/>
                <a:ahLst/>
                <a:cxnLst/>
                <a:rect l="l" t="t" r="r" b="b"/>
                <a:pathLst>
                  <a:path w="28912" h="76604" extrusionOk="0">
                    <a:moveTo>
                      <a:pt x="333" y="0"/>
                    </a:moveTo>
                    <a:lnTo>
                      <a:pt x="0" y="56380"/>
                    </a:lnTo>
                    <a:lnTo>
                      <a:pt x="28578" y="76603"/>
                    </a:lnTo>
                    <a:lnTo>
                      <a:pt x="28911" y="15860"/>
                    </a:lnTo>
                    <a:lnTo>
                      <a:pt x="33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1069;p53">
                <a:extLst>
                  <a:ext uri="{FF2B5EF4-FFF2-40B4-BE49-F238E27FC236}">
                    <a16:creationId xmlns:a16="http://schemas.microsoft.com/office/drawing/2014/main" id="{44ABB957-267F-47C4-8915-AF3958E4A326}"/>
                  </a:ext>
                </a:extLst>
              </p:cNvPr>
              <p:cNvSpPr/>
              <p:nvPr/>
            </p:nvSpPr>
            <p:spPr>
              <a:xfrm>
                <a:off x="5653649" y="3636999"/>
                <a:ext cx="859066" cy="191151"/>
              </a:xfrm>
              <a:custGeom>
                <a:avLst/>
                <a:gdLst/>
                <a:ahLst/>
                <a:cxnLst/>
                <a:rect l="l" t="t" r="r" b="b"/>
                <a:pathLst>
                  <a:path w="47027" h="10464" fill="none" extrusionOk="0">
                    <a:moveTo>
                      <a:pt x="0" y="10463"/>
                    </a:moveTo>
                    <a:lnTo>
                      <a:pt x="47027"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1070;p53">
                <a:extLst>
                  <a:ext uri="{FF2B5EF4-FFF2-40B4-BE49-F238E27FC236}">
                    <a16:creationId xmlns:a16="http://schemas.microsoft.com/office/drawing/2014/main" id="{742BF276-BE15-4DFB-A2BF-42C69507D9A0}"/>
                  </a:ext>
                </a:extLst>
              </p:cNvPr>
              <p:cNvSpPr/>
              <p:nvPr/>
            </p:nvSpPr>
            <p:spPr>
              <a:xfrm>
                <a:off x="5664445" y="3967933"/>
                <a:ext cx="841529" cy="212067"/>
              </a:xfrm>
              <a:custGeom>
                <a:avLst/>
                <a:gdLst/>
                <a:ahLst/>
                <a:cxnLst/>
                <a:rect l="l" t="t" r="r" b="b"/>
                <a:pathLst>
                  <a:path w="46067" h="11609" fill="none" extrusionOk="0">
                    <a:moveTo>
                      <a:pt x="1" y="11609"/>
                    </a:moveTo>
                    <a:lnTo>
                      <a:pt x="46066"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1071;p53">
                <a:extLst>
                  <a:ext uri="{FF2B5EF4-FFF2-40B4-BE49-F238E27FC236}">
                    <a16:creationId xmlns:a16="http://schemas.microsoft.com/office/drawing/2014/main" id="{EC74B352-4D93-49EC-95A1-D1624C2FE3DE}"/>
                  </a:ext>
                </a:extLst>
              </p:cNvPr>
              <p:cNvSpPr/>
              <p:nvPr/>
            </p:nvSpPr>
            <p:spPr>
              <a:xfrm>
                <a:off x="5649594" y="3495846"/>
                <a:ext cx="6101" cy="1100854"/>
              </a:xfrm>
              <a:custGeom>
                <a:avLst/>
                <a:gdLst/>
                <a:ahLst/>
                <a:cxnLst/>
                <a:rect l="l" t="t" r="r" b="b"/>
                <a:pathLst>
                  <a:path w="334" h="60263" fill="none" extrusionOk="0">
                    <a:moveTo>
                      <a:pt x="333" y="0"/>
                    </a:moveTo>
                    <a:lnTo>
                      <a:pt x="0" y="60263"/>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1072;p53">
                <a:extLst>
                  <a:ext uri="{FF2B5EF4-FFF2-40B4-BE49-F238E27FC236}">
                    <a16:creationId xmlns:a16="http://schemas.microsoft.com/office/drawing/2014/main" id="{9F5784B3-3FF9-415A-AEA3-DBB3156CBA3B}"/>
                  </a:ext>
                </a:extLst>
              </p:cNvPr>
              <p:cNvSpPr/>
              <p:nvPr/>
            </p:nvSpPr>
            <p:spPr>
              <a:xfrm>
                <a:off x="5648918" y="3438431"/>
                <a:ext cx="859742" cy="1166380"/>
              </a:xfrm>
              <a:custGeom>
                <a:avLst/>
                <a:gdLst/>
                <a:ahLst/>
                <a:cxnLst/>
                <a:rect l="l" t="t" r="r" b="b"/>
                <a:pathLst>
                  <a:path w="47064" h="63850" extrusionOk="0">
                    <a:moveTo>
                      <a:pt x="16083" y="1"/>
                    </a:moveTo>
                    <a:lnTo>
                      <a:pt x="370" y="3107"/>
                    </a:lnTo>
                    <a:lnTo>
                      <a:pt x="0" y="63849"/>
                    </a:lnTo>
                    <a:lnTo>
                      <a:pt x="47064" y="49135"/>
                    </a:lnTo>
                    <a:lnTo>
                      <a:pt x="47064" y="47360"/>
                    </a:lnTo>
                    <a:cubicBezTo>
                      <a:pt x="45215" y="45993"/>
                      <a:pt x="42997" y="45216"/>
                      <a:pt x="40742" y="45142"/>
                    </a:cubicBezTo>
                    <a:cubicBezTo>
                      <a:pt x="40584" y="45137"/>
                      <a:pt x="40427" y="45135"/>
                      <a:pt x="40270" y="45135"/>
                    </a:cubicBezTo>
                    <a:cubicBezTo>
                      <a:pt x="34548" y="45135"/>
                      <a:pt x="29460" y="48338"/>
                      <a:pt x="23846" y="48950"/>
                    </a:cubicBezTo>
                    <a:cubicBezTo>
                      <a:pt x="23338" y="49008"/>
                      <a:pt x="22836" y="49037"/>
                      <a:pt x="22341" y="49037"/>
                    </a:cubicBezTo>
                    <a:cubicBezTo>
                      <a:pt x="18410" y="49037"/>
                      <a:pt x="14959" y="47222"/>
                      <a:pt x="12792" y="43774"/>
                    </a:cubicBezTo>
                    <a:cubicBezTo>
                      <a:pt x="10426" y="40040"/>
                      <a:pt x="9539" y="35493"/>
                      <a:pt x="9317" y="31130"/>
                    </a:cubicBezTo>
                    <a:cubicBezTo>
                      <a:pt x="9021" y="25954"/>
                      <a:pt x="9835" y="20852"/>
                      <a:pt x="11055" y="15824"/>
                    </a:cubicBezTo>
                    <a:cubicBezTo>
                      <a:pt x="12312" y="10427"/>
                      <a:pt x="14012" y="5140"/>
                      <a:pt x="160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1073;p53">
                <a:extLst>
                  <a:ext uri="{FF2B5EF4-FFF2-40B4-BE49-F238E27FC236}">
                    <a16:creationId xmlns:a16="http://schemas.microsoft.com/office/drawing/2014/main" id="{762EA40D-6BB4-44EE-983B-3911396CDE35}"/>
                  </a:ext>
                </a:extLst>
              </p:cNvPr>
              <p:cNvSpPr/>
              <p:nvPr/>
            </p:nvSpPr>
            <p:spPr>
              <a:xfrm>
                <a:off x="5953510" y="3371572"/>
                <a:ext cx="326203" cy="107413"/>
              </a:xfrm>
              <a:custGeom>
                <a:avLst/>
                <a:gdLst/>
                <a:ahLst/>
                <a:cxnLst/>
                <a:rect l="l" t="t" r="r" b="b"/>
                <a:pathLst>
                  <a:path w="17857" h="5880" extrusionOk="0">
                    <a:moveTo>
                      <a:pt x="17857" y="1"/>
                    </a:moveTo>
                    <a:lnTo>
                      <a:pt x="0" y="3550"/>
                    </a:lnTo>
                    <a:lnTo>
                      <a:pt x="1627" y="5879"/>
                    </a:lnTo>
                    <a:lnTo>
                      <a:pt x="16896" y="2995"/>
                    </a:lnTo>
                    <a:lnTo>
                      <a:pt x="1785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1074;p53">
                <a:extLst>
                  <a:ext uri="{FF2B5EF4-FFF2-40B4-BE49-F238E27FC236}">
                    <a16:creationId xmlns:a16="http://schemas.microsoft.com/office/drawing/2014/main" id="{E46B75EA-B3CD-4DAC-9BCF-874985874BE8}"/>
                  </a:ext>
                </a:extLst>
              </p:cNvPr>
              <p:cNvSpPr/>
              <p:nvPr/>
            </p:nvSpPr>
            <p:spPr>
              <a:xfrm>
                <a:off x="5969714" y="3689006"/>
                <a:ext cx="326221" cy="116181"/>
              </a:xfrm>
              <a:custGeom>
                <a:avLst/>
                <a:gdLst/>
                <a:ahLst/>
                <a:cxnLst/>
                <a:rect l="l" t="t" r="r" b="b"/>
                <a:pathLst>
                  <a:path w="17858" h="6360" extrusionOk="0">
                    <a:moveTo>
                      <a:pt x="17857" y="0"/>
                    </a:moveTo>
                    <a:lnTo>
                      <a:pt x="0" y="4030"/>
                    </a:lnTo>
                    <a:lnTo>
                      <a:pt x="1627" y="6359"/>
                    </a:lnTo>
                    <a:lnTo>
                      <a:pt x="17081" y="2773"/>
                    </a:lnTo>
                    <a:lnTo>
                      <a:pt x="1785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1075;p53">
                <a:extLst>
                  <a:ext uri="{FF2B5EF4-FFF2-40B4-BE49-F238E27FC236}">
                    <a16:creationId xmlns:a16="http://schemas.microsoft.com/office/drawing/2014/main" id="{D2BE728C-319A-4CFB-BA93-5418F6962250}"/>
                  </a:ext>
                </a:extLst>
              </p:cNvPr>
              <p:cNvSpPr/>
              <p:nvPr/>
            </p:nvSpPr>
            <p:spPr>
              <a:xfrm>
                <a:off x="6007527" y="4017218"/>
                <a:ext cx="326221" cy="124292"/>
              </a:xfrm>
              <a:custGeom>
                <a:avLst/>
                <a:gdLst/>
                <a:ahLst/>
                <a:cxnLst/>
                <a:rect l="l" t="t" r="r" b="b"/>
                <a:pathLst>
                  <a:path w="17858" h="6804" extrusionOk="0">
                    <a:moveTo>
                      <a:pt x="17858" y="1"/>
                    </a:moveTo>
                    <a:lnTo>
                      <a:pt x="1" y="4474"/>
                    </a:lnTo>
                    <a:lnTo>
                      <a:pt x="1627" y="6803"/>
                    </a:lnTo>
                    <a:lnTo>
                      <a:pt x="17007" y="3180"/>
                    </a:lnTo>
                    <a:lnTo>
                      <a:pt x="1785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1076;p53">
                <a:extLst>
                  <a:ext uri="{FF2B5EF4-FFF2-40B4-BE49-F238E27FC236}">
                    <a16:creationId xmlns:a16="http://schemas.microsoft.com/office/drawing/2014/main" id="{C8157E93-E7E4-408E-BC37-CB3AE604E195}"/>
                  </a:ext>
                </a:extLst>
              </p:cNvPr>
              <p:cNvSpPr/>
              <p:nvPr/>
            </p:nvSpPr>
            <p:spPr>
              <a:xfrm>
                <a:off x="5133610" y="3242585"/>
                <a:ext cx="522085" cy="312703"/>
              </a:xfrm>
              <a:custGeom>
                <a:avLst/>
                <a:gdLst/>
                <a:ahLst/>
                <a:cxnLst/>
                <a:rect l="l" t="t" r="r" b="b"/>
                <a:pathLst>
                  <a:path w="28580" h="17118" fill="none" extrusionOk="0">
                    <a:moveTo>
                      <a:pt x="1" y="0"/>
                    </a:moveTo>
                    <a:lnTo>
                      <a:pt x="28579" y="17118"/>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1077;p53">
                <a:extLst>
                  <a:ext uri="{FF2B5EF4-FFF2-40B4-BE49-F238E27FC236}">
                    <a16:creationId xmlns:a16="http://schemas.microsoft.com/office/drawing/2014/main" id="{B7ECB33A-47E9-4D49-930F-AF8A36033788}"/>
                  </a:ext>
                </a:extLst>
              </p:cNvPr>
              <p:cNvSpPr/>
              <p:nvPr/>
            </p:nvSpPr>
            <p:spPr>
              <a:xfrm>
                <a:off x="5126869" y="3387793"/>
                <a:ext cx="528826" cy="1217693"/>
              </a:xfrm>
              <a:custGeom>
                <a:avLst/>
                <a:gdLst/>
                <a:ahLst/>
                <a:cxnLst/>
                <a:rect l="l" t="t" r="r" b="b"/>
                <a:pathLst>
                  <a:path w="28949" h="66659" extrusionOk="0">
                    <a:moveTo>
                      <a:pt x="18300" y="0"/>
                    </a:moveTo>
                    <a:cubicBezTo>
                      <a:pt x="18227" y="2625"/>
                      <a:pt x="18005" y="5287"/>
                      <a:pt x="17635" y="7838"/>
                    </a:cubicBezTo>
                    <a:cubicBezTo>
                      <a:pt x="16711" y="14493"/>
                      <a:pt x="14936" y="21887"/>
                      <a:pt x="10204" y="26915"/>
                    </a:cubicBezTo>
                    <a:cubicBezTo>
                      <a:pt x="8134" y="29170"/>
                      <a:pt x="5398" y="30760"/>
                      <a:pt x="2403" y="31425"/>
                    </a:cubicBezTo>
                    <a:cubicBezTo>
                      <a:pt x="1664" y="31573"/>
                      <a:pt x="887" y="31647"/>
                      <a:pt x="111" y="31721"/>
                    </a:cubicBezTo>
                    <a:lnTo>
                      <a:pt x="0" y="46472"/>
                    </a:lnTo>
                    <a:lnTo>
                      <a:pt x="28578" y="66658"/>
                    </a:lnTo>
                    <a:lnTo>
                      <a:pt x="28948" y="5915"/>
                    </a:lnTo>
                    <a:lnTo>
                      <a:pt x="1830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1078;p53">
                <a:extLst>
                  <a:ext uri="{FF2B5EF4-FFF2-40B4-BE49-F238E27FC236}">
                    <a16:creationId xmlns:a16="http://schemas.microsoft.com/office/drawing/2014/main" id="{9F4AEB7D-E26B-466A-93CB-EDACB5709205}"/>
                  </a:ext>
                </a:extLst>
              </p:cNvPr>
              <p:cNvSpPr/>
              <p:nvPr/>
            </p:nvSpPr>
            <p:spPr>
              <a:xfrm>
                <a:off x="5162655" y="3387793"/>
                <a:ext cx="428190" cy="1090040"/>
              </a:xfrm>
              <a:custGeom>
                <a:avLst/>
                <a:gdLst/>
                <a:ahLst/>
                <a:cxnLst/>
                <a:rect l="l" t="t" r="r" b="b"/>
                <a:pathLst>
                  <a:path w="23440" h="59671" fill="none" extrusionOk="0">
                    <a:moveTo>
                      <a:pt x="0" y="0"/>
                    </a:moveTo>
                    <a:lnTo>
                      <a:pt x="0" y="44328"/>
                    </a:lnTo>
                    <a:lnTo>
                      <a:pt x="23440" y="59671"/>
                    </a:lnTo>
                    <a:lnTo>
                      <a:pt x="23440" y="13494"/>
                    </a:lnTo>
                    <a:lnTo>
                      <a:pt x="0"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1079;p53">
                <a:extLst>
                  <a:ext uri="{FF2B5EF4-FFF2-40B4-BE49-F238E27FC236}">
                    <a16:creationId xmlns:a16="http://schemas.microsoft.com/office/drawing/2014/main" id="{E2C99FE1-518A-4838-A023-779B81FC59DA}"/>
                  </a:ext>
                </a:extLst>
              </p:cNvPr>
              <p:cNvSpPr/>
              <p:nvPr/>
            </p:nvSpPr>
            <p:spPr>
              <a:xfrm>
                <a:off x="5297725" y="2267356"/>
                <a:ext cx="928647" cy="224252"/>
              </a:xfrm>
              <a:custGeom>
                <a:avLst/>
                <a:gdLst/>
                <a:ahLst/>
                <a:cxnLst/>
                <a:rect l="l" t="t" r="r" b="b"/>
                <a:pathLst>
                  <a:path w="50836" h="12276" extrusionOk="0">
                    <a:moveTo>
                      <a:pt x="20704" y="1"/>
                    </a:moveTo>
                    <a:lnTo>
                      <a:pt x="1" y="2441"/>
                    </a:lnTo>
                    <a:lnTo>
                      <a:pt x="25362" y="12275"/>
                    </a:lnTo>
                    <a:lnTo>
                      <a:pt x="50835" y="8874"/>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1080;p53">
                <a:extLst>
                  <a:ext uri="{FF2B5EF4-FFF2-40B4-BE49-F238E27FC236}">
                    <a16:creationId xmlns:a16="http://schemas.microsoft.com/office/drawing/2014/main" id="{3EC2099C-C85C-4A38-8BD6-E5D791DA3260}"/>
                  </a:ext>
                </a:extLst>
              </p:cNvPr>
              <p:cNvSpPr/>
              <p:nvPr/>
            </p:nvSpPr>
            <p:spPr>
              <a:xfrm>
                <a:off x="5755618" y="2429444"/>
                <a:ext cx="470753" cy="991450"/>
              </a:xfrm>
              <a:custGeom>
                <a:avLst/>
                <a:gdLst/>
                <a:ahLst/>
                <a:cxnLst/>
                <a:rect l="l" t="t" r="r" b="b"/>
                <a:pathLst>
                  <a:path w="25770" h="54274" extrusionOk="0">
                    <a:moveTo>
                      <a:pt x="25769" y="1"/>
                    </a:moveTo>
                    <a:lnTo>
                      <a:pt x="296" y="3402"/>
                    </a:lnTo>
                    <a:lnTo>
                      <a:pt x="1" y="54274"/>
                    </a:lnTo>
                    <a:lnTo>
                      <a:pt x="25473" y="48950"/>
                    </a:lnTo>
                    <a:lnTo>
                      <a:pt x="25769"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1081;p53">
                <a:extLst>
                  <a:ext uri="{FF2B5EF4-FFF2-40B4-BE49-F238E27FC236}">
                    <a16:creationId xmlns:a16="http://schemas.microsoft.com/office/drawing/2014/main" id="{A247EE5E-4683-453A-92F7-EDBC170F21CA}"/>
                  </a:ext>
                </a:extLst>
              </p:cNvPr>
              <p:cNvSpPr/>
              <p:nvPr/>
            </p:nvSpPr>
            <p:spPr>
              <a:xfrm>
                <a:off x="5292318" y="2311929"/>
                <a:ext cx="468726" cy="1108965"/>
              </a:xfrm>
              <a:custGeom>
                <a:avLst/>
                <a:gdLst/>
                <a:ahLst/>
                <a:cxnLst/>
                <a:rect l="l" t="t" r="r" b="b"/>
                <a:pathLst>
                  <a:path w="25659" h="60707" extrusionOk="0">
                    <a:moveTo>
                      <a:pt x="297" y="1"/>
                    </a:moveTo>
                    <a:lnTo>
                      <a:pt x="1" y="47360"/>
                    </a:lnTo>
                    <a:lnTo>
                      <a:pt x="25363" y="60707"/>
                    </a:lnTo>
                    <a:lnTo>
                      <a:pt x="25658" y="9835"/>
                    </a:lnTo>
                    <a:lnTo>
                      <a:pt x="29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1082;p53">
                <a:extLst>
                  <a:ext uri="{FF2B5EF4-FFF2-40B4-BE49-F238E27FC236}">
                    <a16:creationId xmlns:a16="http://schemas.microsoft.com/office/drawing/2014/main" id="{1D8C5D61-2075-4C35-BF09-6E6011B84127}"/>
                  </a:ext>
                </a:extLst>
              </p:cNvPr>
              <p:cNvSpPr/>
              <p:nvPr/>
            </p:nvSpPr>
            <p:spPr>
              <a:xfrm>
                <a:off x="5827885" y="2478072"/>
                <a:ext cx="352563" cy="175605"/>
              </a:xfrm>
              <a:custGeom>
                <a:avLst/>
                <a:gdLst/>
                <a:ahLst/>
                <a:cxnLst/>
                <a:rect l="l" t="t" r="r" b="b"/>
                <a:pathLst>
                  <a:path w="19300" h="9613" fill="none" extrusionOk="0">
                    <a:moveTo>
                      <a:pt x="38" y="3143"/>
                    </a:moveTo>
                    <a:lnTo>
                      <a:pt x="1" y="9613"/>
                    </a:lnTo>
                    <a:lnTo>
                      <a:pt x="19262" y="6544"/>
                    </a:lnTo>
                    <a:lnTo>
                      <a:pt x="19299" y="1"/>
                    </a:lnTo>
                    <a:close/>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1083;p53">
                <a:extLst>
                  <a:ext uri="{FF2B5EF4-FFF2-40B4-BE49-F238E27FC236}">
                    <a16:creationId xmlns:a16="http://schemas.microsoft.com/office/drawing/2014/main" id="{ABD9E8B7-C5E9-4D1C-A078-39939C63EDC7}"/>
                  </a:ext>
                </a:extLst>
              </p:cNvPr>
              <p:cNvSpPr/>
              <p:nvPr/>
            </p:nvSpPr>
            <p:spPr>
              <a:xfrm>
                <a:off x="5823829" y="2625308"/>
                <a:ext cx="355266" cy="713876"/>
              </a:xfrm>
              <a:custGeom>
                <a:avLst/>
                <a:gdLst/>
                <a:ahLst/>
                <a:cxnLst/>
                <a:rect l="l" t="t" r="r" b="b"/>
                <a:pathLst>
                  <a:path w="19448" h="39079" extrusionOk="0">
                    <a:moveTo>
                      <a:pt x="19447" y="0"/>
                    </a:moveTo>
                    <a:lnTo>
                      <a:pt x="223" y="3291"/>
                    </a:lnTo>
                    <a:lnTo>
                      <a:pt x="1" y="39078"/>
                    </a:lnTo>
                    <a:lnTo>
                      <a:pt x="19262" y="35455"/>
                    </a:lnTo>
                    <a:lnTo>
                      <a:pt x="1944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1084;p53">
                <a:extLst>
                  <a:ext uri="{FF2B5EF4-FFF2-40B4-BE49-F238E27FC236}">
                    <a16:creationId xmlns:a16="http://schemas.microsoft.com/office/drawing/2014/main" id="{19D0CE9E-B04E-4B90-91D9-FA397A42977A}"/>
                  </a:ext>
                </a:extLst>
              </p:cNvPr>
              <p:cNvSpPr/>
              <p:nvPr/>
            </p:nvSpPr>
            <p:spPr>
              <a:xfrm>
                <a:off x="5869754" y="2717833"/>
                <a:ext cx="236400" cy="218826"/>
              </a:xfrm>
              <a:custGeom>
                <a:avLst/>
                <a:gdLst/>
                <a:ahLst/>
                <a:cxnLst/>
                <a:rect l="l" t="t" r="r" b="b"/>
                <a:pathLst>
                  <a:path w="12941" h="11979" extrusionOk="0">
                    <a:moveTo>
                      <a:pt x="6508" y="0"/>
                    </a:moveTo>
                    <a:cubicBezTo>
                      <a:pt x="2921" y="0"/>
                      <a:pt x="38" y="2662"/>
                      <a:pt x="38" y="5952"/>
                    </a:cubicBezTo>
                    <a:cubicBezTo>
                      <a:pt x="1" y="9243"/>
                      <a:pt x="2847" y="11942"/>
                      <a:pt x="6434" y="11979"/>
                    </a:cubicBezTo>
                    <a:cubicBezTo>
                      <a:pt x="9983" y="11979"/>
                      <a:pt x="12903" y="9317"/>
                      <a:pt x="12903" y="6026"/>
                    </a:cubicBezTo>
                    <a:cubicBezTo>
                      <a:pt x="12940" y="2736"/>
                      <a:pt x="10057" y="37"/>
                      <a:pt x="650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1085;p53">
                <a:extLst>
                  <a:ext uri="{FF2B5EF4-FFF2-40B4-BE49-F238E27FC236}">
                    <a16:creationId xmlns:a16="http://schemas.microsoft.com/office/drawing/2014/main" id="{85BFBF16-F707-488E-A1E4-8EEE336D541E}"/>
                  </a:ext>
                </a:extLst>
              </p:cNvPr>
              <p:cNvSpPr/>
              <p:nvPr/>
            </p:nvSpPr>
            <p:spPr>
              <a:xfrm>
                <a:off x="5907586" y="2766443"/>
                <a:ext cx="155456" cy="130996"/>
              </a:xfrm>
              <a:custGeom>
                <a:avLst/>
                <a:gdLst/>
                <a:ahLst/>
                <a:cxnLst/>
                <a:rect l="l" t="t" r="r" b="b"/>
                <a:pathLst>
                  <a:path w="8510" h="7171" extrusionOk="0">
                    <a:moveTo>
                      <a:pt x="4912" y="0"/>
                    </a:moveTo>
                    <a:cubicBezTo>
                      <a:pt x="4889" y="0"/>
                      <a:pt x="4866" y="1"/>
                      <a:pt x="4843" y="1"/>
                    </a:cubicBezTo>
                    <a:cubicBezTo>
                      <a:pt x="1590" y="1"/>
                      <a:pt x="0" y="3957"/>
                      <a:pt x="2366" y="6175"/>
                    </a:cubicBezTo>
                    <a:cubicBezTo>
                      <a:pt x="3089" y="6864"/>
                      <a:pt x="3950" y="7170"/>
                      <a:pt x="4790" y="7170"/>
                    </a:cubicBezTo>
                    <a:cubicBezTo>
                      <a:pt x="6702" y="7170"/>
                      <a:pt x="8510" y="5588"/>
                      <a:pt x="8355" y="3328"/>
                    </a:cubicBezTo>
                    <a:cubicBezTo>
                      <a:pt x="8319" y="1466"/>
                      <a:pt x="6767" y="0"/>
                      <a:pt x="49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1086;p53">
                <a:extLst>
                  <a:ext uri="{FF2B5EF4-FFF2-40B4-BE49-F238E27FC236}">
                    <a16:creationId xmlns:a16="http://schemas.microsoft.com/office/drawing/2014/main" id="{FA1C2741-5076-40C4-ACDE-D52624259B32}"/>
                  </a:ext>
                </a:extLst>
              </p:cNvPr>
              <p:cNvSpPr/>
              <p:nvPr/>
            </p:nvSpPr>
            <p:spPr>
              <a:xfrm>
                <a:off x="5939517" y="2788729"/>
                <a:ext cx="98955" cy="82934"/>
              </a:xfrm>
              <a:custGeom>
                <a:avLst/>
                <a:gdLst/>
                <a:ahLst/>
                <a:cxnLst/>
                <a:rect l="l" t="t" r="r" b="b"/>
                <a:pathLst>
                  <a:path w="5417" h="4540" extrusionOk="0">
                    <a:moveTo>
                      <a:pt x="3126" y="0"/>
                    </a:moveTo>
                    <a:cubicBezTo>
                      <a:pt x="3104" y="0"/>
                      <a:pt x="3081" y="0"/>
                      <a:pt x="3058" y="1"/>
                    </a:cubicBezTo>
                    <a:cubicBezTo>
                      <a:pt x="3043" y="1"/>
                      <a:pt x="3029" y="1"/>
                      <a:pt x="3014" y="1"/>
                    </a:cubicBezTo>
                    <a:cubicBezTo>
                      <a:pt x="974" y="1"/>
                      <a:pt x="1" y="2525"/>
                      <a:pt x="1505" y="3920"/>
                    </a:cubicBezTo>
                    <a:cubicBezTo>
                      <a:pt x="1957" y="4349"/>
                      <a:pt x="2501" y="4540"/>
                      <a:pt x="3035" y="4540"/>
                    </a:cubicBezTo>
                    <a:cubicBezTo>
                      <a:pt x="4251" y="4540"/>
                      <a:pt x="5416" y="3547"/>
                      <a:pt x="5313" y="2108"/>
                    </a:cubicBezTo>
                    <a:cubicBezTo>
                      <a:pt x="5277" y="947"/>
                      <a:pt x="4315" y="0"/>
                      <a:pt x="31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1087;p53">
                <a:extLst>
                  <a:ext uri="{FF2B5EF4-FFF2-40B4-BE49-F238E27FC236}">
                    <a16:creationId xmlns:a16="http://schemas.microsoft.com/office/drawing/2014/main" id="{117D6072-D6AC-47AF-8D54-C34CFE53EE1E}"/>
                  </a:ext>
                </a:extLst>
              </p:cNvPr>
              <p:cNvSpPr/>
              <p:nvPr/>
            </p:nvSpPr>
            <p:spPr>
              <a:xfrm>
                <a:off x="5875837" y="2985945"/>
                <a:ext cx="235724" cy="218169"/>
              </a:xfrm>
              <a:custGeom>
                <a:avLst/>
                <a:gdLst/>
                <a:ahLst/>
                <a:cxnLst/>
                <a:rect l="l" t="t" r="r" b="b"/>
                <a:pathLst>
                  <a:path w="12904" h="11943" extrusionOk="0">
                    <a:moveTo>
                      <a:pt x="6397" y="0"/>
                    </a:moveTo>
                    <a:cubicBezTo>
                      <a:pt x="2882" y="0"/>
                      <a:pt x="37" y="2648"/>
                      <a:pt x="0" y="5953"/>
                    </a:cubicBezTo>
                    <a:cubicBezTo>
                      <a:pt x="0" y="9243"/>
                      <a:pt x="2847" y="11905"/>
                      <a:pt x="6396" y="11942"/>
                    </a:cubicBezTo>
                    <a:cubicBezTo>
                      <a:pt x="6421" y="11942"/>
                      <a:pt x="6446" y="11943"/>
                      <a:pt x="6470" y="11943"/>
                    </a:cubicBezTo>
                    <a:cubicBezTo>
                      <a:pt x="10022" y="11943"/>
                      <a:pt x="12866" y="9294"/>
                      <a:pt x="12866" y="5990"/>
                    </a:cubicBezTo>
                    <a:cubicBezTo>
                      <a:pt x="12903" y="2699"/>
                      <a:pt x="10056" y="1"/>
                      <a:pt x="6470" y="1"/>
                    </a:cubicBezTo>
                    <a:cubicBezTo>
                      <a:pt x="6446" y="0"/>
                      <a:pt x="6422" y="0"/>
                      <a:pt x="639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1088;p53">
                <a:extLst>
                  <a:ext uri="{FF2B5EF4-FFF2-40B4-BE49-F238E27FC236}">
                    <a16:creationId xmlns:a16="http://schemas.microsoft.com/office/drawing/2014/main" id="{14057EED-6EF3-498E-B3DE-0163188EF55A}"/>
                  </a:ext>
                </a:extLst>
              </p:cNvPr>
              <p:cNvSpPr/>
              <p:nvPr/>
            </p:nvSpPr>
            <p:spPr>
              <a:xfrm>
                <a:off x="5913176" y="3034518"/>
                <a:ext cx="155950" cy="130740"/>
              </a:xfrm>
              <a:custGeom>
                <a:avLst/>
                <a:gdLst/>
                <a:ahLst/>
                <a:cxnLst/>
                <a:rect l="l" t="t" r="r" b="b"/>
                <a:pathLst>
                  <a:path w="8537" h="7157" extrusionOk="0">
                    <a:moveTo>
                      <a:pt x="4968" y="1"/>
                    </a:moveTo>
                    <a:cubicBezTo>
                      <a:pt x="4923" y="1"/>
                      <a:pt x="4878" y="2"/>
                      <a:pt x="4833" y="3"/>
                    </a:cubicBezTo>
                    <a:cubicBezTo>
                      <a:pt x="4818" y="3"/>
                      <a:pt x="4803" y="3"/>
                      <a:pt x="4788" y="3"/>
                    </a:cubicBezTo>
                    <a:cubicBezTo>
                      <a:pt x="1565" y="3"/>
                      <a:pt x="1" y="3933"/>
                      <a:pt x="2356" y="6178"/>
                    </a:cubicBezTo>
                    <a:cubicBezTo>
                      <a:pt x="3078" y="6854"/>
                      <a:pt x="3941" y="7156"/>
                      <a:pt x="4786" y="7156"/>
                    </a:cubicBezTo>
                    <a:cubicBezTo>
                      <a:pt x="6709" y="7156"/>
                      <a:pt x="8536" y="5592"/>
                      <a:pt x="8382" y="3331"/>
                    </a:cubicBezTo>
                    <a:cubicBezTo>
                      <a:pt x="8310" y="1490"/>
                      <a:pt x="6828" y="1"/>
                      <a:pt x="496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1089;p53">
                <a:extLst>
                  <a:ext uri="{FF2B5EF4-FFF2-40B4-BE49-F238E27FC236}">
                    <a16:creationId xmlns:a16="http://schemas.microsoft.com/office/drawing/2014/main" id="{9B7425F2-5E3C-4B26-8F81-BB5329E375B7}"/>
                  </a:ext>
                </a:extLst>
              </p:cNvPr>
              <p:cNvSpPr/>
              <p:nvPr/>
            </p:nvSpPr>
            <p:spPr>
              <a:xfrm>
                <a:off x="5945400" y="3056165"/>
                <a:ext cx="99138" cy="83263"/>
              </a:xfrm>
              <a:custGeom>
                <a:avLst/>
                <a:gdLst/>
                <a:ahLst/>
                <a:cxnLst/>
                <a:rect l="l" t="t" r="r" b="b"/>
                <a:pathLst>
                  <a:path w="5427" h="4558" extrusionOk="0">
                    <a:moveTo>
                      <a:pt x="3137" y="1"/>
                    </a:moveTo>
                    <a:cubicBezTo>
                      <a:pt x="3114" y="1"/>
                      <a:pt x="3092" y="1"/>
                      <a:pt x="3069" y="2"/>
                    </a:cubicBezTo>
                    <a:cubicBezTo>
                      <a:pt x="999" y="2"/>
                      <a:pt x="0" y="2516"/>
                      <a:pt x="1479" y="3920"/>
                    </a:cubicBezTo>
                    <a:cubicBezTo>
                      <a:pt x="1944" y="4362"/>
                      <a:pt x="2498" y="4558"/>
                      <a:pt x="3040" y="4558"/>
                    </a:cubicBezTo>
                    <a:cubicBezTo>
                      <a:pt x="4266" y="4558"/>
                      <a:pt x="5427" y="3556"/>
                      <a:pt x="5324" y="2146"/>
                    </a:cubicBezTo>
                    <a:cubicBezTo>
                      <a:pt x="5288" y="949"/>
                      <a:pt x="4326" y="1"/>
                      <a:pt x="313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1090;p53">
                <a:extLst>
                  <a:ext uri="{FF2B5EF4-FFF2-40B4-BE49-F238E27FC236}">
                    <a16:creationId xmlns:a16="http://schemas.microsoft.com/office/drawing/2014/main" id="{3352695D-C2E9-4205-8804-25A5988B7E03}"/>
                  </a:ext>
                </a:extLst>
              </p:cNvPr>
              <p:cNvSpPr/>
              <p:nvPr/>
            </p:nvSpPr>
            <p:spPr>
              <a:xfrm>
                <a:off x="5756294" y="2736064"/>
                <a:ext cx="174272" cy="603120"/>
              </a:xfrm>
              <a:custGeom>
                <a:avLst/>
                <a:gdLst/>
                <a:ahLst/>
                <a:cxnLst/>
                <a:rect l="l" t="t" r="r" b="b"/>
                <a:pathLst>
                  <a:path w="9540" h="33016" extrusionOk="0">
                    <a:moveTo>
                      <a:pt x="186" y="0"/>
                    </a:moveTo>
                    <a:lnTo>
                      <a:pt x="1" y="33015"/>
                    </a:lnTo>
                    <a:lnTo>
                      <a:pt x="9428" y="20334"/>
                    </a:lnTo>
                    <a:lnTo>
                      <a:pt x="9539" y="4954"/>
                    </a:lnTo>
                    <a:lnTo>
                      <a:pt x="1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1091;p53">
                <a:extLst>
                  <a:ext uri="{FF2B5EF4-FFF2-40B4-BE49-F238E27FC236}">
                    <a16:creationId xmlns:a16="http://schemas.microsoft.com/office/drawing/2014/main" id="{83552460-D41F-4BBF-AD02-072362267D25}"/>
                  </a:ext>
                </a:extLst>
              </p:cNvPr>
              <p:cNvSpPr/>
              <p:nvPr/>
            </p:nvSpPr>
            <p:spPr>
              <a:xfrm>
                <a:off x="6079794" y="2690139"/>
                <a:ext cx="141847" cy="603120"/>
              </a:xfrm>
              <a:custGeom>
                <a:avLst/>
                <a:gdLst/>
                <a:ahLst/>
                <a:cxnLst/>
                <a:rect l="l" t="t" r="r" b="b"/>
                <a:pathLst>
                  <a:path w="7765" h="33016" extrusionOk="0">
                    <a:moveTo>
                      <a:pt x="7764" y="0"/>
                    </a:moveTo>
                    <a:lnTo>
                      <a:pt x="1" y="5398"/>
                    </a:lnTo>
                    <a:lnTo>
                      <a:pt x="407" y="21961"/>
                    </a:lnTo>
                    <a:lnTo>
                      <a:pt x="7580" y="33015"/>
                    </a:lnTo>
                    <a:lnTo>
                      <a:pt x="776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1092;p53">
                <a:extLst>
                  <a:ext uri="{FF2B5EF4-FFF2-40B4-BE49-F238E27FC236}">
                    <a16:creationId xmlns:a16="http://schemas.microsoft.com/office/drawing/2014/main" id="{ECAF641C-1224-41AB-89D0-ED5A31470DE1}"/>
                  </a:ext>
                </a:extLst>
              </p:cNvPr>
              <p:cNvSpPr/>
              <p:nvPr/>
            </p:nvSpPr>
            <p:spPr>
              <a:xfrm>
                <a:off x="5755618" y="2491590"/>
                <a:ext cx="5425" cy="921888"/>
              </a:xfrm>
              <a:custGeom>
                <a:avLst/>
                <a:gdLst/>
                <a:ahLst/>
                <a:cxnLst/>
                <a:rect l="l" t="t" r="r" b="b"/>
                <a:pathLst>
                  <a:path w="297" h="50466" fill="none" extrusionOk="0">
                    <a:moveTo>
                      <a:pt x="296" y="0"/>
                    </a:moveTo>
                    <a:lnTo>
                      <a:pt x="1" y="50465"/>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1093;p53">
                <a:extLst>
                  <a:ext uri="{FF2B5EF4-FFF2-40B4-BE49-F238E27FC236}">
                    <a16:creationId xmlns:a16="http://schemas.microsoft.com/office/drawing/2014/main" id="{980AF086-76C8-428F-8B2F-02E4D896A3F4}"/>
                  </a:ext>
                </a:extLst>
              </p:cNvPr>
              <p:cNvSpPr/>
              <p:nvPr/>
            </p:nvSpPr>
            <p:spPr>
              <a:xfrm>
                <a:off x="5799515" y="2790775"/>
                <a:ext cx="104709" cy="432921"/>
              </a:xfrm>
              <a:custGeom>
                <a:avLst/>
                <a:gdLst/>
                <a:ahLst/>
                <a:cxnLst/>
                <a:rect l="l" t="t" r="r" b="b"/>
                <a:pathLst>
                  <a:path w="5732" h="23699" fill="none" extrusionOk="0">
                    <a:moveTo>
                      <a:pt x="1" y="23698"/>
                    </a:moveTo>
                    <a:lnTo>
                      <a:pt x="5657" y="17339"/>
                    </a:lnTo>
                    <a:lnTo>
                      <a:pt x="5731" y="2958"/>
                    </a:lnTo>
                    <a:lnTo>
                      <a:pt x="149"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1094;p53">
                <a:extLst>
                  <a:ext uri="{FF2B5EF4-FFF2-40B4-BE49-F238E27FC236}">
                    <a16:creationId xmlns:a16="http://schemas.microsoft.com/office/drawing/2014/main" id="{FBF17C01-506B-479C-85FD-81F93FBD65FF}"/>
                  </a:ext>
                </a:extLst>
              </p:cNvPr>
              <p:cNvSpPr/>
              <p:nvPr/>
            </p:nvSpPr>
            <p:spPr>
              <a:xfrm>
                <a:off x="6105459" y="2738767"/>
                <a:ext cx="101330" cy="464670"/>
              </a:xfrm>
              <a:custGeom>
                <a:avLst/>
                <a:gdLst/>
                <a:ahLst/>
                <a:cxnLst/>
                <a:rect l="l" t="t" r="r" b="b"/>
                <a:pathLst>
                  <a:path w="5547" h="25437" fill="none" extrusionOk="0">
                    <a:moveTo>
                      <a:pt x="0" y="3623"/>
                    </a:moveTo>
                    <a:lnTo>
                      <a:pt x="333" y="17820"/>
                    </a:lnTo>
                    <a:lnTo>
                      <a:pt x="5361" y="25436"/>
                    </a:lnTo>
                    <a:lnTo>
                      <a:pt x="5546"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1095;p53">
                <a:extLst>
                  <a:ext uri="{FF2B5EF4-FFF2-40B4-BE49-F238E27FC236}">
                    <a16:creationId xmlns:a16="http://schemas.microsoft.com/office/drawing/2014/main" id="{5141EB99-F97B-4A8D-B938-E47F58DF9F73}"/>
                  </a:ext>
                </a:extLst>
              </p:cNvPr>
              <p:cNvSpPr/>
              <p:nvPr/>
            </p:nvSpPr>
            <p:spPr>
              <a:xfrm>
                <a:off x="5844088" y="2881948"/>
                <a:ext cx="305962" cy="78349"/>
              </a:xfrm>
              <a:custGeom>
                <a:avLst/>
                <a:gdLst/>
                <a:ahLst/>
                <a:cxnLst/>
                <a:rect l="l" t="t" r="r" b="b"/>
                <a:pathLst>
                  <a:path w="16749" h="4289" extrusionOk="0">
                    <a:moveTo>
                      <a:pt x="16749" y="0"/>
                    </a:moveTo>
                    <a:lnTo>
                      <a:pt x="1" y="1886"/>
                    </a:lnTo>
                    <a:lnTo>
                      <a:pt x="1" y="4289"/>
                    </a:lnTo>
                    <a:lnTo>
                      <a:pt x="16712"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1096;p53">
                <a:extLst>
                  <a:ext uri="{FF2B5EF4-FFF2-40B4-BE49-F238E27FC236}">
                    <a16:creationId xmlns:a16="http://schemas.microsoft.com/office/drawing/2014/main" id="{75129223-16CC-48B0-ABEF-5E5A5A8A3531}"/>
                  </a:ext>
                </a:extLst>
              </p:cNvPr>
              <p:cNvSpPr/>
              <p:nvPr/>
            </p:nvSpPr>
            <p:spPr>
              <a:xfrm>
                <a:off x="5843412" y="2951511"/>
                <a:ext cx="305962" cy="78349"/>
              </a:xfrm>
              <a:custGeom>
                <a:avLst/>
                <a:gdLst/>
                <a:ahLst/>
                <a:cxnLst/>
                <a:rect l="l" t="t" r="r" b="b"/>
                <a:pathLst>
                  <a:path w="16749" h="4289" extrusionOk="0">
                    <a:moveTo>
                      <a:pt x="16749" y="0"/>
                    </a:moveTo>
                    <a:lnTo>
                      <a:pt x="38" y="1886"/>
                    </a:lnTo>
                    <a:lnTo>
                      <a:pt x="1" y="4289"/>
                    </a:lnTo>
                    <a:lnTo>
                      <a:pt x="1" y="4289"/>
                    </a:lnTo>
                    <a:lnTo>
                      <a:pt x="16749"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1097;p53">
                <a:extLst>
                  <a:ext uri="{FF2B5EF4-FFF2-40B4-BE49-F238E27FC236}">
                    <a16:creationId xmlns:a16="http://schemas.microsoft.com/office/drawing/2014/main" id="{87E04B4E-A5BF-469C-98AF-D4B84A1C194D}"/>
                  </a:ext>
                </a:extLst>
              </p:cNvPr>
              <p:cNvSpPr/>
              <p:nvPr/>
            </p:nvSpPr>
            <p:spPr>
              <a:xfrm>
                <a:off x="5874485" y="3239206"/>
                <a:ext cx="278269" cy="156699"/>
              </a:xfrm>
              <a:custGeom>
                <a:avLst/>
                <a:gdLst/>
                <a:ahLst/>
                <a:cxnLst/>
                <a:rect l="l" t="t" r="r" b="b"/>
                <a:pathLst>
                  <a:path w="15233" h="8578" extrusionOk="0">
                    <a:moveTo>
                      <a:pt x="11092" y="1"/>
                    </a:moveTo>
                    <a:lnTo>
                      <a:pt x="3328" y="1369"/>
                    </a:lnTo>
                    <a:lnTo>
                      <a:pt x="1" y="8578"/>
                    </a:lnTo>
                    <a:lnTo>
                      <a:pt x="15232" y="5398"/>
                    </a:lnTo>
                    <a:lnTo>
                      <a:pt x="110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1098;p53">
                <a:extLst>
                  <a:ext uri="{FF2B5EF4-FFF2-40B4-BE49-F238E27FC236}">
                    <a16:creationId xmlns:a16="http://schemas.microsoft.com/office/drawing/2014/main" id="{7B071825-AA49-460C-84D5-83F462B87A3D}"/>
                  </a:ext>
                </a:extLst>
              </p:cNvPr>
              <p:cNvSpPr/>
              <p:nvPr/>
            </p:nvSpPr>
            <p:spPr>
              <a:xfrm>
                <a:off x="5316632" y="2397713"/>
                <a:ext cx="395784" cy="940795"/>
              </a:xfrm>
              <a:custGeom>
                <a:avLst/>
                <a:gdLst/>
                <a:ahLst/>
                <a:cxnLst/>
                <a:rect l="l" t="t" r="r" b="b"/>
                <a:pathLst>
                  <a:path w="21666" h="51501" fill="none" extrusionOk="0">
                    <a:moveTo>
                      <a:pt x="1591" y="0"/>
                    </a:moveTo>
                    <a:lnTo>
                      <a:pt x="19595" y="7320"/>
                    </a:lnTo>
                    <a:lnTo>
                      <a:pt x="21666" y="10759"/>
                    </a:lnTo>
                    <a:lnTo>
                      <a:pt x="21444" y="50502"/>
                    </a:lnTo>
                    <a:lnTo>
                      <a:pt x="19336" y="51500"/>
                    </a:lnTo>
                    <a:lnTo>
                      <a:pt x="1" y="4125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1099;p53">
                <a:extLst>
                  <a:ext uri="{FF2B5EF4-FFF2-40B4-BE49-F238E27FC236}">
                    <a16:creationId xmlns:a16="http://schemas.microsoft.com/office/drawing/2014/main" id="{DDA84F84-C829-43D7-9DC4-45FFC3626EB2}"/>
                  </a:ext>
                </a:extLst>
              </p:cNvPr>
              <p:cNvSpPr/>
              <p:nvPr/>
            </p:nvSpPr>
            <p:spPr>
              <a:xfrm>
                <a:off x="5532079" y="3173698"/>
                <a:ext cx="20953" cy="42563"/>
              </a:xfrm>
              <a:custGeom>
                <a:avLst/>
                <a:gdLst/>
                <a:ahLst/>
                <a:cxnLst/>
                <a:rect l="l" t="t" r="r" b="b"/>
                <a:pathLst>
                  <a:path w="1147" h="2330" fill="none" extrusionOk="0">
                    <a:moveTo>
                      <a:pt x="0" y="0"/>
                    </a:moveTo>
                    <a:lnTo>
                      <a:pt x="1146"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1100;p53">
                <a:extLst>
                  <a:ext uri="{FF2B5EF4-FFF2-40B4-BE49-F238E27FC236}">
                    <a16:creationId xmlns:a16="http://schemas.microsoft.com/office/drawing/2014/main" id="{D09CBEBB-61DB-4CD7-974B-304C68884CB5}"/>
                  </a:ext>
                </a:extLst>
              </p:cNvPr>
              <p:cNvSpPr/>
              <p:nvPr/>
            </p:nvSpPr>
            <p:spPr>
              <a:xfrm>
                <a:off x="5532079" y="3136560"/>
                <a:ext cx="20277" cy="42563"/>
              </a:xfrm>
              <a:custGeom>
                <a:avLst/>
                <a:gdLst/>
                <a:ahLst/>
                <a:cxnLst/>
                <a:rect l="l" t="t" r="r" b="b"/>
                <a:pathLst>
                  <a:path w="1110" h="2330" fill="none" extrusionOk="0">
                    <a:moveTo>
                      <a:pt x="0" y="0"/>
                    </a:moveTo>
                    <a:lnTo>
                      <a:pt x="1110" y="232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1101;p53">
                <a:extLst>
                  <a:ext uri="{FF2B5EF4-FFF2-40B4-BE49-F238E27FC236}">
                    <a16:creationId xmlns:a16="http://schemas.microsoft.com/office/drawing/2014/main" id="{BA6107C2-B6FE-4767-A583-8D38D21AA5CB}"/>
                  </a:ext>
                </a:extLst>
              </p:cNvPr>
              <p:cNvSpPr/>
              <p:nvPr/>
            </p:nvSpPr>
            <p:spPr>
              <a:xfrm>
                <a:off x="5531403" y="3098728"/>
                <a:ext cx="20953" cy="42563"/>
              </a:xfrm>
              <a:custGeom>
                <a:avLst/>
                <a:gdLst/>
                <a:ahLst/>
                <a:cxnLst/>
                <a:rect l="l" t="t" r="r" b="b"/>
                <a:pathLst>
                  <a:path w="1147" h="2330" fill="none" extrusionOk="0">
                    <a:moveTo>
                      <a:pt x="0" y="1"/>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1102;p53">
                <a:extLst>
                  <a:ext uri="{FF2B5EF4-FFF2-40B4-BE49-F238E27FC236}">
                    <a16:creationId xmlns:a16="http://schemas.microsoft.com/office/drawing/2014/main" id="{4AFF7B2B-7F7E-45DF-9170-12FE87B73820}"/>
                  </a:ext>
                </a:extLst>
              </p:cNvPr>
              <p:cNvSpPr/>
              <p:nvPr/>
            </p:nvSpPr>
            <p:spPr>
              <a:xfrm>
                <a:off x="5530727" y="3060915"/>
                <a:ext cx="20953" cy="43239"/>
              </a:xfrm>
              <a:custGeom>
                <a:avLst/>
                <a:gdLst/>
                <a:ahLst/>
                <a:cxnLst/>
                <a:rect l="l" t="t" r="r" b="b"/>
                <a:pathLst>
                  <a:path w="1147" h="2367" fill="none" extrusionOk="0">
                    <a:moveTo>
                      <a:pt x="0"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1103;p53">
                <a:extLst>
                  <a:ext uri="{FF2B5EF4-FFF2-40B4-BE49-F238E27FC236}">
                    <a16:creationId xmlns:a16="http://schemas.microsoft.com/office/drawing/2014/main" id="{F32714A9-BFF1-4615-A274-89EDE0BE3271}"/>
                  </a:ext>
                </a:extLst>
              </p:cNvPr>
              <p:cNvSpPr/>
              <p:nvPr/>
            </p:nvSpPr>
            <p:spPr>
              <a:xfrm>
                <a:off x="5530727" y="3023759"/>
                <a:ext cx="20277" cy="43257"/>
              </a:xfrm>
              <a:custGeom>
                <a:avLst/>
                <a:gdLst/>
                <a:ahLst/>
                <a:cxnLst/>
                <a:rect l="l" t="t" r="r" b="b"/>
                <a:pathLst>
                  <a:path w="1110" h="2368" fill="none" extrusionOk="0">
                    <a:moveTo>
                      <a:pt x="0"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1104;p53">
                <a:extLst>
                  <a:ext uri="{FF2B5EF4-FFF2-40B4-BE49-F238E27FC236}">
                    <a16:creationId xmlns:a16="http://schemas.microsoft.com/office/drawing/2014/main" id="{45E7C374-9F97-4880-93BC-6AE31476CC69}"/>
                  </a:ext>
                </a:extLst>
              </p:cNvPr>
              <p:cNvSpPr/>
              <p:nvPr/>
            </p:nvSpPr>
            <p:spPr>
              <a:xfrm>
                <a:off x="5530051" y="2986621"/>
                <a:ext cx="20277" cy="42563"/>
              </a:xfrm>
              <a:custGeom>
                <a:avLst/>
                <a:gdLst/>
                <a:ahLst/>
                <a:cxnLst/>
                <a:rect l="l" t="t" r="r" b="b"/>
                <a:pathLst>
                  <a:path w="1110" h="2330" fill="none" extrusionOk="0">
                    <a:moveTo>
                      <a:pt x="0" y="1"/>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1105;p53">
                <a:extLst>
                  <a:ext uri="{FF2B5EF4-FFF2-40B4-BE49-F238E27FC236}">
                    <a16:creationId xmlns:a16="http://schemas.microsoft.com/office/drawing/2014/main" id="{00512B3D-02FB-45BC-BDA3-6D3119431DF3}"/>
                  </a:ext>
                </a:extLst>
              </p:cNvPr>
              <p:cNvSpPr/>
              <p:nvPr/>
            </p:nvSpPr>
            <p:spPr>
              <a:xfrm>
                <a:off x="5529375" y="2948807"/>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1106;p53">
                <a:extLst>
                  <a:ext uri="{FF2B5EF4-FFF2-40B4-BE49-F238E27FC236}">
                    <a16:creationId xmlns:a16="http://schemas.microsoft.com/office/drawing/2014/main" id="{C5B8D211-FC0A-486C-BDD5-98C8CFEDD165}"/>
                  </a:ext>
                </a:extLst>
              </p:cNvPr>
              <p:cNvSpPr/>
              <p:nvPr/>
            </p:nvSpPr>
            <p:spPr>
              <a:xfrm>
                <a:off x="5570569" y="3198688"/>
                <a:ext cx="20277" cy="42563"/>
              </a:xfrm>
              <a:custGeom>
                <a:avLst/>
                <a:gdLst/>
                <a:ahLst/>
                <a:cxnLst/>
                <a:rect l="l" t="t" r="r" b="b"/>
                <a:pathLst>
                  <a:path w="1110" h="2330" fill="none" extrusionOk="0">
                    <a:moveTo>
                      <a:pt x="1" y="0"/>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1107;p53">
                <a:extLst>
                  <a:ext uri="{FF2B5EF4-FFF2-40B4-BE49-F238E27FC236}">
                    <a16:creationId xmlns:a16="http://schemas.microsoft.com/office/drawing/2014/main" id="{09036413-8BEE-4204-B25C-8120823FE997}"/>
                  </a:ext>
                </a:extLst>
              </p:cNvPr>
              <p:cNvSpPr/>
              <p:nvPr/>
            </p:nvSpPr>
            <p:spPr>
              <a:xfrm>
                <a:off x="5569893" y="316087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1108;p53">
                <a:extLst>
                  <a:ext uri="{FF2B5EF4-FFF2-40B4-BE49-F238E27FC236}">
                    <a16:creationId xmlns:a16="http://schemas.microsoft.com/office/drawing/2014/main" id="{FD6BD4B6-B922-4734-ABFF-9235D2C4D449}"/>
                  </a:ext>
                </a:extLst>
              </p:cNvPr>
              <p:cNvSpPr/>
              <p:nvPr/>
            </p:nvSpPr>
            <p:spPr>
              <a:xfrm>
                <a:off x="5569217" y="3123718"/>
                <a:ext cx="20953" cy="43239"/>
              </a:xfrm>
              <a:custGeom>
                <a:avLst/>
                <a:gdLst/>
                <a:ahLst/>
                <a:cxnLst/>
                <a:rect l="l" t="t" r="r" b="b"/>
                <a:pathLst>
                  <a:path w="1147" h="2367" fill="none" extrusionOk="0">
                    <a:moveTo>
                      <a:pt x="1" y="1"/>
                    </a:moveTo>
                    <a:lnTo>
                      <a:pt x="1147"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1109;p53">
                <a:extLst>
                  <a:ext uri="{FF2B5EF4-FFF2-40B4-BE49-F238E27FC236}">
                    <a16:creationId xmlns:a16="http://schemas.microsoft.com/office/drawing/2014/main" id="{604125C6-1E42-4F97-B168-3DDA527BE0E9}"/>
                  </a:ext>
                </a:extLst>
              </p:cNvPr>
              <p:cNvSpPr/>
              <p:nvPr/>
            </p:nvSpPr>
            <p:spPr>
              <a:xfrm>
                <a:off x="5568541" y="308590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1110;p53">
                <a:extLst>
                  <a:ext uri="{FF2B5EF4-FFF2-40B4-BE49-F238E27FC236}">
                    <a16:creationId xmlns:a16="http://schemas.microsoft.com/office/drawing/2014/main" id="{8A869D1C-B935-43CD-A058-C49AE07FE994}"/>
                  </a:ext>
                </a:extLst>
              </p:cNvPr>
              <p:cNvSpPr/>
              <p:nvPr/>
            </p:nvSpPr>
            <p:spPr>
              <a:xfrm>
                <a:off x="5568541" y="3048749"/>
                <a:ext cx="20277" cy="43239"/>
              </a:xfrm>
              <a:custGeom>
                <a:avLst/>
                <a:gdLst/>
                <a:ahLst/>
                <a:cxnLst/>
                <a:rect l="l" t="t" r="r" b="b"/>
                <a:pathLst>
                  <a:path w="1110" h="2367" fill="none" extrusionOk="0">
                    <a:moveTo>
                      <a:pt x="1"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1111;p53">
                <a:extLst>
                  <a:ext uri="{FF2B5EF4-FFF2-40B4-BE49-F238E27FC236}">
                    <a16:creationId xmlns:a16="http://schemas.microsoft.com/office/drawing/2014/main" id="{B81DA6C8-8495-4D2D-A3F9-0C84B7587DCB}"/>
                  </a:ext>
                </a:extLst>
              </p:cNvPr>
              <p:cNvSpPr/>
              <p:nvPr/>
            </p:nvSpPr>
            <p:spPr>
              <a:xfrm>
                <a:off x="5567865" y="3011611"/>
                <a:ext cx="20953" cy="42563"/>
              </a:xfrm>
              <a:custGeom>
                <a:avLst/>
                <a:gdLst/>
                <a:ahLst/>
                <a:cxnLst/>
                <a:rect l="l" t="t" r="r" b="b"/>
                <a:pathLst>
                  <a:path w="1147" h="2330" fill="none" extrusionOk="0">
                    <a:moveTo>
                      <a:pt x="1" y="0"/>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1112;p53">
                <a:extLst>
                  <a:ext uri="{FF2B5EF4-FFF2-40B4-BE49-F238E27FC236}">
                    <a16:creationId xmlns:a16="http://schemas.microsoft.com/office/drawing/2014/main" id="{1B69FF27-3D92-492B-ACAA-B06B4DB7B4D5}"/>
                  </a:ext>
                </a:extLst>
              </p:cNvPr>
              <p:cNvSpPr/>
              <p:nvPr/>
            </p:nvSpPr>
            <p:spPr>
              <a:xfrm>
                <a:off x="5567189" y="2973797"/>
                <a:ext cx="20953" cy="43239"/>
              </a:xfrm>
              <a:custGeom>
                <a:avLst/>
                <a:gdLst/>
                <a:ahLst/>
                <a:cxnLst/>
                <a:rect l="l" t="t" r="r" b="b"/>
                <a:pathLst>
                  <a:path w="1147" h="2367" fill="none" extrusionOk="0">
                    <a:moveTo>
                      <a:pt x="1" y="0"/>
                    </a:moveTo>
                    <a:lnTo>
                      <a:pt x="1147"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1113;p53">
                <a:extLst>
                  <a:ext uri="{FF2B5EF4-FFF2-40B4-BE49-F238E27FC236}">
                    <a16:creationId xmlns:a16="http://schemas.microsoft.com/office/drawing/2014/main" id="{91D6797B-BA0E-404D-99FC-712AFE0B8E29}"/>
                  </a:ext>
                </a:extLst>
              </p:cNvPr>
              <p:cNvSpPr/>
              <p:nvPr/>
            </p:nvSpPr>
            <p:spPr>
              <a:xfrm>
                <a:off x="5607049" y="3218271"/>
                <a:ext cx="20953" cy="42563"/>
              </a:xfrm>
              <a:custGeom>
                <a:avLst/>
                <a:gdLst/>
                <a:ahLst/>
                <a:cxnLst/>
                <a:rect l="l" t="t" r="r" b="b"/>
                <a:pathLst>
                  <a:path w="1147" h="2330" fill="none" extrusionOk="0">
                    <a:moveTo>
                      <a:pt x="0" y="1"/>
                    </a:moveTo>
                    <a:lnTo>
                      <a:pt x="1146"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1114;p53">
                <a:extLst>
                  <a:ext uri="{FF2B5EF4-FFF2-40B4-BE49-F238E27FC236}">
                    <a16:creationId xmlns:a16="http://schemas.microsoft.com/office/drawing/2014/main" id="{13EB1E55-4034-4E7C-992C-EF0912325AA2}"/>
                  </a:ext>
                </a:extLst>
              </p:cNvPr>
              <p:cNvSpPr/>
              <p:nvPr/>
            </p:nvSpPr>
            <p:spPr>
              <a:xfrm>
                <a:off x="5607049" y="3180457"/>
                <a:ext cx="20277" cy="43239"/>
              </a:xfrm>
              <a:custGeom>
                <a:avLst/>
                <a:gdLst/>
                <a:ahLst/>
                <a:cxnLst/>
                <a:rect l="l" t="t" r="r" b="b"/>
                <a:pathLst>
                  <a:path w="1110" h="2367" fill="none" extrusionOk="0">
                    <a:moveTo>
                      <a:pt x="0" y="0"/>
                    </a:moveTo>
                    <a:lnTo>
                      <a:pt x="1109"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1115;p53">
                <a:extLst>
                  <a:ext uri="{FF2B5EF4-FFF2-40B4-BE49-F238E27FC236}">
                    <a16:creationId xmlns:a16="http://schemas.microsoft.com/office/drawing/2014/main" id="{A7F34405-5238-4B8C-8E65-ACF709E4A794}"/>
                  </a:ext>
                </a:extLst>
              </p:cNvPr>
              <p:cNvSpPr/>
              <p:nvPr/>
            </p:nvSpPr>
            <p:spPr>
              <a:xfrm>
                <a:off x="5606373" y="3143301"/>
                <a:ext cx="20277" cy="42563"/>
              </a:xfrm>
              <a:custGeom>
                <a:avLst/>
                <a:gdLst/>
                <a:ahLst/>
                <a:cxnLst/>
                <a:rect l="l" t="t" r="r" b="b"/>
                <a:pathLst>
                  <a:path w="1110" h="2330" fill="none" extrusionOk="0">
                    <a:moveTo>
                      <a:pt x="0" y="1"/>
                    </a:moveTo>
                    <a:lnTo>
                      <a:pt x="1109"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1116;p53">
                <a:extLst>
                  <a:ext uri="{FF2B5EF4-FFF2-40B4-BE49-F238E27FC236}">
                    <a16:creationId xmlns:a16="http://schemas.microsoft.com/office/drawing/2014/main" id="{7E397A49-AA1E-4F24-86D5-4E0ABFDE9CB1}"/>
                  </a:ext>
                </a:extLst>
              </p:cNvPr>
              <p:cNvSpPr/>
              <p:nvPr/>
            </p:nvSpPr>
            <p:spPr>
              <a:xfrm>
                <a:off x="5605697" y="3105487"/>
                <a:ext cx="20953" cy="43239"/>
              </a:xfrm>
              <a:custGeom>
                <a:avLst/>
                <a:gdLst/>
                <a:ahLst/>
                <a:cxnLst/>
                <a:rect l="l" t="t" r="r" b="b"/>
                <a:pathLst>
                  <a:path w="1147" h="2367" fill="none" extrusionOk="0">
                    <a:moveTo>
                      <a:pt x="0" y="0"/>
                    </a:moveTo>
                    <a:lnTo>
                      <a:pt x="1146"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1117;p53">
                <a:extLst>
                  <a:ext uri="{FF2B5EF4-FFF2-40B4-BE49-F238E27FC236}">
                    <a16:creationId xmlns:a16="http://schemas.microsoft.com/office/drawing/2014/main" id="{5A5CB2A8-4464-41E2-A6A5-CA14E7CC1291}"/>
                  </a:ext>
                </a:extLst>
              </p:cNvPr>
              <p:cNvSpPr/>
              <p:nvPr/>
            </p:nvSpPr>
            <p:spPr>
              <a:xfrm>
                <a:off x="5605021" y="3068350"/>
                <a:ext cx="20953" cy="42563"/>
              </a:xfrm>
              <a:custGeom>
                <a:avLst/>
                <a:gdLst/>
                <a:ahLst/>
                <a:cxnLst/>
                <a:rect l="l" t="t" r="r" b="b"/>
                <a:pathLst>
                  <a:path w="1147" h="2330" fill="none" extrusionOk="0">
                    <a:moveTo>
                      <a:pt x="0" y="0"/>
                    </a:moveTo>
                    <a:lnTo>
                      <a:pt x="1146"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1118;p53">
                <a:extLst>
                  <a:ext uri="{FF2B5EF4-FFF2-40B4-BE49-F238E27FC236}">
                    <a16:creationId xmlns:a16="http://schemas.microsoft.com/office/drawing/2014/main" id="{547B439E-531B-431E-91D0-CD4F68563F16}"/>
                  </a:ext>
                </a:extLst>
              </p:cNvPr>
              <p:cNvSpPr/>
              <p:nvPr/>
            </p:nvSpPr>
            <p:spPr>
              <a:xfrm>
                <a:off x="5605021" y="3030518"/>
                <a:ext cx="20277" cy="43239"/>
              </a:xfrm>
              <a:custGeom>
                <a:avLst/>
                <a:gdLst/>
                <a:ahLst/>
                <a:cxnLst/>
                <a:rect l="l" t="t" r="r" b="b"/>
                <a:pathLst>
                  <a:path w="1110" h="2367" fill="none" extrusionOk="0">
                    <a:moveTo>
                      <a:pt x="0" y="1"/>
                    </a:moveTo>
                    <a:lnTo>
                      <a:pt x="1109"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1119;p53">
                <a:extLst>
                  <a:ext uri="{FF2B5EF4-FFF2-40B4-BE49-F238E27FC236}">
                    <a16:creationId xmlns:a16="http://schemas.microsoft.com/office/drawing/2014/main" id="{8A5C0E21-20BA-44A8-9E4E-BB668465E333}"/>
                  </a:ext>
                </a:extLst>
              </p:cNvPr>
              <p:cNvSpPr/>
              <p:nvPr/>
            </p:nvSpPr>
            <p:spPr>
              <a:xfrm>
                <a:off x="5604345" y="2993380"/>
                <a:ext cx="20277" cy="42563"/>
              </a:xfrm>
              <a:custGeom>
                <a:avLst/>
                <a:gdLst/>
                <a:ahLst/>
                <a:cxnLst/>
                <a:rect l="l" t="t" r="r" b="b"/>
                <a:pathLst>
                  <a:path w="1110" h="2330" fill="none" extrusionOk="0">
                    <a:moveTo>
                      <a:pt x="0" y="0"/>
                    </a:moveTo>
                    <a:lnTo>
                      <a:pt x="1109"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1120;p53">
                <a:extLst>
                  <a:ext uri="{FF2B5EF4-FFF2-40B4-BE49-F238E27FC236}">
                    <a16:creationId xmlns:a16="http://schemas.microsoft.com/office/drawing/2014/main" id="{04F45168-98A4-4C10-AEFC-F119A728576C}"/>
                  </a:ext>
                </a:extLst>
              </p:cNvPr>
              <p:cNvSpPr/>
              <p:nvPr/>
            </p:nvSpPr>
            <p:spPr>
              <a:xfrm>
                <a:off x="5647566" y="3236502"/>
                <a:ext cx="20277" cy="43239"/>
              </a:xfrm>
              <a:custGeom>
                <a:avLst/>
                <a:gdLst/>
                <a:ahLst/>
                <a:cxnLst/>
                <a:rect l="l" t="t" r="r" b="b"/>
                <a:pathLst>
                  <a:path w="1110" h="2367" fill="none" extrusionOk="0">
                    <a:moveTo>
                      <a:pt x="0" y="1"/>
                    </a:moveTo>
                    <a:lnTo>
                      <a:pt x="1110"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1121;p53">
                <a:extLst>
                  <a:ext uri="{FF2B5EF4-FFF2-40B4-BE49-F238E27FC236}">
                    <a16:creationId xmlns:a16="http://schemas.microsoft.com/office/drawing/2014/main" id="{B045F116-1EA1-48D2-BD94-E6AE4B8FC73D}"/>
                  </a:ext>
                </a:extLst>
              </p:cNvPr>
              <p:cNvSpPr/>
              <p:nvPr/>
            </p:nvSpPr>
            <p:spPr>
              <a:xfrm>
                <a:off x="5646890" y="3199364"/>
                <a:ext cx="20953" cy="42563"/>
              </a:xfrm>
              <a:custGeom>
                <a:avLst/>
                <a:gdLst/>
                <a:ahLst/>
                <a:cxnLst/>
                <a:rect l="l" t="t" r="r" b="b"/>
                <a:pathLst>
                  <a:path w="1147" h="2330" fill="none" extrusionOk="0">
                    <a:moveTo>
                      <a:pt x="0" y="0"/>
                    </a:moveTo>
                    <a:lnTo>
                      <a:pt x="1147"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1122;p53">
                <a:extLst>
                  <a:ext uri="{FF2B5EF4-FFF2-40B4-BE49-F238E27FC236}">
                    <a16:creationId xmlns:a16="http://schemas.microsoft.com/office/drawing/2014/main" id="{AB83D80A-EFB4-477A-97DB-E1EF9F16DD97}"/>
                  </a:ext>
                </a:extLst>
              </p:cNvPr>
              <p:cNvSpPr/>
              <p:nvPr/>
            </p:nvSpPr>
            <p:spPr>
              <a:xfrm>
                <a:off x="5646214" y="3161532"/>
                <a:ext cx="20953" cy="43257"/>
              </a:xfrm>
              <a:custGeom>
                <a:avLst/>
                <a:gdLst/>
                <a:ahLst/>
                <a:cxnLst/>
                <a:rect l="l" t="t" r="r" b="b"/>
                <a:pathLst>
                  <a:path w="1147" h="2368" fill="none" extrusionOk="0">
                    <a:moveTo>
                      <a:pt x="0" y="1"/>
                    </a:moveTo>
                    <a:lnTo>
                      <a:pt x="1147"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1123;p53">
                <a:extLst>
                  <a:ext uri="{FF2B5EF4-FFF2-40B4-BE49-F238E27FC236}">
                    <a16:creationId xmlns:a16="http://schemas.microsoft.com/office/drawing/2014/main" id="{91A693BA-0D8F-4086-9ABA-9C3406EA83FA}"/>
                  </a:ext>
                </a:extLst>
              </p:cNvPr>
              <p:cNvSpPr/>
              <p:nvPr/>
            </p:nvSpPr>
            <p:spPr>
              <a:xfrm>
                <a:off x="5646214" y="3124394"/>
                <a:ext cx="20277" cy="42563"/>
              </a:xfrm>
              <a:custGeom>
                <a:avLst/>
                <a:gdLst/>
                <a:ahLst/>
                <a:cxnLst/>
                <a:rect l="l" t="t" r="r" b="b"/>
                <a:pathLst>
                  <a:path w="1110" h="2330" fill="none" extrusionOk="0">
                    <a:moveTo>
                      <a:pt x="0" y="1"/>
                    </a:moveTo>
                    <a:lnTo>
                      <a:pt x="1110"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1124;p53">
                <a:extLst>
                  <a:ext uri="{FF2B5EF4-FFF2-40B4-BE49-F238E27FC236}">
                    <a16:creationId xmlns:a16="http://schemas.microsoft.com/office/drawing/2014/main" id="{97330014-5444-4669-9927-CF51EB279C74}"/>
                  </a:ext>
                </a:extLst>
              </p:cNvPr>
              <p:cNvSpPr/>
              <p:nvPr/>
            </p:nvSpPr>
            <p:spPr>
              <a:xfrm>
                <a:off x="5645539" y="3086581"/>
                <a:ext cx="20277" cy="43239"/>
              </a:xfrm>
              <a:custGeom>
                <a:avLst/>
                <a:gdLst/>
                <a:ahLst/>
                <a:cxnLst/>
                <a:rect l="l" t="t" r="r" b="b"/>
                <a:pathLst>
                  <a:path w="1110" h="2367" fill="none" extrusionOk="0">
                    <a:moveTo>
                      <a:pt x="0" y="0"/>
                    </a:moveTo>
                    <a:lnTo>
                      <a:pt x="1110"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1125;p53">
                <a:extLst>
                  <a:ext uri="{FF2B5EF4-FFF2-40B4-BE49-F238E27FC236}">
                    <a16:creationId xmlns:a16="http://schemas.microsoft.com/office/drawing/2014/main" id="{0924249A-72CF-4A02-AA98-7C27C8624682}"/>
                  </a:ext>
                </a:extLst>
              </p:cNvPr>
              <p:cNvSpPr/>
              <p:nvPr/>
            </p:nvSpPr>
            <p:spPr>
              <a:xfrm>
                <a:off x="5644863" y="3049424"/>
                <a:ext cx="20953" cy="42563"/>
              </a:xfrm>
              <a:custGeom>
                <a:avLst/>
                <a:gdLst/>
                <a:ahLst/>
                <a:cxnLst/>
                <a:rect l="l" t="t" r="r" b="b"/>
                <a:pathLst>
                  <a:path w="1147" h="2330" fill="none" extrusionOk="0">
                    <a:moveTo>
                      <a:pt x="1" y="1"/>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1126;p53">
                <a:extLst>
                  <a:ext uri="{FF2B5EF4-FFF2-40B4-BE49-F238E27FC236}">
                    <a16:creationId xmlns:a16="http://schemas.microsoft.com/office/drawing/2014/main" id="{3D090ADF-8181-408D-9AA0-22F2646398C6}"/>
                  </a:ext>
                </a:extLst>
              </p:cNvPr>
              <p:cNvSpPr/>
              <p:nvPr/>
            </p:nvSpPr>
            <p:spPr>
              <a:xfrm>
                <a:off x="5644187" y="3012287"/>
                <a:ext cx="20953" cy="42563"/>
              </a:xfrm>
              <a:custGeom>
                <a:avLst/>
                <a:gdLst/>
                <a:ahLst/>
                <a:cxnLst/>
                <a:rect l="l" t="t" r="r" b="b"/>
                <a:pathLst>
                  <a:path w="1147" h="2330" fill="none" extrusionOk="0">
                    <a:moveTo>
                      <a:pt x="1" y="0"/>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1127;p53">
                <a:extLst>
                  <a:ext uri="{FF2B5EF4-FFF2-40B4-BE49-F238E27FC236}">
                    <a16:creationId xmlns:a16="http://schemas.microsoft.com/office/drawing/2014/main" id="{40531E7F-3D06-47AE-B8B7-B63278F17D9D}"/>
                  </a:ext>
                </a:extLst>
              </p:cNvPr>
              <p:cNvSpPr/>
              <p:nvPr/>
            </p:nvSpPr>
            <p:spPr>
              <a:xfrm>
                <a:off x="5355816" y="2601652"/>
                <a:ext cx="215447" cy="238446"/>
              </a:xfrm>
              <a:custGeom>
                <a:avLst/>
                <a:gdLst/>
                <a:ahLst/>
                <a:cxnLst/>
                <a:rect l="l" t="t" r="r" b="b"/>
                <a:pathLst>
                  <a:path w="11794" h="13053" extrusionOk="0">
                    <a:moveTo>
                      <a:pt x="5892" y="1"/>
                    </a:moveTo>
                    <a:cubicBezTo>
                      <a:pt x="2666" y="1"/>
                      <a:pt x="37" y="2944"/>
                      <a:pt x="0" y="6508"/>
                    </a:cubicBezTo>
                    <a:cubicBezTo>
                      <a:pt x="0" y="10094"/>
                      <a:pt x="2588" y="13052"/>
                      <a:pt x="5841" y="13052"/>
                    </a:cubicBezTo>
                    <a:cubicBezTo>
                      <a:pt x="5862" y="13052"/>
                      <a:pt x="5882" y="13052"/>
                      <a:pt x="5903" y="13052"/>
                    </a:cubicBezTo>
                    <a:cubicBezTo>
                      <a:pt x="9129" y="13052"/>
                      <a:pt x="11794" y="10146"/>
                      <a:pt x="11794" y="6582"/>
                    </a:cubicBezTo>
                    <a:cubicBezTo>
                      <a:pt x="11794" y="2959"/>
                      <a:pt x="9169" y="1"/>
                      <a:pt x="5952" y="1"/>
                    </a:cubicBezTo>
                    <a:cubicBezTo>
                      <a:pt x="5932" y="1"/>
                      <a:pt x="5912" y="1"/>
                      <a:pt x="58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1128;p53">
                <a:extLst>
                  <a:ext uri="{FF2B5EF4-FFF2-40B4-BE49-F238E27FC236}">
                    <a16:creationId xmlns:a16="http://schemas.microsoft.com/office/drawing/2014/main" id="{D3FA78FA-77C2-43B7-98B7-FF0D4A2B45EF}"/>
                  </a:ext>
                </a:extLst>
              </p:cNvPr>
              <p:cNvSpPr/>
              <p:nvPr/>
            </p:nvSpPr>
            <p:spPr>
              <a:xfrm>
                <a:off x="5415916" y="2664473"/>
                <a:ext cx="95247" cy="112802"/>
              </a:xfrm>
              <a:custGeom>
                <a:avLst/>
                <a:gdLst/>
                <a:ahLst/>
                <a:cxnLst/>
                <a:rect l="l" t="t" r="r" b="b"/>
                <a:pathLst>
                  <a:path w="5214" h="6175" extrusionOk="0">
                    <a:moveTo>
                      <a:pt x="2625" y="1"/>
                    </a:moveTo>
                    <a:cubicBezTo>
                      <a:pt x="1184" y="1"/>
                      <a:pt x="0" y="1368"/>
                      <a:pt x="0" y="3069"/>
                    </a:cubicBezTo>
                    <a:cubicBezTo>
                      <a:pt x="0" y="4807"/>
                      <a:pt x="1147" y="6175"/>
                      <a:pt x="2588" y="6175"/>
                    </a:cubicBezTo>
                    <a:cubicBezTo>
                      <a:pt x="4030" y="6175"/>
                      <a:pt x="5213" y="4807"/>
                      <a:pt x="5213" y="3106"/>
                    </a:cubicBezTo>
                    <a:cubicBezTo>
                      <a:pt x="5213" y="1405"/>
                      <a:pt x="4067" y="37"/>
                      <a:pt x="262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1129;p53">
                <a:extLst>
                  <a:ext uri="{FF2B5EF4-FFF2-40B4-BE49-F238E27FC236}">
                    <a16:creationId xmlns:a16="http://schemas.microsoft.com/office/drawing/2014/main" id="{6737B00F-29A2-49DF-A80E-284C3F14E5F1}"/>
                  </a:ext>
                </a:extLst>
              </p:cNvPr>
              <p:cNvSpPr/>
              <p:nvPr/>
            </p:nvSpPr>
            <p:spPr>
              <a:xfrm>
                <a:off x="5424027" y="2601670"/>
                <a:ext cx="25008" cy="119561"/>
              </a:xfrm>
              <a:custGeom>
                <a:avLst/>
                <a:gdLst/>
                <a:ahLst/>
                <a:cxnLst/>
                <a:rect l="l" t="t" r="r" b="b"/>
                <a:pathLst>
                  <a:path w="1369" h="6545" extrusionOk="0">
                    <a:moveTo>
                      <a:pt x="703" y="0"/>
                    </a:moveTo>
                    <a:lnTo>
                      <a:pt x="0" y="444"/>
                    </a:lnTo>
                    <a:lnTo>
                      <a:pt x="555" y="6507"/>
                    </a:lnTo>
                    <a:lnTo>
                      <a:pt x="1368" y="6544"/>
                    </a:lnTo>
                    <a:lnTo>
                      <a:pt x="70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1130;p53">
                <a:extLst>
                  <a:ext uri="{FF2B5EF4-FFF2-40B4-BE49-F238E27FC236}">
                    <a16:creationId xmlns:a16="http://schemas.microsoft.com/office/drawing/2014/main" id="{E095B66B-74C1-44C4-9056-054B7ECDC704}"/>
                  </a:ext>
                </a:extLst>
              </p:cNvPr>
              <p:cNvSpPr/>
              <p:nvPr/>
            </p:nvSpPr>
            <p:spPr>
              <a:xfrm>
                <a:off x="5494265" y="2696222"/>
                <a:ext cx="76998" cy="38508"/>
              </a:xfrm>
              <a:custGeom>
                <a:avLst/>
                <a:gdLst/>
                <a:ahLst/>
                <a:cxnLst/>
                <a:rect l="l" t="t" r="r" b="b"/>
                <a:pathLst>
                  <a:path w="4215" h="2108" extrusionOk="0">
                    <a:moveTo>
                      <a:pt x="4215" y="0"/>
                    </a:moveTo>
                    <a:lnTo>
                      <a:pt x="0" y="1035"/>
                    </a:lnTo>
                    <a:lnTo>
                      <a:pt x="0" y="2107"/>
                    </a:lnTo>
                    <a:lnTo>
                      <a:pt x="4215" y="1405"/>
                    </a:lnTo>
                    <a:lnTo>
                      <a:pt x="42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1131;p53">
                <a:extLst>
                  <a:ext uri="{FF2B5EF4-FFF2-40B4-BE49-F238E27FC236}">
                    <a16:creationId xmlns:a16="http://schemas.microsoft.com/office/drawing/2014/main" id="{0FA77F80-D9EF-4149-8C31-84F157A2104E}"/>
                  </a:ext>
                </a:extLst>
              </p:cNvPr>
              <p:cNvSpPr/>
              <p:nvPr/>
            </p:nvSpPr>
            <p:spPr>
              <a:xfrm>
                <a:off x="5374723" y="2744850"/>
                <a:ext cx="74312" cy="57415"/>
              </a:xfrm>
              <a:custGeom>
                <a:avLst/>
                <a:gdLst/>
                <a:ahLst/>
                <a:cxnLst/>
                <a:rect l="l" t="t" r="r" b="b"/>
                <a:pathLst>
                  <a:path w="4068" h="3143" extrusionOk="0">
                    <a:moveTo>
                      <a:pt x="3365" y="0"/>
                    </a:moveTo>
                    <a:lnTo>
                      <a:pt x="0" y="2403"/>
                    </a:lnTo>
                    <a:lnTo>
                      <a:pt x="555" y="3143"/>
                    </a:lnTo>
                    <a:lnTo>
                      <a:pt x="4067" y="887"/>
                    </a:lnTo>
                    <a:lnTo>
                      <a:pt x="33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1132;p53">
                <a:extLst>
                  <a:ext uri="{FF2B5EF4-FFF2-40B4-BE49-F238E27FC236}">
                    <a16:creationId xmlns:a16="http://schemas.microsoft.com/office/drawing/2014/main" id="{6C48D86E-E8F9-4F94-857C-DCEBB0DA0363}"/>
                  </a:ext>
                </a:extLst>
              </p:cNvPr>
              <p:cNvSpPr/>
              <p:nvPr/>
            </p:nvSpPr>
            <p:spPr>
              <a:xfrm>
                <a:off x="5296374" y="2311929"/>
                <a:ext cx="463994" cy="1108965"/>
              </a:xfrm>
              <a:custGeom>
                <a:avLst/>
                <a:gdLst/>
                <a:ahLst/>
                <a:cxnLst/>
                <a:rect l="l" t="t" r="r" b="b"/>
                <a:pathLst>
                  <a:path w="25400" h="60707" extrusionOk="0">
                    <a:moveTo>
                      <a:pt x="75" y="1"/>
                    </a:moveTo>
                    <a:lnTo>
                      <a:pt x="1" y="11166"/>
                    </a:lnTo>
                    <a:cubicBezTo>
                      <a:pt x="2995" y="14235"/>
                      <a:pt x="6101" y="17229"/>
                      <a:pt x="8541" y="20778"/>
                    </a:cubicBezTo>
                    <a:cubicBezTo>
                      <a:pt x="11646" y="25252"/>
                      <a:pt x="13347" y="30354"/>
                      <a:pt x="14567" y="35641"/>
                    </a:cubicBezTo>
                    <a:cubicBezTo>
                      <a:pt x="15861" y="41186"/>
                      <a:pt x="16600" y="46880"/>
                      <a:pt x="16711" y="52610"/>
                    </a:cubicBezTo>
                    <a:cubicBezTo>
                      <a:pt x="16711" y="53830"/>
                      <a:pt x="16711" y="55050"/>
                      <a:pt x="16674" y="56270"/>
                    </a:cubicBezTo>
                    <a:lnTo>
                      <a:pt x="25104" y="60707"/>
                    </a:lnTo>
                    <a:lnTo>
                      <a:pt x="25399" y="9835"/>
                    </a:lnTo>
                    <a:lnTo>
                      <a:pt x="75" y="1"/>
                    </a:lnTo>
                    <a:close/>
                  </a:path>
                </a:pathLst>
              </a:custGeom>
              <a:solidFill>
                <a:schemeClr val="dk1"/>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1133;p53">
                <a:extLst>
                  <a:ext uri="{FF2B5EF4-FFF2-40B4-BE49-F238E27FC236}">
                    <a16:creationId xmlns:a16="http://schemas.microsoft.com/office/drawing/2014/main" id="{F24C7D89-7981-4310-B5FD-7BB5AD86EAA6}"/>
                  </a:ext>
                </a:extLst>
              </p:cNvPr>
              <p:cNvSpPr/>
              <p:nvPr/>
            </p:nvSpPr>
            <p:spPr>
              <a:xfrm>
                <a:off x="5430092" y="2318012"/>
                <a:ext cx="374173" cy="144551"/>
              </a:xfrm>
              <a:custGeom>
                <a:avLst/>
                <a:gdLst/>
                <a:ahLst/>
                <a:cxnLst/>
                <a:rect l="l" t="t" r="r" b="b"/>
                <a:pathLst>
                  <a:path w="20483" h="7913" extrusionOk="0">
                    <a:moveTo>
                      <a:pt x="1960" y="1"/>
                    </a:moveTo>
                    <a:lnTo>
                      <a:pt x="1" y="370"/>
                    </a:lnTo>
                    <a:lnTo>
                      <a:pt x="18153" y="7912"/>
                    </a:lnTo>
                    <a:lnTo>
                      <a:pt x="20483" y="7432"/>
                    </a:lnTo>
                    <a:lnTo>
                      <a:pt x="196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1134;p53">
                <a:extLst>
                  <a:ext uri="{FF2B5EF4-FFF2-40B4-BE49-F238E27FC236}">
                    <a16:creationId xmlns:a16="http://schemas.microsoft.com/office/drawing/2014/main" id="{6ED49CA9-B975-40E2-9BCA-E497E479EC51}"/>
                  </a:ext>
                </a:extLst>
              </p:cNvPr>
              <p:cNvSpPr/>
              <p:nvPr/>
            </p:nvSpPr>
            <p:spPr>
              <a:xfrm>
                <a:off x="5647566" y="2292346"/>
                <a:ext cx="474791" cy="131709"/>
              </a:xfrm>
              <a:custGeom>
                <a:avLst/>
                <a:gdLst/>
                <a:ahLst/>
                <a:cxnLst/>
                <a:rect l="l" t="t" r="r" b="b"/>
                <a:pathLst>
                  <a:path w="25991" h="7210" extrusionOk="0">
                    <a:moveTo>
                      <a:pt x="2847" y="1"/>
                    </a:moveTo>
                    <a:lnTo>
                      <a:pt x="0" y="112"/>
                    </a:lnTo>
                    <a:lnTo>
                      <a:pt x="21443" y="7173"/>
                    </a:lnTo>
                    <a:lnTo>
                      <a:pt x="25991" y="7210"/>
                    </a:lnTo>
                    <a:lnTo>
                      <a:pt x="25991" y="7210"/>
                    </a:lnTo>
                    <a:lnTo>
                      <a:pt x="284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1135;p53">
                <a:extLst>
                  <a:ext uri="{FF2B5EF4-FFF2-40B4-BE49-F238E27FC236}">
                    <a16:creationId xmlns:a16="http://schemas.microsoft.com/office/drawing/2014/main" id="{844D40A0-1FBF-4DCA-8D31-A372CB8C65AC}"/>
                  </a:ext>
                </a:extLst>
              </p:cNvPr>
              <p:cNvSpPr/>
              <p:nvPr/>
            </p:nvSpPr>
            <p:spPr>
              <a:xfrm>
                <a:off x="5554365" y="2305188"/>
                <a:ext cx="394432" cy="137116"/>
              </a:xfrm>
              <a:custGeom>
                <a:avLst/>
                <a:gdLst/>
                <a:ahLst/>
                <a:cxnLst/>
                <a:rect l="l" t="t" r="r" b="b"/>
                <a:pathLst>
                  <a:path w="21592" h="7506" extrusionOk="0">
                    <a:moveTo>
                      <a:pt x="1775" y="0"/>
                    </a:moveTo>
                    <a:lnTo>
                      <a:pt x="0" y="370"/>
                    </a:lnTo>
                    <a:lnTo>
                      <a:pt x="18412" y="7505"/>
                    </a:lnTo>
                    <a:lnTo>
                      <a:pt x="21591" y="7062"/>
                    </a:lnTo>
                    <a:lnTo>
                      <a:pt x="177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1136;p53">
                <a:extLst>
                  <a:ext uri="{FF2B5EF4-FFF2-40B4-BE49-F238E27FC236}">
                    <a16:creationId xmlns:a16="http://schemas.microsoft.com/office/drawing/2014/main" id="{8998A18C-02E3-4410-98A6-1B74754CB512}"/>
                  </a:ext>
                </a:extLst>
              </p:cNvPr>
              <p:cNvSpPr/>
              <p:nvPr/>
            </p:nvSpPr>
            <p:spPr>
              <a:xfrm>
                <a:off x="5297725" y="2267356"/>
                <a:ext cx="447115" cy="73636"/>
              </a:xfrm>
              <a:custGeom>
                <a:avLst/>
                <a:gdLst/>
                <a:ahLst/>
                <a:cxnLst/>
                <a:rect l="l" t="t" r="r" b="b"/>
                <a:pathLst>
                  <a:path w="24476" h="4031" extrusionOk="0">
                    <a:moveTo>
                      <a:pt x="20704" y="1"/>
                    </a:moveTo>
                    <a:lnTo>
                      <a:pt x="1" y="2441"/>
                    </a:lnTo>
                    <a:lnTo>
                      <a:pt x="4437" y="4031"/>
                    </a:lnTo>
                    <a:lnTo>
                      <a:pt x="24475" y="1110"/>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1137;p53">
                <a:extLst>
                  <a:ext uri="{FF2B5EF4-FFF2-40B4-BE49-F238E27FC236}">
                    <a16:creationId xmlns:a16="http://schemas.microsoft.com/office/drawing/2014/main" id="{B3FF1B14-32D6-42DA-B4CE-1DEC3A99A370}"/>
                  </a:ext>
                </a:extLst>
              </p:cNvPr>
              <p:cNvSpPr/>
              <p:nvPr/>
            </p:nvSpPr>
            <p:spPr>
              <a:xfrm>
                <a:off x="5652297" y="2392982"/>
                <a:ext cx="574074" cy="98626"/>
              </a:xfrm>
              <a:custGeom>
                <a:avLst/>
                <a:gdLst/>
                <a:ahLst/>
                <a:cxnLst/>
                <a:rect l="l" t="t" r="r" b="b"/>
                <a:pathLst>
                  <a:path w="31426" h="5399" extrusionOk="0">
                    <a:moveTo>
                      <a:pt x="24031" y="0"/>
                    </a:moveTo>
                    <a:lnTo>
                      <a:pt x="0" y="3254"/>
                    </a:lnTo>
                    <a:lnTo>
                      <a:pt x="5952" y="5398"/>
                    </a:lnTo>
                    <a:lnTo>
                      <a:pt x="31425" y="1997"/>
                    </a:lnTo>
                    <a:lnTo>
                      <a:pt x="240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1138;p53">
                <a:extLst>
                  <a:ext uri="{FF2B5EF4-FFF2-40B4-BE49-F238E27FC236}">
                    <a16:creationId xmlns:a16="http://schemas.microsoft.com/office/drawing/2014/main" id="{4600F91F-E21A-45D2-9B00-1B274778C849}"/>
                  </a:ext>
                </a:extLst>
              </p:cNvPr>
              <p:cNvSpPr/>
              <p:nvPr/>
            </p:nvSpPr>
            <p:spPr>
              <a:xfrm>
                <a:off x="7686475" y="2361909"/>
                <a:ext cx="311370" cy="319553"/>
              </a:xfrm>
              <a:custGeom>
                <a:avLst/>
                <a:gdLst/>
                <a:ahLst/>
                <a:cxnLst/>
                <a:rect l="l" t="t" r="r" b="b"/>
                <a:pathLst>
                  <a:path w="17045" h="17493" extrusionOk="0">
                    <a:moveTo>
                      <a:pt x="10398" y="1"/>
                    </a:moveTo>
                    <a:cubicBezTo>
                      <a:pt x="10036" y="1"/>
                      <a:pt x="9675" y="25"/>
                      <a:pt x="9317" y="75"/>
                    </a:cubicBezTo>
                    <a:cubicBezTo>
                      <a:pt x="8837" y="149"/>
                      <a:pt x="8134" y="38"/>
                      <a:pt x="7654" y="259"/>
                    </a:cubicBezTo>
                    <a:cubicBezTo>
                      <a:pt x="7284" y="444"/>
                      <a:pt x="3846" y="444"/>
                      <a:pt x="2219" y="7469"/>
                    </a:cubicBezTo>
                    <a:cubicBezTo>
                      <a:pt x="1960" y="8541"/>
                      <a:pt x="1" y="11018"/>
                      <a:pt x="1443" y="11499"/>
                    </a:cubicBezTo>
                    <a:cubicBezTo>
                      <a:pt x="2367" y="11794"/>
                      <a:pt x="2626" y="11203"/>
                      <a:pt x="2847" y="12460"/>
                    </a:cubicBezTo>
                    <a:cubicBezTo>
                      <a:pt x="2958" y="13199"/>
                      <a:pt x="2958" y="13939"/>
                      <a:pt x="3069" y="14641"/>
                    </a:cubicBezTo>
                    <a:cubicBezTo>
                      <a:pt x="3328" y="15935"/>
                      <a:pt x="3735" y="17044"/>
                      <a:pt x="5140" y="17414"/>
                    </a:cubicBezTo>
                    <a:cubicBezTo>
                      <a:pt x="5330" y="17468"/>
                      <a:pt x="5603" y="17492"/>
                      <a:pt x="5936" y="17492"/>
                    </a:cubicBezTo>
                    <a:cubicBezTo>
                      <a:pt x="8124" y="17492"/>
                      <a:pt x="12902" y="16427"/>
                      <a:pt x="13865" y="15528"/>
                    </a:cubicBezTo>
                    <a:cubicBezTo>
                      <a:pt x="15565" y="13865"/>
                      <a:pt x="15824" y="11683"/>
                      <a:pt x="16342" y="9280"/>
                    </a:cubicBezTo>
                    <a:cubicBezTo>
                      <a:pt x="17044" y="5879"/>
                      <a:pt x="15787" y="1406"/>
                      <a:pt x="12534" y="296"/>
                    </a:cubicBezTo>
                    <a:cubicBezTo>
                      <a:pt x="11844" y="99"/>
                      <a:pt x="11121" y="1"/>
                      <a:pt x="10398" y="1"/>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1139;p53">
                <a:extLst>
                  <a:ext uri="{FF2B5EF4-FFF2-40B4-BE49-F238E27FC236}">
                    <a16:creationId xmlns:a16="http://schemas.microsoft.com/office/drawing/2014/main" id="{37CD288F-3FC1-43F1-8310-AB2A4BDF6B4D}"/>
                  </a:ext>
                </a:extLst>
              </p:cNvPr>
              <p:cNvSpPr/>
              <p:nvPr/>
            </p:nvSpPr>
            <p:spPr>
              <a:xfrm>
                <a:off x="7806693" y="2599642"/>
                <a:ext cx="162782" cy="168865"/>
              </a:xfrm>
              <a:custGeom>
                <a:avLst/>
                <a:gdLst/>
                <a:ahLst/>
                <a:cxnLst/>
                <a:rect l="l" t="t" r="r" b="b"/>
                <a:pathLst>
                  <a:path w="8911" h="9244" extrusionOk="0">
                    <a:moveTo>
                      <a:pt x="8134" y="0"/>
                    </a:moveTo>
                    <a:lnTo>
                      <a:pt x="592" y="1960"/>
                    </a:lnTo>
                    <a:lnTo>
                      <a:pt x="0" y="9243"/>
                    </a:lnTo>
                    <a:cubicBezTo>
                      <a:pt x="0" y="9243"/>
                      <a:pt x="3919" y="9243"/>
                      <a:pt x="6101" y="8651"/>
                    </a:cubicBezTo>
                    <a:cubicBezTo>
                      <a:pt x="6988" y="8393"/>
                      <a:pt x="7949" y="8208"/>
                      <a:pt x="8910" y="8097"/>
                    </a:cubicBezTo>
                    <a:cubicBezTo>
                      <a:pt x="8467" y="6618"/>
                      <a:pt x="8208" y="5065"/>
                      <a:pt x="8097" y="3513"/>
                    </a:cubicBezTo>
                    <a:cubicBezTo>
                      <a:pt x="7986" y="2329"/>
                      <a:pt x="8023" y="1146"/>
                      <a:pt x="8134"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1140;p53">
                <a:extLst>
                  <a:ext uri="{FF2B5EF4-FFF2-40B4-BE49-F238E27FC236}">
                    <a16:creationId xmlns:a16="http://schemas.microsoft.com/office/drawing/2014/main" id="{E883B136-E27D-451A-8E50-6A33DA59B243}"/>
                  </a:ext>
                </a:extLst>
              </p:cNvPr>
              <p:cNvSpPr/>
              <p:nvPr/>
            </p:nvSpPr>
            <p:spPr>
              <a:xfrm>
                <a:off x="7747945" y="2342746"/>
                <a:ext cx="372127" cy="382394"/>
              </a:xfrm>
              <a:custGeom>
                <a:avLst/>
                <a:gdLst/>
                <a:ahLst/>
                <a:cxnLst/>
                <a:rect l="l" t="t" r="r" b="b"/>
                <a:pathLst>
                  <a:path w="20371" h="20933" extrusionOk="0">
                    <a:moveTo>
                      <a:pt x="6658" y="0"/>
                    </a:moveTo>
                    <a:cubicBezTo>
                      <a:pt x="6287" y="0"/>
                      <a:pt x="5926" y="39"/>
                      <a:pt x="5583" y="125"/>
                    </a:cubicBezTo>
                    <a:cubicBezTo>
                      <a:pt x="4584" y="347"/>
                      <a:pt x="3512" y="495"/>
                      <a:pt x="2662" y="1050"/>
                    </a:cubicBezTo>
                    <a:cubicBezTo>
                      <a:pt x="1959" y="1493"/>
                      <a:pt x="1294" y="2307"/>
                      <a:pt x="592" y="2639"/>
                    </a:cubicBezTo>
                    <a:lnTo>
                      <a:pt x="629" y="2676"/>
                    </a:lnTo>
                    <a:cubicBezTo>
                      <a:pt x="185" y="3083"/>
                      <a:pt x="0" y="3712"/>
                      <a:pt x="222" y="4303"/>
                    </a:cubicBezTo>
                    <a:cubicBezTo>
                      <a:pt x="592" y="5006"/>
                      <a:pt x="1220" y="4821"/>
                      <a:pt x="1812" y="5042"/>
                    </a:cubicBezTo>
                    <a:cubicBezTo>
                      <a:pt x="3032" y="5486"/>
                      <a:pt x="2625" y="7113"/>
                      <a:pt x="3401" y="8074"/>
                    </a:cubicBezTo>
                    <a:cubicBezTo>
                      <a:pt x="4252" y="9109"/>
                      <a:pt x="5804" y="9146"/>
                      <a:pt x="4880" y="10810"/>
                    </a:cubicBezTo>
                    <a:cubicBezTo>
                      <a:pt x="4178" y="12030"/>
                      <a:pt x="3882" y="13398"/>
                      <a:pt x="4954" y="14507"/>
                    </a:cubicBezTo>
                    <a:cubicBezTo>
                      <a:pt x="6359" y="15986"/>
                      <a:pt x="4732" y="17206"/>
                      <a:pt x="5102" y="18943"/>
                    </a:cubicBezTo>
                    <a:cubicBezTo>
                      <a:pt x="5250" y="19794"/>
                      <a:pt x="5841" y="20459"/>
                      <a:pt x="6655" y="20792"/>
                    </a:cubicBezTo>
                    <a:cubicBezTo>
                      <a:pt x="6901" y="20891"/>
                      <a:pt x="7086" y="20932"/>
                      <a:pt x="7249" y="20932"/>
                    </a:cubicBezTo>
                    <a:cubicBezTo>
                      <a:pt x="7575" y="20932"/>
                      <a:pt x="7813" y="20767"/>
                      <a:pt x="8281" y="20570"/>
                    </a:cubicBezTo>
                    <a:cubicBezTo>
                      <a:pt x="8578" y="20433"/>
                      <a:pt x="8873" y="20380"/>
                      <a:pt x="9169" y="20380"/>
                    </a:cubicBezTo>
                    <a:cubicBezTo>
                      <a:pt x="10130" y="20380"/>
                      <a:pt x="11102" y="20932"/>
                      <a:pt x="12170" y="20932"/>
                    </a:cubicBezTo>
                    <a:cubicBezTo>
                      <a:pt x="12456" y="20932"/>
                      <a:pt x="12749" y="20893"/>
                      <a:pt x="13051" y="20792"/>
                    </a:cubicBezTo>
                    <a:cubicBezTo>
                      <a:pt x="14234" y="20348"/>
                      <a:pt x="14677" y="19609"/>
                      <a:pt x="15417" y="18685"/>
                    </a:cubicBezTo>
                    <a:cubicBezTo>
                      <a:pt x="16082" y="17871"/>
                      <a:pt x="16970" y="17908"/>
                      <a:pt x="17894" y="17539"/>
                    </a:cubicBezTo>
                    <a:cubicBezTo>
                      <a:pt x="18818" y="17206"/>
                      <a:pt x="19558" y="16540"/>
                      <a:pt x="19964" y="15616"/>
                    </a:cubicBezTo>
                    <a:cubicBezTo>
                      <a:pt x="20371" y="14618"/>
                      <a:pt x="19816" y="14470"/>
                      <a:pt x="19594" y="13657"/>
                    </a:cubicBezTo>
                    <a:cubicBezTo>
                      <a:pt x="19410" y="12843"/>
                      <a:pt x="20371" y="12104"/>
                      <a:pt x="20149" y="11143"/>
                    </a:cubicBezTo>
                    <a:cubicBezTo>
                      <a:pt x="19927" y="10144"/>
                      <a:pt x="18892" y="9368"/>
                      <a:pt x="18116" y="8850"/>
                    </a:cubicBezTo>
                    <a:cubicBezTo>
                      <a:pt x="16711" y="7778"/>
                      <a:pt x="15565" y="6410"/>
                      <a:pt x="14751" y="4821"/>
                    </a:cubicBezTo>
                    <a:cubicBezTo>
                      <a:pt x="14123" y="3675"/>
                      <a:pt x="13199" y="2676"/>
                      <a:pt x="12052" y="1974"/>
                    </a:cubicBezTo>
                    <a:cubicBezTo>
                      <a:pt x="10634" y="987"/>
                      <a:pt x="8521" y="0"/>
                      <a:pt x="665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1141;p53">
                <a:extLst>
                  <a:ext uri="{FF2B5EF4-FFF2-40B4-BE49-F238E27FC236}">
                    <a16:creationId xmlns:a16="http://schemas.microsoft.com/office/drawing/2014/main" id="{2923A32B-325E-43A9-9C54-C44B07BCDEE8}"/>
                  </a:ext>
                </a:extLst>
              </p:cNvPr>
              <p:cNvSpPr/>
              <p:nvPr/>
            </p:nvSpPr>
            <p:spPr>
              <a:xfrm>
                <a:off x="7779676" y="2480775"/>
                <a:ext cx="146578" cy="125772"/>
              </a:xfrm>
              <a:custGeom>
                <a:avLst/>
                <a:gdLst/>
                <a:ahLst/>
                <a:cxnLst/>
                <a:rect l="l" t="t" r="r" b="b"/>
                <a:pathLst>
                  <a:path w="8024" h="6885" extrusionOk="0">
                    <a:moveTo>
                      <a:pt x="4548" y="0"/>
                    </a:moveTo>
                    <a:cubicBezTo>
                      <a:pt x="1553" y="0"/>
                      <a:pt x="1" y="3624"/>
                      <a:pt x="2071" y="5805"/>
                    </a:cubicBezTo>
                    <a:cubicBezTo>
                      <a:pt x="2777" y="6549"/>
                      <a:pt x="3669" y="6884"/>
                      <a:pt x="4544" y="6884"/>
                    </a:cubicBezTo>
                    <a:cubicBezTo>
                      <a:pt x="6234" y="6884"/>
                      <a:pt x="7865" y="5634"/>
                      <a:pt x="7986" y="3661"/>
                    </a:cubicBezTo>
                    <a:cubicBezTo>
                      <a:pt x="8023" y="1701"/>
                      <a:pt x="6507" y="74"/>
                      <a:pt x="454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1142;p53">
                <a:extLst>
                  <a:ext uri="{FF2B5EF4-FFF2-40B4-BE49-F238E27FC236}">
                    <a16:creationId xmlns:a16="http://schemas.microsoft.com/office/drawing/2014/main" id="{64C6A152-A57B-4F6A-AFAF-A6A1BEF6C9C0}"/>
                  </a:ext>
                </a:extLst>
              </p:cNvPr>
              <p:cNvSpPr/>
              <p:nvPr/>
            </p:nvSpPr>
            <p:spPr>
              <a:xfrm>
                <a:off x="7816832" y="2482803"/>
                <a:ext cx="108071" cy="129005"/>
              </a:xfrm>
              <a:custGeom>
                <a:avLst/>
                <a:gdLst/>
                <a:ahLst/>
                <a:cxnLst/>
                <a:rect l="l" t="t" r="r" b="b"/>
                <a:pathLst>
                  <a:path w="5916" h="7062" extrusionOk="0">
                    <a:moveTo>
                      <a:pt x="3512" y="0"/>
                    </a:moveTo>
                    <a:lnTo>
                      <a:pt x="3512" y="0"/>
                    </a:lnTo>
                    <a:cubicBezTo>
                      <a:pt x="4141" y="666"/>
                      <a:pt x="4473" y="1590"/>
                      <a:pt x="4473" y="2514"/>
                    </a:cubicBezTo>
                    <a:cubicBezTo>
                      <a:pt x="4547" y="4474"/>
                      <a:pt x="2995" y="6101"/>
                      <a:pt x="1072" y="6138"/>
                    </a:cubicBezTo>
                    <a:cubicBezTo>
                      <a:pt x="702" y="6138"/>
                      <a:pt x="333" y="6101"/>
                      <a:pt x="0" y="5990"/>
                    </a:cubicBezTo>
                    <a:lnTo>
                      <a:pt x="0" y="5990"/>
                    </a:lnTo>
                    <a:cubicBezTo>
                      <a:pt x="629" y="6655"/>
                      <a:pt x="1516" y="7062"/>
                      <a:pt x="2440" y="7062"/>
                    </a:cubicBezTo>
                    <a:cubicBezTo>
                      <a:pt x="4400" y="7025"/>
                      <a:pt x="5915" y="5398"/>
                      <a:pt x="5878" y="3439"/>
                    </a:cubicBezTo>
                    <a:cubicBezTo>
                      <a:pt x="5915" y="1923"/>
                      <a:pt x="4954" y="518"/>
                      <a:pt x="35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1143;p53">
                <a:extLst>
                  <a:ext uri="{FF2B5EF4-FFF2-40B4-BE49-F238E27FC236}">
                    <a16:creationId xmlns:a16="http://schemas.microsoft.com/office/drawing/2014/main" id="{24C4A16E-EA50-4EDE-960D-ECC950D81F84}"/>
                  </a:ext>
                </a:extLst>
              </p:cNvPr>
              <p:cNvSpPr/>
              <p:nvPr/>
            </p:nvSpPr>
            <p:spPr>
              <a:xfrm>
                <a:off x="7820869" y="2518589"/>
                <a:ext cx="49322" cy="42417"/>
              </a:xfrm>
              <a:custGeom>
                <a:avLst/>
                <a:gdLst/>
                <a:ahLst/>
                <a:cxnLst/>
                <a:rect l="l" t="t" r="r" b="b"/>
                <a:pathLst>
                  <a:path w="2700" h="2322" extrusionOk="0">
                    <a:moveTo>
                      <a:pt x="1554" y="1"/>
                    </a:moveTo>
                    <a:cubicBezTo>
                      <a:pt x="518" y="1"/>
                      <a:pt x="1" y="1258"/>
                      <a:pt x="740" y="1997"/>
                    </a:cubicBezTo>
                    <a:cubicBezTo>
                      <a:pt x="976" y="2221"/>
                      <a:pt x="1260" y="2321"/>
                      <a:pt x="1538" y="2321"/>
                    </a:cubicBezTo>
                    <a:cubicBezTo>
                      <a:pt x="2133" y="2321"/>
                      <a:pt x="2700" y="1864"/>
                      <a:pt x="2700" y="1184"/>
                    </a:cubicBezTo>
                    <a:cubicBezTo>
                      <a:pt x="2700" y="518"/>
                      <a:pt x="2182" y="1"/>
                      <a:pt x="155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1144;p53">
                <a:extLst>
                  <a:ext uri="{FF2B5EF4-FFF2-40B4-BE49-F238E27FC236}">
                    <a16:creationId xmlns:a16="http://schemas.microsoft.com/office/drawing/2014/main" id="{C9BB3B98-A16F-4E8F-9760-5619C9B4827C}"/>
                  </a:ext>
                </a:extLst>
              </p:cNvPr>
              <p:cNvSpPr/>
              <p:nvPr/>
            </p:nvSpPr>
            <p:spPr>
              <a:xfrm>
                <a:off x="7787111" y="2343002"/>
                <a:ext cx="83081" cy="143875"/>
              </a:xfrm>
              <a:custGeom>
                <a:avLst/>
                <a:gdLst/>
                <a:ahLst/>
                <a:cxnLst/>
                <a:rect l="l" t="t" r="r" b="b"/>
                <a:pathLst>
                  <a:path w="4548" h="7876" extrusionOk="0">
                    <a:moveTo>
                      <a:pt x="4548" y="0"/>
                    </a:moveTo>
                    <a:cubicBezTo>
                      <a:pt x="3586" y="111"/>
                      <a:pt x="2625" y="296"/>
                      <a:pt x="1701" y="555"/>
                    </a:cubicBezTo>
                    <a:cubicBezTo>
                      <a:pt x="0" y="962"/>
                      <a:pt x="296" y="1664"/>
                      <a:pt x="296" y="1664"/>
                    </a:cubicBezTo>
                    <a:lnTo>
                      <a:pt x="2773" y="7875"/>
                    </a:lnTo>
                    <a:lnTo>
                      <a:pt x="4548" y="7653"/>
                    </a:lnTo>
                    <a:lnTo>
                      <a:pt x="454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1145;p53">
                <a:extLst>
                  <a:ext uri="{FF2B5EF4-FFF2-40B4-BE49-F238E27FC236}">
                    <a16:creationId xmlns:a16="http://schemas.microsoft.com/office/drawing/2014/main" id="{EA9E08A2-B63F-434C-B20F-8EC732425FF2}"/>
                  </a:ext>
                </a:extLst>
              </p:cNvPr>
              <p:cNvSpPr/>
              <p:nvPr/>
            </p:nvSpPr>
            <p:spPr>
              <a:xfrm>
                <a:off x="7013811" y="2929900"/>
                <a:ext cx="183040" cy="183716"/>
              </a:xfrm>
              <a:custGeom>
                <a:avLst/>
                <a:gdLst/>
                <a:ahLst/>
                <a:cxnLst/>
                <a:rect l="l" t="t" r="r" b="b"/>
                <a:pathLst>
                  <a:path w="10020" h="10057" extrusionOk="0">
                    <a:moveTo>
                      <a:pt x="2478" y="0"/>
                    </a:moveTo>
                    <a:lnTo>
                      <a:pt x="2478" y="0"/>
                    </a:lnTo>
                    <a:cubicBezTo>
                      <a:pt x="1923" y="1146"/>
                      <a:pt x="3439" y="2144"/>
                      <a:pt x="3772" y="3106"/>
                    </a:cubicBezTo>
                    <a:cubicBezTo>
                      <a:pt x="3414" y="2780"/>
                      <a:pt x="1882" y="766"/>
                      <a:pt x="1218" y="766"/>
                    </a:cubicBezTo>
                    <a:cubicBezTo>
                      <a:pt x="1127" y="766"/>
                      <a:pt x="1052" y="803"/>
                      <a:pt x="999" y="887"/>
                    </a:cubicBezTo>
                    <a:cubicBezTo>
                      <a:pt x="666" y="1442"/>
                      <a:pt x="2478" y="3364"/>
                      <a:pt x="2700" y="3808"/>
                    </a:cubicBezTo>
                    <a:cubicBezTo>
                      <a:pt x="1886" y="2995"/>
                      <a:pt x="1480" y="1701"/>
                      <a:pt x="223" y="1442"/>
                    </a:cubicBezTo>
                    <a:lnTo>
                      <a:pt x="223" y="1442"/>
                    </a:lnTo>
                    <a:cubicBezTo>
                      <a:pt x="1" y="2588"/>
                      <a:pt x="1886" y="4510"/>
                      <a:pt x="2663" y="5213"/>
                    </a:cubicBezTo>
                    <a:cubicBezTo>
                      <a:pt x="2219" y="4880"/>
                      <a:pt x="1480" y="4547"/>
                      <a:pt x="1295" y="4363"/>
                    </a:cubicBezTo>
                    <a:cubicBezTo>
                      <a:pt x="1114" y="4155"/>
                      <a:pt x="860" y="3912"/>
                      <a:pt x="686" y="3912"/>
                    </a:cubicBezTo>
                    <a:cubicBezTo>
                      <a:pt x="611" y="3912"/>
                      <a:pt x="552" y="3956"/>
                      <a:pt x="519" y="4067"/>
                    </a:cubicBezTo>
                    <a:cubicBezTo>
                      <a:pt x="186" y="5028"/>
                      <a:pt x="2663" y="6803"/>
                      <a:pt x="3550" y="7394"/>
                    </a:cubicBezTo>
                    <a:cubicBezTo>
                      <a:pt x="5140" y="8503"/>
                      <a:pt x="6212" y="9391"/>
                      <a:pt x="7617" y="10056"/>
                    </a:cubicBezTo>
                    <a:lnTo>
                      <a:pt x="7358" y="9908"/>
                    </a:lnTo>
                    <a:cubicBezTo>
                      <a:pt x="7839" y="9575"/>
                      <a:pt x="8319" y="9206"/>
                      <a:pt x="8763" y="8836"/>
                    </a:cubicBezTo>
                    <a:cubicBezTo>
                      <a:pt x="9244" y="8318"/>
                      <a:pt x="9650" y="7764"/>
                      <a:pt x="10020" y="7135"/>
                    </a:cubicBezTo>
                    <a:cubicBezTo>
                      <a:pt x="9170" y="6026"/>
                      <a:pt x="8024" y="4991"/>
                      <a:pt x="7469" y="3697"/>
                    </a:cubicBezTo>
                    <a:cubicBezTo>
                      <a:pt x="7284" y="3216"/>
                      <a:pt x="7136" y="1738"/>
                      <a:pt x="6582" y="1516"/>
                    </a:cubicBezTo>
                    <a:cubicBezTo>
                      <a:pt x="6517" y="1494"/>
                      <a:pt x="6460" y="1484"/>
                      <a:pt x="6408" y="1484"/>
                    </a:cubicBezTo>
                    <a:cubicBezTo>
                      <a:pt x="5840" y="1484"/>
                      <a:pt x="6024" y="2702"/>
                      <a:pt x="5990" y="3143"/>
                    </a:cubicBezTo>
                    <a:cubicBezTo>
                      <a:pt x="4622" y="3143"/>
                      <a:pt x="3809" y="444"/>
                      <a:pt x="2478"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1146;p53">
                <a:extLst>
                  <a:ext uri="{FF2B5EF4-FFF2-40B4-BE49-F238E27FC236}">
                    <a16:creationId xmlns:a16="http://schemas.microsoft.com/office/drawing/2014/main" id="{21545725-3B41-4642-9D9B-2E2D7D8B1CA3}"/>
                  </a:ext>
                </a:extLst>
              </p:cNvPr>
              <p:cNvSpPr/>
              <p:nvPr/>
            </p:nvSpPr>
            <p:spPr>
              <a:xfrm>
                <a:off x="7118502" y="3896836"/>
                <a:ext cx="289741" cy="170217"/>
              </a:xfrm>
              <a:custGeom>
                <a:avLst/>
                <a:gdLst/>
                <a:ahLst/>
                <a:cxnLst/>
                <a:rect l="l" t="t" r="r" b="b"/>
                <a:pathLst>
                  <a:path w="15861" h="9318" extrusionOk="0">
                    <a:moveTo>
                      <a:pt x="10642" y="0"/>
                    </a:moveTo>
                    <a:cubicBezTo>
                      <a:pt x="10570" y="0"/>
                      <a:pt x="10498" y="4"/>
                      <a:pt x="10426" y="10"/>
                    </a:cubicBezTo>
                    <a:cubicBezTo>
                      <a:pt x="9798" y="84"/>
                      <a:pt x="9280" y="602"/>
                      <a:pt x="8799" y="1045"/>
                    </a:cubicBezTo>
                    <a:cubicBezTo>
                      <a:pt x="6581" y="3005"/>
                      <a:pt x="3661" y="3855"/>
                      <a:pt x="1147" y="5371"/>
                    </a:cubicBezTo>
                    <a:cubicBezTo>
                      <a:pt x="888" y="5482"/>
                      <a:pt x="666" y="5667"/>
                      <a:pt x="481" y="5888"/>
                    </a:cubicBezTo>
                    <a:cubicBezTo>
                      <a:pt x="0" y="6554"/>
                      <a:pt x="259" y="7552"/>
                      <a:pt x="814" y="8144"/>
                    </a:cubicBezTo>
                    <a:cubicBezTo>
                      <a:pt x="1600" y="8995"/>
                      <a:pt x="2720" y="9318"/>
                      <a:pt x="3895" y="9318"/>
                    </a:cubicBezTo>
                    <a:cubicBezTo>
                      <a:pt x="4709" y="9318"/>
                      <a:pt x="5550" y="9162"/>
                      <a:pt x="6322" y="8920"/>
                    </a:cubicBezTo>
                    <a:cubicBezTo>
                      <a:pt x="8103" y="8396"/>
                      <a:pt x="9883" y="7543"/>
                      <a:pt x="11726" y="7543"/>
                    </a:cubicBezTo>
                    <a:cubicBezTo>
                      <a:pt x="11835" y="7543"/>
                      <a:pt x="11944" y="7546"/>
                      <a:pt x="12053" y="7552"/>
                    </a:cubicBezTo>
                    <a:cubicBezTo>
                      <a:pt x="12334" y="7595"/>
                      <a:pt x="12616" y="7613"/>
                      <a:pt x="12897" y="7613"/>
                    </a:cubicBezTo>
                    <a:cubicBezTo>
                      <a:pt x="13097" y="7613"/>
                      <a:pt x="13296" y="7604"/>
                      <a:pt x="13495" y="7589"/>
                    </a:cubicBezTo>
                    <a:cubicBezTo>
                      <a:pt x="14715" y="7330"/>
                      <a:pt x="15380" y="5962"/>
                      <a:pt x="15602" y="4705"/>
                    </a:cubicBezTo>
                    <a:cubicBezTo>
                      <a:pt x="15861" y="3264"/>
                      <a:pt x="15824" y="1785"/>
                      <a:pt x="15417" y="343"/>
                    </a:cubicBezTo>
                    <a:cubicBezTo>
                      <a:pt x="14934" y="428"/>
                      <a:pt x="14451" y="470"/>
                      <a:pt x="13968" y="470"/>
                    </a:cubicBezTo>
                    <a:cubicBezTo>
                      <a:pt x="13194" y="470"/>
                      <a:pt x="12420" y="363"/>
                      <a:pt x="11646" y="158"/>
                    </a:cubicBezTo>
                    <a:cubicBezTo>
                      <a:pt x="11312" y="67"/>
                      <a:pt x="10977" y="0"/>
                      <a:pt x="1064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1147;p53">
                <a:extLst>
                  <a:ext uri="{FF2B5EF4-FFF2-40B4-BE49-F238E27FC236}">
                    <a16:creationId xmlns:a16="http://schemas.microsoft.com/office/drawing/2014/main" id="{71C8ED73-A5B7-4D67-A1B6-C2418202A8F2}"/>
                  </a:ext>
                </a:extLst>
              </p:cNvPr>
              <p:cNvSpPr/>
              <p:nvPr/>
            </p:nvSpPr>
            <p:spPr>
              <a:xfrm>
                <a:off x="7189416" y="3280362"/>
                <a:ext cx="563936" cy="699737"/>
              </a:xfrm>
              <a:custGeom>
                <a:avLst/>
                <a:gdLst/>
                <a:ahLst/>
                <a:cxnLst/>
                <a:rect l="l" t="t" r="r" b="b"/>
                <a:pathLst>
                  <a:path w="30871" h="38305" extrusionOk="0">
                    <a:moveTo>
                      <a:pt x="9224" y="0"/>
                    </a:moveTo>
                    <a:cubicBezTo>
                      <a:pt x="9144" y="0"/>
                      <a:pt x="9064" y="1"/>
                      <a:pt x="8984" y="3"/>
                    </a:cubicBezTo>
                    <a:cubicBezTo>
                      <a:pt x="1664" y="77"/>
                      <a:pt x="0" y="8950"/>
                      <a:pt x="481" y="14643"/>
                    </a:cubicBezTo>
                    <a:cubicBezTo>
                      <a:pt x="703" y="17416"/>
                      <a:pt x="1368" y="20189"/>
                      <a:pt x="1627" y="22962"/>
                    </a:cubicBezTo>
                    <a:cubicBezTo>
                      <a:pt x="1886" y="25771"/>
                      <a:pt x="1923" y="31428"/>
                      <a:pt x="2366" y="34164"/>
                    </a:cubicBezTo>
                    <a:cubicBezTo>
                      <a:pt x="2847" y="36937"/>
                      <a:pt x="10537" y="38046"/>
                      <a:pt x="13088" y="38304"/>
                    </a:cubicBezTo>
                    <a:cubicBezTo>
                      <a:pt x="14530" y="30319"/>
                      <a:pt x="13421" y="20374"/>
                      <a:pt x="13679" y="12425"/>
                    </a:cubicBezTo>
                    <a:lnTo>
                      <a:pt x="13679" y="12425"/>
                    </a:lnTo>
                    <a:cubicBezTo>
                      <a:pt x="17559" y="12523"/>
                      <a:pt x="21928" y="16071"/>
                      <a:pt x="26076" y="16071"/>
                    </a:cubicBezTo>
                    <a:cubicBezTo>
                      <a:pt x="26631" y="16071"/>
                      <a:pt x="27182" y="16007"/>
                      <a:pt x="27728" y="15863"/>
                    </a:cubicBezTo>
                    <a:cubicBezTo>
                      <a:pt x="30871" y="15013"/>
                      <a:pt x="30723" y="8173"/>
                      <a:pt x="29688" y="5918"/>
                    </a:cubicBezTo>
                    <a:lnTo>
                      <a:pt x="29688" y="5918"/>
                    </a:lnTo>
                    <a:cubicBezTo>
                      <a:pt x="29688" y="5918"/>
                      <a:pt x="29687" y="5918"/>
                      <a:pt x="29687" y="5918"/>
                    </a:cubicBezTo>
                    <a:cubicBezTo>
                      <a:pt x="29605" y="5918"/>
                      <a:pt x="22788" y="2919"/>
                      <a:pt x="18966" y="2110"/>
                    </a:cubicBezTo>
                    <a:cubicBezTo>
                      <a:pt x="15900" y="1425"/>
                      <a:pt x="12446" y="0"/>
                      <a:pt x="922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1148;p53">
                <a:extLst>
                  <a:ext uri="{FF2B5EF4-FFF2-40B4-BE49-F238E27FC236}">
                    <a16:creationId xmlns:a16="http://schemas.microsoft.com/office/drawing/2014/main" id="{CC206E36-757D-468C-839A-F1EA9B136E15}"/>
                  </a:ext>
                </a:extLst>
              </p:cNvPr>
              <p:cNvSpPr/>
              <p:nvPr/>
            </p:nvSpPr>
            <p:spPr>
              <a:xfrm>
                <a:off x="6690330" y="4283321"/>
                <a:ext cx="314731" cy="276132"/>
              </a:xfrm>
              <a:custGeom>
                <a:avLst/>
                <a:gdLst/>
                <a:ahLst/>
                <a:cxnLst/>
                <a:rect l="l" t="t" r="r" b="b"/>
                <a:pathLst>
                  <a:path w="17229" h="15116" extrusionOk="0">
                    <a:moveTo>
                      <a:pt x="15084" y="0"/>
                    </a:moveTo>
                    <a:cubicBezTo>
                      <a:pt x="13753" y="740"/>
                      <a:pt x="12237" y="1183"/>
                      <a:pt x="10722" y="1294"/>
                    </a:cubicBezTo>
                    <a:cubicBezTo>
                      <a:pt x="10241" y="1294"/>
                      <a:pt x="9723" y="1405"/>
                      <a:pt x="9280" y="1590"/>
                    </a:cubicBezTo>
                    <a:cubicBezTo>
                      <a:pt x="8577" y="1960"/>
                      <a:pt x="8208" y="2736"/>
                      <a:pt x="7838" y="3439"/>
                    </a:cubicBezTo>
                    <a:cubicBezTo>
                      <a:pt x="6100" y="6507"/>
                      <a:pt x="3106" y="8651"/>
                      <a:pt x="850" y="11350"/>
                    </a:cubicBezTo>
                    <a:cubicBezTo>
                      <a:pt x="629" y="11609"/>
                      <a:pt x="444" y="11905"/>
                      <a:pt x="296" y="12238"/>
                    </a:cubicBezTo>
                    <a:cubicBezTo>
                      <a:pt x="0" y="13162"/>
                      <a:pt x="739" y="14160"/>
                      <a:pt x="1553" y="14641"/>
                    </a:cubicBezTo>
                    <a:cubicBezTo>
                      <a:pt x="2184" y="14973"/>
                      <a:pt x="2854" y="15116"/>
                      <a:pt x="3535" y="15116"/>
                    </a:cubicBezTo>
                    <a:cubicBezTo>
                      <a:pt x="5131" y="15116"/>
                      <a:pt x="6787" y="14331"/>
                      <a:pt x="8134" y="13347"/>
                    </a:cubicBezTo>
                    <a:cubicBezTo>
                      <a:pt x="10056" y="11979"/>
                      <a:pt x="11831" y="10167"/>
                      <a:pt x="14086" y="9539"/>
                    </a:cubicBezTo>
                    <a:cubicBezTo>
                      <a:pt x="14640" y="9428"/>
                      <a:pt x="15195" y="9243"/>
                      <a:pt x="15750" y="8984"/>
                    </a:cubicBezTo>
                    <a:cubicBezTo>
                      <a:pt x="17007" y="8245"/>
                      <a:pt x="17228" y="6396"/>
                      <a:pt x="17007" y="4917"/>
                    </a:cubicBezTo>
                    <a:cubicBezTo>
                      <a:pt x="16711" y="3143"/>
                      <a:pt x="16082" y="1516"/>
                      <a:pt x="15084" y="37"/>
                    </a:cubicBezTo>
                    <a:lnTo>
                      <a:pt x="1508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1149;p53">
                <a:extLst>
                  <a:ext uri="{FF2B5EF4-FFF2-40B4-BE49-F238E27FC236}">
                    <a16:creationId xmlns:a16="http://schemas.microsoft.com/office/drawing/2014/main" id="{BDBA7D82-5A7B-445F-875E-7841A512C812}"/>
                  </a:ext>
                </a:extLst>
              </p:cNvPr>
              <p:cNvSpPr/>
              <p:nvPr/>
            </p:nvSpPr>
            <p:spPr>
              <a:xfrm>
                <a:off x="6822696" y="3428804"/>
                <a:ext cx="1142723" cy="941653"/>
              </a:xfrm>
              <a:custGeom>
                <a:avLst/>
                <a:gdLst/>
                <a:ahLst/>
                <a:cxnLst/>
                <a:rect l="l" t="t" r="r" b="b"/>
                <a:pathLst>
                  <a:path w="62555" h="51548" extrusionOk="0">
                    <a:moveTo>
                      <a:pt x="52155" y="1"/>
                    </a:moveTo>
                    <a:cubicBezTo>
                      <a:pt x="47722" y="1"/>
                      <a:pt x="23759" y="1452"/>
                      <a:pt x="20334" y="2229"/>
                    </a:cubicBezTo>
                    <a:cubicBezTo>
                      <a:pt x="16193" y="3153"/>
                      <a:pt x="13716" y="8883"/>
                      <a:pt x="11942" y="12617"/>
                    </a:cubicBezTo>
                    <a:cubicBezTo>
                      <a:pt x="7986" y="20825"/>
                      <a:pt x="7653" y="24929"/>
                      <a:pt x="4252" y="35465"/>
                    </a:cubicBezTo>
                    <a:cubicBezTo>
                      <a:pt x="3180" y="38793"/>
                      <a:pt x="0" y="47850"/>
                      <a:pt x="111" y="48997"/>
                    </a:cubicBezTo>
                    <a:cubicBezTo>
                      <a:pt x="185" y="50549"/>
                      <a:pt x="9871" y="50734"/>
                      <a:pt x="11276" y="51548"/>
                    </a:cubicBezTo>
                    <a:cubicBezTo>
                      <a:pt x="13532" y="49366"/>
                      <a:pt x="22404" y="23191"/>
                      <a:pt x="24031" y="20381"/>
                    </a:cubicBezTo>
                    <a:cubicBezTo>
                      <a:pt x="24695" y="19211"/>
                      <a:pt x="26219" y="18866"/>
                      <a:pt x="27965" y="18866"/>
                    </a:cubicBezTo>
                    <a:cubicBezTo>
                      <a:pt x="30300" y="18866"/>
                      <a:pt x="33034" y="19483"/>
                      <a:pt x="34642" y="19568"/>
                    </a:cubicBezTo>
                    <a:cubicBezTo>
                      <a:pt x="40519" y="19889"/>
                      <a:pt x="46173" y="21940"/>
                      <a:pt x="52112" y="21940"/>
                    </a:cubicBezTo>
                    <a:cubicBezTo>
                      <a:pt x="53010" y="21940"/>
                      <a:pt x="53915" y="21893"/>
                      <a:pt x="54828" y="21786"/>
                    </a:cubicBezTo>
                    <a:cubicBezTo>
                      <a:pt x="62555" y="20862"/>
                      <a:pt x="60965" y="9992"/>
                      <a:pt x="58562" y="4964"/>
                    </a:cubicBezTo>
                    <a:lnTo>
                      <a:pt x="52646" y="10"/>
                    </a:lnTo>
                    <a:cubicBezTo>
                      <a:pt x="52529" y="4"/>
                      <a:pt x="52363" y="1"/>
                      <a:pt x="5215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1150;p53">
                <a:extLst>
                  <a:ext uri="{FF2B5EF4-FFF2-40B4-BE49-F238E27FC236}">
                    <a16:creationId xmlns:a16="http://schemas.microsoft.com/office/drawing/2014/main" id="{FC833AAE-C1A9-43F2-96AA-E04D120ED9CE}"/>
                  </a:ext>
                </a:extLst>
              </p:cNvPr>
              <p:cNvSpPr/>
              <p:nvPr/>
            </p:nvSpPr>
            <p:spPr>
              <a:xfrm>
                <a:off x="6942915" y="3448569"/>
                <a:ext cx="1021829" cy="922564"/>
              </a:xfrm>
              <a:custGeom>
                <a:avLst/>
                <a:gdLst/>
                <a:ahLst/>
                <a:cxnLst/>
                <a:rect l="l" t="t" r="r" b="b"/>
                <a:pathLst>
                  <a:path w="55937" h="50503" extrusionOk="0">
                    <a:moveTo>
                      <a:pt x="35122" y="1"/>
                    </a:moveTo>
                    <a:cubicBezTo>
                      <a:pt x="35936" y="1110"/>
                      <a:pt x="33865" y="3698"/>
                      <a:pt x="34568" y="4881"/>
                    </a:cubicBezTo>
                    <a:cubicBezTo>
                      <a:pt x="35307" y="6175"/>
                      <a:pt x="36194" y="7949"/>
                      <a:pt x="35640" y="9502"/>
                    </a:cubicBezTo>
                    <a:cubicBezTo>
                      <a:pt x="34974" y="11277"/>
                      <a:pt x="32978" y="12164"/>
                      <a:pt x="31203" y="12386"/>
                    </a:cubicBezTo>
                    <a:cubicBezTo>
                      <a:pt x="30912" y="12424"/>
                      <a:pt x="30618" y="12441"/>
                      <a:pt x="30324" y="12441"/>
                    </a:cubicBezTo>
                    <a:cubicBezTo>
                      <a:pt x="28606" y="12441"/>
                      <a:pt x="26861" y="11850"/>
                      <a:pt x="25251" y="11314"/>
                    </a:cubicBezTo>
                    <a:cubicBezTo>
                      <a:pt x="23385" y="10657"/>
                      <a:pt x="21357" y="9710"/>
                      <a:pt x="19319" y="9710"/>
                    </a:cubicBezTo>
                    <a:cubicBezTo>
                      <a:pt x="19177" y="9710"/>
                      <a:pt x="19034" y="9714"/>
                      <a:pt x="18892" y="9724"/>
                    </a:cubicBezTo>
                    <a:cubicBezTo>
                      <a:pt x="16045" y="9909"/>
                      <a:pt x="14456" y="12386"/>
                      <a:pt x="13827" y="14974"/>
                    </a:cubicBezTo>
                    <a:cubicBezTo>
                      <a:pt x="13162" y="17931"/>
                      <a:pt x="13014" y="20963"/>
                      <a:pt x="12274" y="23884"/>
                    </a:cubicBezTo>
                    <a:cubicBezTo>
                      <a:pt x="11424" y="27174"/>
                      <a:pt x="10278" y="30353"/>
                      <a:pt x="8873" y="33422"/>
                    </a:cubicBezTo>
                    <a:cubicBezTo>
                      <a:pt x="7431" y="36491"/>
                      <a:pt x="5915" y="39522"/>
                      <a:pt x="4363" y="42480"/>
                    </a:cubicBezTo>
                    <a:cubicBezTo>
                      <a:pt x="3106" y="44957"/>
                      <a:pt x="1664" y="47323"/>
                      <a:pt x="0" y="49504"/>
                    </a:cubicBezTo>
                    <a:cubicBezTo>
                      <a:pt x="2107" y="49837"/>
                      <a:pt x="4067" y="50133"/>
                      <a:pt x="4658" y="50503"/>
                    </a:cubicBezTo>
                    <a:cubicBezTo>
                      <a:pt x="6914" y="48284"/>
                      <a:pt x="15787" y="22109"/>
                      <a:pt x="17413" y="19299"/>
                    </a:cubicBezTo>
                    <a:cubicBezTo>
                      <a:pt x="18080" y="18140"/>
                      <a:pt x="19612" y="17799"/>
                      <a:pt x="21369" y="17799"/>
                    </a:cubicBezTo>
                    <a:cubicBezTo>
                      <a:pt x="23705" y="17799"/>
                      <a:pt x="26436" y="18402"/>
                      <a:pt x="28061" y="18486"/>
                    </a:cubicBezTo>
                    <a:cubicBezTo>
                      <a:pt x="33914" y="18806"/>
                      <a:pt x="39518" y="20869"/>
                      <a:pt x="45448" y="20869"/>
                    </a:cubicBezTo>
                    <a:cubicBezTo>
                      <a:pt x="46372" y="20869"/>
                      <a:pt x="47304" y="20819"/>
                      <a:pt x="48247" y="20704"/>
                    </a:cubicBezTo>
                    <a:cubicBezTo>
                      <a:pt x="55937" y="19780"/>
                      <a:pt x="54347" y="8910"/>
                      <a:pt x="51944" y="3919"/>
                    </a:cubicBezTo>
                    <a:cubicBezTo>
                      <a:pt x="52018" y="3661"/>
                      <a:pt x="52203" y="3735"/>
                      <a:pt x="52350" y="3513"/>
                    </a:cubicBezTo>
                    <a:lnTo>
                      <a:pt x="51685" y="3513"/>
                    </a:lnTo>
                    <a:cubicBezTo>
                      <a:pt x="49652" y="3217"/>
                      <a:pt x="47840" y="2404"/>
                      <a:pt x="45696" y="2293"/>
                    </a:cubicBezTo>
                    <a:cubicBezTo>
                      <a:pt x="43958" y="2219"/>
                      <a:pt x="40483" y="185"/>
                      <a:pt x="3512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1151;p53">
                <a:extLst>
                  <a:ext uri="{FF2B5EF4-FFF2-40B4-BE49-F238E27FC236}">
                    <a16:creationId xmlns:a16="http://schemas.microsoft.com/office/drawing/2014/main" id="{1AB54602-6AEC-4696-9BEF-FEDC85C921BA}"/>
                  </a:ext>
                </a:extLst>
              </p:cNvPr>
              <p:cNvSpPr/>
              <p:nvPr/>
            </p:nvSpPr>
            <p:spPr>
              <a:xfrm>
                <a:off x="7229934" y="3722089"/>
                <a:ext cx="35147" cy="41887"/>
              </a:xfrm>
              <a:custGeom>
                <a:avLst/>
                <a:gdLst/>
                <a:ahLst/>
                <a:cxnLst/>
                <a:rect l="l" t="t" r="r" b="b"/>
                <a:pathLst>
                  <a:path w="1924" h="2293" fill="none" extrusionOk="0">
                    <a:moveTo>
                      <a:pt x="1" y="1"/>
                    </a:moveTo>
                    <a:lnTo>
                      <a:pt x="1923" y="2293"/>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1152;p53">
                <a:extLst>
                  <a:ext uri="{FF2B5EF4-FFF2-40B4-BE49-F238E27FC236}">
                    <a16:creationId xmlns:a16="http://schemas.microsoft.com/office/drawing/2014/main" id="{1F1CAA1A-2EC5-4A63-BF86-42122FDC63B2}"/>
                  </a:ext>
                </a:extLst>
              </p:cNvPr>
              <p:cNvSpPr/>
              <p:nvPr/>
            </p:nvSpPr>
            <p:spPr>
              <a:xfrm>
                <a:off x="7256951" y="3702506"/>
                <a:ext cx="8787" cy="40536"/>
              </a:xfrm>
              <a:custGeom>
                <a:avLst/>
                <a:gdLst/>
                <a:ahLst/>
                <a:cxnLst/>
                <a:rect l="l" t="t" r="r" b="b"/>
                <a:pathLst>
                  <a:path w="481" h="2219" fill="none" extrusionOk="0">
                    <a:moveTo>
                      <a:pt x="0" y="1"/>
                    </a:moveTo>
                    <a:lnTo>
                      <a:pt x="481" y="2219"/>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1153;p53">
                <a:extLst>
                  <a:ext uri="{FF2B5EF4-FFF2-40B4-BE49-F238E27FC236}">
                    <a16:creationId xmlns:a16="http://schemas.microsoft.com/office/drawing/2014/main" id="{6A5ED226-A343-4B05-AEFB-BA14C529D82F}"/>
                  </a:ext>
                </a:extLst>
              </p:cNvPr>
              <p:cNvSpPr/>
              <p:nvPr/>
            </p:nvSpPr>
            <p:spPr>
              <a:xfrm>
                <a:off x="7276534" y="3713996"/>
                <a:ext cx="2046" cy="41211"/>
              </a:xfrm>
              <a:custGeom>
                <a:avLst/>
                <a:gdLst/>
                <a:ahLst/>
                <a:cxnLst/>
                <a:rect l="l" t="t" r="r" b="b"/>
                <a:pathLst>
                  <a:path w="112" h="2256" fill="none" extrusionOk="0">
                    <a:moveTo>
                      <a:pt x="111" y="0"/>
                    </a:moveTo>
                    <a:lnTo>
                      <a:pt x="1" y="2255"/>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1154;p53">
                <a:extLst>
                  <a:ext uri="{FF2B5EF4-FFF2-40B4-BE49-F238E27FC236}">
                    <a16:creationId xmlns:a16="http://schemas.microsoft.com/office/drawing/2014/main" id="{72285BB0-44B5-4A39-98DC-613DC8965B24}"/>
                  </a:ext>
                </a:extLst>
              </p:cNvPr>
              <p:cNvSpPr/>
              <p:nvPr/>
            </p:nvSpPr>
            <p:spPr>
              <a:xfrm>
                <a:off x="7054346" y="3658609"/>
                <a:ext cx="60794" cy="25684"/>
              </a:xfrm>
              <a:custGeom>
                <a:avLst/>
                <a:gdLst/>
                <a:ahLst/>
                <a:cxnLst/>
                <a:rect l="l" t="t" r="r" b="b"/>
                <a:pathLst>
                  <a:path w="3328" h="1406" fill="none" extrusionOk="0">
                    <a:moveTo>
                      <a:pt x="0" y="0"/>
                    </a:moveTo>
                    <a:cubicBezTo>
                      <a:pt x="1109" y="1110"/>
                      <a:pt x="1849" y="1405"/>
                      <a:pt x="3328" y="0"/>
                    </a:cubicBez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1155;p53">
                <a:extLst>
                  <a:ext uri="{FF2B5EF4-FFF2-40B4-BE49-F238E27FC236}">
                    <a16:creationId xmlns:a16="http://schemas.microsoft.com/office/drawing/2014/main" id="{AC4708E7-69E0-443E-A71F-7214222CE12A}"/>
                  </a:ext>
                </a:extLst>
              </p:cNvPr>
              <p:cNvSpPr/>
              <p:nvPr/>
            </p:nvSpPr>
            <p:spPr>
              <a:xfrm>
                <a:off x="7116474" y="2749892"/>
                <a:ext cx="768587" cy="519217"/>
              </a:xfrm>
              <a:custGeom>
                <a:avLst/>
                <a:gdLst/>
                <a:ahLst/>
                <a:cxnLst/>
                <a:rect l="l" t="t" r="r" b="b"/>
                <a:pathLst>
                  <a:path w="42074" h="28423" extrusionOk="0">
                    <a:moveTo>
                      <a:pt x="35971" y="0"/>
                    </a:moveTo>
                    <a:cubicBezTo>
                      <a:pt x="29046" y="0"/>
                      <a:pt x="24533" y="6243"/>
                      <a:pt x="21517" y="10556"/>
                    </a:cubicBezTo>
                    <a:cubicBezTo>
                      <a:pt x="19817" y="12997"/>
                      <a:pt x="17525" y="14623"/>
                      <a:pt x="14604" y="15991"/>
                    </a:cubicBezTo>
                    <a:cubicBezTo>
                      <a:pt x="13345" y="16608"/>
                      <a:pt x="12496" y="16885"/>
                      <a:pt x="11376" y="16885"/>
                    </a:cubicBezTo>
                    <a:cubicBezTo>
                      <a:pt x="10884" y="16885"/>
                      <a:pt x="10340" y="16832"/>
                      <a:pt x="9687" y="16731"/>
                    </a:cubicBezTo>
                    <a:cubicBezTo>
                      <a:pt x="7986" y="16435"/>
                      <a:pt x="6286" y="15178"/>
                      <a:pt x="4622" y="15067"/>
                    </a:cubicBezTo>
                    <a:cubicBezTo>
                      <a:pt x="4459" y="15056"/>
                      <a:pt x="4297" y="15052"/>
                      <a:pt x="4135" y="15052"/>
                    </a:cubicBezTo>
                    <a:cubicBezTo>
                      <a:pt x="3742" y="15052"/>
                      <a:pt x="3350" y="15078"/>
                      <a:pt x="2958" y="15104"/>
                    </a:cubicBezTo>
                    <a:cubicBezTo>
                      <a:pt x="1812" y="16657"/>
                      <a:pt x="1110" y="18468"/>
                      <a:pt x="1" y="20021"/>
                    </a:cubicBezTo>
                    <a:cubicBezTo>
                      <a:pt x="1184" y="21315"/>
                      <a:pt x="10278" y="27674"/>
                      <a:pt x="18079" y="28339"/>
                    </a:cubicBezTo>
                    <a:cubicBezTo>
                      <a:pt x="18749" y="28395"/>
                      <a:pt x="19418" y="28423"/>
                      <a:pt x="20086" y="28423"/>
                    </a:cubicBezTo>
                    <a:cubicBezTo>
                      <a:pt x="23402" y="28423"/>
                      <a:pt x="26679" y="27740"/>
                      <a:pt x="29725" y="26417"/>
                    </a:cubicBezTo>
                    <a:cubicBezTo>
                      <a:pt x="33607" y="24679"/>
                      <a:pt x="36269" y="21574"/>
                      <a:pt x="38709" y="18505"/>
                    </a:cubicBezTo>
                    <a:cubicBezTo>
                      <a:pt x="41297" y="15215"/>
                      <a:pt x="42073" y="11259"/>
                      <a:pt x="41703" y="7303"/>
                    </a:cubicBezTo>
                    <a:cubicBezTo>
                      <a:pt x="41555" y="5602"/>
                      <a:pt x="40853" y="4013"/>
                      <a:pt x="39707" y="2719"/>
                    </a:cubicBezTo>
                    <a:cubicBezTo>
                      <a:pt x="39337" y="2275"/>
                      <a:pt x="38820" y="1905"/>
                      <a:pt x="38376" y="1425"/>
                    </a:cubicBezTo>
                    <a:cubicBezTo>
                      <a:pt x="37378" y="279"/>
                      <a:pt x="37156" y="353"/>
                      <a:pt x="37378" y="279"/>
                    </a:cubicBezTo>
                    <a:lnTo>
                      <a:pt x="37119" y="57"/>
                    </a:lnTo>
                    <a:cubicBezTo>
                      <a:pt x="36729" y="19"/>
                      <a:pt x="36346" y="0"/>
                      <a:pt x="3597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1156;p53">
                <a:extLst>
                  <a:ext uri="{FF2B5EF4-FFF2-40B4-BE49-F238E27FC236}">
                    <a16:creationId xmlns:a16="http://schemas.microsoft.com/office/drawing/2014/main" id="{B5C603C6-90E8-49F1-8A35-6C5B6BBBF254}"/>
                  </a:ext>
                </a:extLst>
              </p:cNvPr>
              <p:cNvSpPr/>
              <p:nvPr/>
            </p:nvSpPr>
            <p:spPr>
              <a:xfrm>
                <a:off x="7602061" y="2705667"/>
                <a:ext cx="666599" cy="974078"/>
              </a:xfrm>
              <a:custGeom>
                <a:avLst/>
                <a:gdLst/>
                <a:ahLst/>
                <a:cxnLst/>
                <a:rect l="l" t="t" r="r" b="b"/>
                <a:pathLst>
                  <a:path w="36491" h="53323" extrusionOk="0">
                    <a:moveTo>
                      <a:pt x="22089" y="80"/>
                    </a:moveTo>
                    <a:cubicBezTo>
                      <a:pt x="21367" y="80"/>
                      <a:pt x="20653" y="112"/>
                      <a:pt x="20001" y="112"/>
                    </a:cubicBezTo>
                    <a:cubicBezTo>
                      <a:pt x="20001" y="149"/>
                      <a:pt x="12829" y="1"/>
                      <a:pt x="10537" y="703"/>
                    </a:cubicBezTo>
                    <a:cubicBezTo>
                      <a:pt x="8023" y="1517"/>
                      <a:pt x="4807" y="2071"/>
                      <a:pt x="3291" y="4992"/>
                    </a:cubicBezTo>
                    <a:cubicBezTo>
                      <a:pt x="1849" y="7765"/>
                      <a:pt x="2477" y="12238"/>
                      <a:pt x="2219" y="15418"/>
                    </a:cubicBezTo>
                    <a:cubicBezTo>
                      <a:pt x="1886" y="18782"/>
                      <a:pt x="518" y="22220"/>
                      <a:pt x="518" y="25584"/>
                    </a:cubicBezTo>
                    <a:cubicBezTo>
                      <a:pt x="518" y="28875"/>
                      <a:pt x="1627" y="32165"/>
                      <a:pt x="1738" y="35567"/>
                    </a:cubicBezTo>
                    <a:cubicBezTo>
                      <a:pt x="1886" y="39264"/>
                      <a:pt x="407" y="41852"/>
                      <a:pt x="259" y="45327"/>
                    </a:cubicBezTo>
                    <a:cubicBezTo>
                      <a:pt x="0" y="49948"/>
                      <a:pt x="555" y="51797"/>
                      <a:pt x="4659" y="52795"/>
                    </a:cubicBezTo>
                    <a:cubicBezTo>
                      <a:pt x="6448" y="53216"/>
                      <a:pt x="8379" y="53304"/>
                      <a:pt x="10324" y="53304"/>
                    </a:cubicBezTo>
                    <a:cubicBezTo>
                      <a:pt x="11724" y="53304"/>
                      <a:pt x="13132" y="53258"/>
                      <a:pt x="14501" y="53258"/>
                    </a:cubicBezTo>
                    <a:cubicBezTo>
                      <a:pt x="15239" y="53258"/>
                      <a:pt x="15966" y="53272"/>
                      <a:pt x="16674" y="53313"/>
                    </a:cubicBezTo>
                    <a:cubicBezTo>
                      <a:pt x="16884" y="53319"/>
                      <a:pt x="17093" y="53322"/>
                      <a:pt x="17302" y="53322"/>
                    </a:cubicBezTo>
                    <a:cubicBezTo>
                      <a:pt x="20706" y="53322"/>
                      <a:pt x="24030" y="52473"/>
                      <a:pt x="27026" y="50835"/>
                    </a:cubicBezTo>
                    <a:cubicBezTo>
                      <a:pt x="33902" y="46769"/>
                      <a:pt x="36490" y="34938"/>
                      <a:pt x="35936" y="26620"/>
                    </a:cubicBezTo>
                    <a:cubicBezTo>
                      <a:pt x="35455" y="19299"/>
                      <a:pt x="33163" y="11092"/>
                      <a:pt x="29207" y="5251"/>
                    </a:cubicBezTo>
                    <a:cubicBezTo>
                      <a:pt x="28172" y="3661"/>
                      <a:pt x="27174" y="1406"/>
                      <a:pt x="25510" y="629"/>
                    </a:cubicBezTo>
                    <a:cubicBezTo>
                      <a:pt x="24517" y="167"/>
                      <a:pt x="23292" y="80"/>
                      <a:pt x="22089" y="8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1157;p53">
                <a:extLst>
                  <a:ext uri="{FF2B5EF4-FFF2-40B4-BE49-F238E27FC236}">
                    <a16:creationId xmlns:a16="http://schemas.microsoft.com/office/drawing/2014/main" id="{DA0E851C-3957-475D-B0EB-6B88C3C92EC3}"/>
                  </a:ext>
                </a:extLst>
              </p:cNvPr>
              <p:cNvSpPr/>
              <p:nvPr/>
            </p:nvSpPr>
            <p:spPr>
              <a:xfrm>
                <a:off x="7117150" y="2707420"/>
                <a:ext cx="1152186" cy="972982"/>
              </a:xfrm>
              <a:custGeom>
                <a:avLst/>
                <a:gdLst/>
                <a:ahLst/>
                <a:cxnLst/>
                <a:rect l="l" t="t" r="r" b="b"/>
                <a:pathLst>
                  <a:path w="63073" h="53263" extrusionOk="0">
                    <a:moveTo>
                      <a:pt x="48703" y="1"/>
                    </a:moveTo>
                    <a:cubicBezTo>
                      <a:pt x="48108" y="1"/>
                      <a:pt x="47514" y="20"/>
                      <a:pt x="46951" y="20"/>
                    </a:cubicBezTo>
                    <a:cubicBezTo>
                      <a:pt x="46814" y="20"/>
                      <a:pt x="46679" y="18"/>
                      <a:pt x="46546" y="16"/>
                    </a:cubicBezTo>
                    <a:cubicBezTo>
                      <a:pt x="46546" y="16"/>
                      <a:pt x="46038" y="6"/>
                      <a:pt x="45248" y="6"/>
                    </a:cubicBezTo>
                    <a:cubicBezTo>
                      <a:pt x="44458" y="6"/>
                      <a:pt x="43386" y="16"/>
                      <a:pt x="42258" y="53"/>
                    </a:cubicBezTo>
                    <a:cubicBezTo>
                      <a:pt x="40520" y="348"/>
                      <a:pt x="38820" y="940"/>
                      <a:pt x="37267" y="1790"/>
                    </a:cubicBezTo>
                    <a:cubicBezTo>
                      <a:pt x="34753" y="3232"/>
                      <a:pt x="32756" y="5672"/>
                      <a:pt x="30982" y="7890"/>
                    </a:cubicBezTo>
                    <a:cubicBezTo>
                      <a:pt x="29022" y="10367"/>
                      <a:pt x="27211" y="12955"/>
                      <a:pt x="25288" y="15432"/>
                    </a:cubicBezTo>
                    <a:cubicBezTo>
                      <a:pt x="24475" y="16652"/>
                      <a:pt x="23477" y="17725"/>
                      <a:pt x="22368" y="18686"/>
                    </a:cubicBezTo>
                    <a:cubicBezTo>
                      <a:pt x="21443" y="19351"/>
                      <a:pt x="20408" y="19943"/>
                      <a:pt x="19336" y="20387"/>
                    </a:cubicBezTo>
                    <a:cubicBezTo>
                      <a:pt x="17968" y="21052"/>
                      <a:pt x="16748" y="21680"/>
                      <a:pt x="15824" y="22864"/>
                    </a:cubicBezTo>
                    <a:cubicBezTo>
                      <a:pt x="15417" y="23418"/>
                      <a:pt x="14900" y="24121"/>
                      <a:pt x="14197" y="24268"/>
                    </a:cubicBezTo>
                    <a:cubicBezTo>
                      <a:pt x="14026" y="24304"/>
                      <a:pt x="13867" y="24321"/>
                      <a:pt x="13719" y="24321"/>
                    </a:cubicBezTo>
                    <a:cubicBezTo>
                      <a:pt x="11715" y="24321"/>
                      <a:pt x="11607" y="21283"/>
                      <a:pt x="9576" y="20904"/>
                    </a:cubicBezTo>
                    <a:cubicBezTo>
                      <a:pt x="6988" y="20497"/>
                      <a:pt x="4474" y="19758"/>
                      <a:pt x="2071" y="18760"/>
                    </a:cubicBezTo>
                    <a:cubicBezTo>
                      <a:pt x="1368" y="19943"/>
                      <a:pt x="777" y="21200"/>
                      <a:pt x="0" y="22309"/>
                    </a:cubicBezTo>
                    <a:cubicBezTo>
                      <a:pt x="1147" y="23603"/>
                      <a:pt x="10241" y="29962"/>
                      <a:pt x="18042" y="30627"/>
                    </a:cubicBezTo>
                    <a:cubicBezTo>
                      <a:pt x="18704" y="30681"/>
                      <a:pt x="19367" y="30707"/>
                      <a:pt x="20027" y="30707"/>
                    </a:cubicBezTo>
                    <a:cubicBezTo>
                      <a:pt x="22575" y="30707"/>
                      <a:pt x="25099" y="30311"/>
                      <a:pt x="27507" y="29518"/>
                    </a:cubicBezTo>
                    <a:cubicBezTo>
                      <a:pt x="27876" y="31478"/>
                      <a:pt x="28135" y="33474"/>
                      <a:pt x="28283" y="35471"/>
                    </a:cubicBezTo>
                    <a:cubicBezTo>
                      <a:pt x="28431" y="39168"/>
                      <a:pt x="26952" y="41756"/>
                      <a:pt x="26804" y="45231"/>
                    </a:cubicBezTo>
                    <a:cubicBezTo>
                      <a:pt x="26545" y="49852"/>
                      <a:pt x="27100" y="51701"/>
                      <a:pt x="31204" y="52699"/>
                    </a:cubicBezTo>
                    <a:cubicBezTo>
                      <a:pt x="33011" y="53138"/>
                      <a:pt x="34943" y="53226"/>
                      <a:pt x="36885" y="53226"/>
                    </a:cubicBezTo>
                    <a:cubicBezTo>
                      <a:pt x="38210" y="53226"/>
                      <a:pt x="39539" y="53185"/>
                      <a:pt x="40836" y="53185"/>
                    </a:cubicBezTo>
                    <a:cubicBezTo>
                      <a:pt x="41646" y="53185"/>
                      <a:pt x="42443" y="53201"/>
                      <a:pt x="43219" y="53253"/>
                    </a:cubicBezTo>
                    <a:cubicBezTo>
                      <a:pt x="43421" y="53260"/>
                      <a:pt x="43624" y="53263"/>
                      <a:pt x="43826" y="53263"/>
                    </a:cubicBezTo>
                    <a:cubicBezTo>
                      <a:pt x="47241" y="53263"/>
                      <a:pt x="50604" y="52382"/>
                      <a:pt x="53571" y="50776"/>
                    </a:cubicBezTo>
                    <a:cubicBezTo>
                      <a:pt x="60484" y="46710"/>
                      <a:pt x="63072" y="34879"/>
                      <a:pt x="62518" y="26561"/>
                    </a:cubicBezTo>
                    <a:cubicBezTo>
                      <a:pt x="62000" y="19203"/>
                      <a:pt x="59745" y="11033"/>
                      <a:pt x="55789" y="5155"/>
                    </a:cubicBezTo>
                    <a:cubicBezTo>
                      <a:pt x="54717" y="3565"/>
                      <a:pt x="53719" y="1310"/>
                      <a:pt x="52055" y="533"/>
                    </a:cubicBezTo>
                    <a:cubicBezTo>
                      <a:pt x="51096" y="77"/>
                      <a:pt x="49898" y="1"/>
                      <a:pt x="4870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1158;p53">
                <a:extLst>
                  <a:ext uri="{FF2B5EF4-FFF2-40B4-BE49-F238E27FC236}">
                    <a16:creationId xmlns:a16="http://schemas.microsoft.com/office/drawing/2014/main" id="{C2D8A2CF-7D9B-491A-A53E-E7CDEC06545A}"/>
                  </a:ext>
                </a:extLst>
              </p:cNvPr>
              <p:cNvSpPr/>
              <p:nvPr/>
            </p:nvSpPr>
            <p:spPr>
              <a:xfrm>
                <a:off x="7360948" y="3061591"/>
                <a:ext cx="18268" cy="37832"/>
              </a:xfrm>
              <a:custGeom>
                <a:avLst/>
                <a:gdLst/>
                <a:ahLst/>
                <a:cxnLst/>
                <a:rect l="l" t="t" r="r" b="b"/>
                <a:pathLst>
                  <a:path w="1000" h="2071" fill="none" extrusionOk="0">
                    <a:moveTo>
                      <a:pt x="999" y="2071"/>
                    </a:moveTo>
                    <a:cubicBezTo>
                      <a:pt x="629" y="1405"/>
                      <a:pt x="334" y="703"/>
                      <a:pt x="1"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1159;p53">
                <a:extLst>
                  <a:ext uri="{FF2B5EF4-FFF2-40B4-BE49-F238E27FC236}">
                    <a16:creationId xmlns:a16="http://schemas.microsoft.com/office/drawing/2014/main" id="{C1A9DAF3-B58B-4569-A39E-545A80D3E485}"/>
                  </a:ext>
                </a:extLst>
              </p:cNvPr>
              <p:cNvSpPr/>
              <p:nvPr/>
            </p:nvSpPr>
            <p:spPr>
              <a:xfrm>
                <a:off x="7349476" y="3074414"/>
                <a:ext cx="14870" cy="39202"/>
              </a:xfrm>
              <a:custGeom>
                <a:avLst/>
                <a:gdLst/>
                <a:ahLst/>
                <a:cxnLst/>
                <a:rect l="l" t="t" r="r" b="b"/>
                <a:pathLst>
                  <a:path w="814" h="2146" fill="none" extrusionOk="0">
                    <a:moveTo>
                      <a:pt x="703" y="1849"/>
                    </a:moveTo>
                    <a:cubicBezTo>
                      <a:pt x="814" y="2145"/>
                      <a:pt x="518" y="1332"/>
                      <a:pt x="444" y="1147"/>
                    </a:cubicBezTo>
                    <a:cubicBezTo>
                      <a:pt x="296" y="777"/>
                      <a:pt x="185" y="370"/>
                      <a:pt x="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1160;p53">
                <a:extLst>
                  <a:ext uri="{FF2B5EF4-FFF2-40B4-BE49-F238E27FC236}">
                    <a16:creationId xmlns:a16="http://schemas.microsoft.com/office/drawing/2014/main" id="{6485E691-92FB-4FDB-AFA3-119D4BCD3BC1}"/>
                  </a:ext>
                </a:extLst>
              </p:cNvPr>
              <p:cNvSpPr/>
              <p:nvPr/>
            </p:nvSpPr>
            <p:spPr>
              <a:xfrm>
                <a:off x="7375818" y="3060239"/>
                <a:ext cx="16897" cy="14194"/>
              </a:xfrm>
              <a:custGeom>
                <a:avLst/>
                <a:gdLst/>
                <a:ahLst/>
                <a:cxnLst/>
                <a:rect l="l" t="t" r="r" b="b"/>
                <a:pathLst>
                  <a:path w="925" h="777" fill="none" extrusionOk="0">
                    <a:moveTo>
                      <a:pt x="0" y="0"/>
                    </a:moveTo>
                    <a:cubicBezTo>
                      <a:pt x="222" y="333"/>
                      <a:pt x="740" y="407"/>
                      <a:pt x="924" y="777"/>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1161;p53">
                <a:extLst>
                  <a:ext uri="{FF2B5EF4-FFF2-40B4-BE49-F238E27FC236}">
                    <a16:creationId xmlns:a16="http://schemas.microsoft.com/office/drawing/2014/main" id="{5735EF5A-6389-4B88-9FE0-43D4BCEC60C6}"/>
                  </a:ext>
                </a:extLst>
              </p:cNvPr>
              <p:cNvSpPr/>
              <p:nvPr/>
            </p:nvSpPr>
            <p:spPr>
              <a:xfrm>
                <a:off x="7625699" y="3082525"/>
                <a:ext cx="80377" cy="158726"/>
              </a:xfrm>
              <a:custGeom>
                <a:avLst/>
                <a:gdLst/>
                <a:ahLst/>
                <a:cxnLst/>
                <a:rect l="l" t="t" r="r" b="b"/>
                <a:pathLst>
                  <a:path w="4400" h="8689" fill="none" extrusionOk="0">
                    <a:moveTo>
                      <a:pt x="0" y="8689"/>
                    </a:moveTo>
                    <a:cubicBezTo>
                      <a:pt x="1294" y="7505"/>
                      <a:pt x="2293" y="6064"/>
                      <a:pt x="2921" y="4474"/>
                    </a:cubicBezTo>
                    <a:cubicBezTo>
                      <a:pt x="3254" y="3734"/>
                      <a:pt x="4030" y="703"/>
                      <a:pt x="4400"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1162;p53">
                <a:extLst>
                  <a:ext uri="{FF2B5EF4-FFF2-40B4-BE49-F238E27FC236}">
                    <a16:creationId xmlns:a16="http://schemas.microsoft.com/office/drawing/2014/main" id="{5F0FF140-1F2E-4B47-B6DE-75B1CDA950F7}"/>
                  </a:ext>
                </a:extLst>
              </p:cNvPr>
              <p:cNvSpPr/>
              <p:nvPr/>
            </p:nvSpPr>
            <p:spPr>
              <a:xfrm>
                <a:off x="7707410" y="3041332"/>
                <a:ext cx="41211" cy="98608"/>
              </a:xfrm>
              <a:custGeom>
                <a:avLst/>
                <a:gdLst/>
                <a:ahLst/>
                <a:cxnLst/>
                <a:rect l="l" t="t" r="r" b="b"/>
                <a:pathLst>
                  <a:path w="2256" h="5398" fill="none" extrusionOk="0">
                    <a:moveTo>
                      <a:pt x="1" y="5398"/>
                    </a:moveTo>
                    <a:cubicBezTo>
                      <a:pt x="407" y="3475"/>
                      <a:pt x="1886" y="1812"/>
                      <a:pt x="2256"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1163;p53">
                <a:extLst>
                  <a:ext uri="{FF2B5EF4-FFF2-40B4-BE49-F238E27FC236}">
                    <a16:creationId xmlns:a16="http://schemas.microsoft.com/office/drawing/2014/main" id="{9E2A75D1-08FA-4D83-937E-C297609CE1FC}"/>
                  </a:ext>
                </a:extLst>
              </p:cNvPr>
              <p:cNvSpPr/>
              <p:nvPr/>
            </p:nvSpPr>
            <p:spPr>
              <a:xfrm>
                <a:off x="7698641" y="3141949"/>
                <a:ext cx="86460" cy="129699"/>
              </a:xfrm>
              <a:custGeom>
                <a:avLst/>
                <a:gdLst/>
                <a:ahLst/>
                <a:cxnLst/>
                <a:rect l="l" t="t" r="r" b="b"/>
                <a:pathLst>
                  <a:path w="4733" h="7100" fill="none" extrusionOk="0">
                    <a:moveTo>
                      <a:pt x="0" y="7099"/>
                    </a:moveTo>
                    <a:cubicBezTo>
                      <a:pt x="518" y="5731"/>
                      <a:pt x="2071" y="4881"/>
                      <a:pt x="2958" y="3735"/>
                    </a:cubicBezTo>
                    <a:cubicBezTo>
                      <a:pt x="3512" y="3143"/>
                      <a:pt x="3956" y="2441"/>
                      <a:pt x="4326" y="1701"/>
                    </a:cubicBezTo>
                    <a:cubicBezTo>
                      <a:pt x="4511" y="1184"/>
                      <a:pt x="4622" y="408"/>
                      <a:pt x="4732"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1164;p53">
                <a:extLst>
                  <a:ext uri="{FF2B5EF4-FFF2-40B4-BE49-F238E27FC236}">
                    <a16:creationId xmlns:a16="http://schemas.microsoft.com/office/drawing/2014/main" id="{56EEE1B3-B71B-44B5-A849-586E19626E51}"/>
                  </a:ext>
                </a:extLst>
              </p:cNvPr>
              <p:cNvSpPr/>
              <p:nvPr/>
            </p:nvSpPr>
            <p:spPr>
              <a:xfrm>
                <a:off x="7760093" y="3235826"/>
                <a:ext cx="20277" cy="19601"/>
              </a:xfrm>
              <a:custGeom>
                <a:avLst/>
                <a:gdLst/>
                <a:ahLst/>
                <a:cxnLst/>
                <a:rect l="l" t="t" r="r" b="b"/>
                <a:pathLst>
                  <a:path w="1110" h="1073" fill="none" extrusionOk="0">
                    <a:moveTo>
                      <a:pt x="1" y="1073"/>
                    </a:moveTo>
                    <a:cubicBezTo>
                      <a:pt x="259" y="629"/>
                      <a:pt x="740" y="370"/>
                      <a:pt x="111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1165;p53">
                <a:extLst>
                  <a:ext uri="{FF2B5EF4-FFF2-40B4-BE49-F238E27FC236}">
                    <a16:creationId xmlns:a16="http://schemas.microsoft.com/office/drawing/2014/main" id="{F686BA01-792F-49FC-8DDC-3C75A7B32DF5}"/>
                  </a:ext>
                </a:extLst>
              </p:cNvPr>
              <p:cNvSpPr/>
              <p:nvPr/>
            </p:nvSpPr>
            <p:spPr>
              <a:xfrm>
                <a:off x="7802638" y="3739644"/>
                <a:ext cx="102006" cy="364729"/>
              </a:xfrm>
              <a:custGeom>
                <a:avLst/>
                <a:gdLst/>
                <a:ahLst/>
                <a:cxnLst/>
                <a:rect l="l" t="t" r="r" b="b"/>
                <a:pathLst>
                  <a:path w="5584" h="19966" extrusionOk="0">
                    <a:moveTo>
                      <a:pt x="112" y="1"/>
                    </a:moveTo>
                    <a:lnTo>
                      <a:pt x="1" y="19965"/>
                    </a:lnTo>
                    <a:lnTo>
                      <a:pt x="5472" y="19965"/>
                    </a:lnTo>
                    <a:lnTo>
                      <a:pt x="5583" y="38"/>
                    </a:lnTo>
                    <a:lnTo>
                      <a:pt x="11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1166;p53">
                <a:extLst>
                  <a:ext uri="{FF2B5EF4-FFF2-40B4-BE49-F238E27FC236}">
                    <a16:creationId xmlns:a16="http://schemas.microsoft.com/office/drawing/2014/main" id="{53B55E8E-FDE5-4513-B4F4-6C598CEB8BD3}"/>
                  </a:ext>
                </a:extLst>
              </p:cNvPr>
              <p:cNvSpPr/>
              <p:nvPr/>
            </p:nvSpPr>
            <p:spPr>
              <a:xfrm>
                <a:off x="7804666" y="3739644"/>
                <a:ext cx="100654" cy="178327"/>
              </a:xfrm>
              <a:custGeom>
                <a:avLst/>
                <a:gdLst/>
                <a:ahLst/>
                <a:cxnLst/>
                <a:rect l="l" t="t" r="r" b="b"/>
                <a:pathLst>
                  <a:path w="5510" h="9762" extrusionOk="0">
                    <a:moveTo>
                      <a:pt x="38" y="1"/>
                    </a:moveTo>
                    <a:lnTo>
                      <a:pt x="1" y="6175"/>
                    </a:lnTo>
                    <a:cubicBezTo>
                      <a:pt x="367" y="6059"/>
                      <a:pt x="720" y="6004"/>
                      <a:pt x="1060" y="6004"/>
                    </a:cubicBezTo>
                    <a:cubicBezTo>
                      <a:pt x="2877" y="6004"/>
                      <a:pt x="4314" y="7581"/>
                      <a:pt x="5435" y="9761"/>
                    </a:cubicBezTo>
                    <a:lnTo>
                      <a:pt x="5509" y="38"/>
                    </a:lnTo>
                    <a:lnTo>
                      <a:pt x="38"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1167;p53">
                <a:extLst>
                  <a:ext uri="{FF2B5EF4-FFF2-40B4-BE49-F238E27FC236}">
                    <a16:creationId xmlns:a16="http://schemas.microsoft.com/office/drawing/2014/main" id="{F1075D56-8477-405F-AF95-00AF8E1E89E2}"/>
                  </a:ext>
                </a:extLst>
              </p:cNvPr>
              <p:cNvSpPr/>
              <p:nvPr/>
            </p:nvSpPr>
            <p:spPr>
              <a:xfrm>
                <a:off x="7799934" y="4023977"/>
                <a:ext cx="105385" cy="426857"/>
              </a:xfrm>
              <a:custGeom>
                <a:avLst/>
                <a:gdLst/>
                <a:ahLst/>
                <a:cxnLst/>
                <a:rect l="l" t="t" r="r" b="b"/>
                <a:pathLst>
                  <a:path w="5769" h="23367" extrusionOk="0">
                    <a:moveTo>
                      <a:pt x="1" y="1"/>
                    </a:moveTo>
                    <a:lnTo>
                      <a:pt x="1849" y="22996"/>
                    </a:lnTo>
                    <a:lnTo>
                      <a:pt x="4326" y="23366"/>
                    </a:lnTo>
                    <a:lnTo>
                      <a:pt x="5768" y="38"/>
                    </a:lnTo>
                    <a:lnTo>
                      <a:pt x="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1168;p53">
                <a:extLst>
                  <a:ext uri="{FF2B5EF4-FFF2-40B4-BE49-F238E27FC236}">
                    <a16:creationId xmlns:a16="http://schemas.microsoft.com/office/drawing/2014/main" id="{CE97C0CC-DE2E-46B3-809C-F81DDC8B3DD1}"/>
                  </a:ext>
                </a:extLst>
              </p:cNvPr>
              <p:cNvSpPr/>
              <p:nvPr/>
            </p:nvSpPr>
            <p:spPr>
              <a:xfrm>
                <a:off x="7763472" y="4403539"/>
                <a:ext cx="151967" cy="130229"/>
              </a:xfrm>
              <a:custGeom>
                <a:avLst/>
                <a:gdLst/>
                <a:ahLst/>
                <a:cxnLst/>
                <a:rect l="l" t="t" r="r" b="b"/>
                <a:pathLst>
                  <a:path w="8319" h="7129" extrusionOk="0">
                    <a:moveTo>
                      <a:pt x="4770" y="0"/>
                    </a:moveTo>
                    <a:cubicBezTo>
                      <a:pt x="1590" y="0"/>
                      <a:pt x="0" y="3771"/>
                      <a:pt x="2182" y="6026"/>
                    </a:cubicBezTo>
                    <a:cubicBezTo>
                      <a:pt x="2918" y="6787"/>
                      <a:pt x="3834" y="7129"/>
                      <a:pt x="4730" y="7129"/>
                    </a:cubicBezTo>
                    <a:cubicBezTo>
                      <a:pt x="6533" y="7129"/>
                      <a:pt x="8257" y="5747"/>
                      <a:pt x="8282" y="3623"/>
                    </a:cubicBezTo>
                    <a:cubicBezTo>
                      <a:pt x="8319" y="1664"/>
                      <a:pt x="6729" y="37"/>
                      <a:pt x="477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1169;p53">
                <a:extLst>
                  <a:ext uri="{FF2B5EF4-FFF2-40B4-BE49-F238E27FC236}">
                    <a16:creationId xmlns:a16="http://schemas.microsoft.com/office/drawing/2014/main" id="{A6F313FB-AEE1-44EC-ADDC-411A9D126058}"/>
                  </a:ext>
                </a:extLst>
              </p:cNvPr>
              <p:cNvSpPr/>
              <p:nvPr/>
            </p:nvSpPr>
            <p:spPr>
              <a:xfrm>
                <a:off x="7294765" y="3996284"/>
                <a:ext cx="558547" cy="303259"/>
              </a:xfrm>
              <a:custGeom>
                <a:avLst/>
                <a:gdLst/>
                <a:ahLst/>
                <a:cxnLst/>
                <a:rect l="l" t="t" r="r" b="b"/>
                <a:pathLst>
                  <a:path w="30576" h="16601" extrusionOk="0">
                    <a:moveTo>
                      <a:pt x="29651" y="1"/>
                    </a:moveTo>
                    <a:cubicBezTo>
                      <a:pt x="29651" y="1"/>
                      <a:pt x="17266" y="3735"/>
                      <a:pt x="8615" y="6692"/>
                    </a:cubicBezTo>
                    <a:cubicBezTo>
                      <a:pt x="1" y="9650"/>
                      <a:pt x="1221" y="16601"/>
                      <a:pt x="1221" y="16601"/>
                    </a:cubicBezTo>
                    <a:cubicBezTo>
                      <a:pt x="1221" y="16601"/>
                      <a:pt x="4770" y="11499"/>
                      <a:pt x="14678" y="9465"/>
                    </a:cubicBezTo>
                    <a:cubicBezTo>
                      <a:pt x="24549" y="7469"/>
                      <a:pt x="30575" y="5916"/>
                      <a:pt x="30575" y="5916"/>
                    </a:cubicBezTo>
                    <a:lnTo>
                      <a:pt x="2965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1170;p53">
                <a:extLst>
                  <a:ext uri="{FF2B5EF4-FFF2-40B4-BE49-F238E27FC236}">
                    <a16:creationId xmlns:a16="http://schemas.microsoft.com/office/drawing/2014/main" id="{FF7A6263-3978-49DE-B4C2-AA7FACB62F11}"/>
                  </a:ext>
                </a:extLst>
              </p:cNvPr>
              <p:cNvSpPr/>
              <p:nvPr/>
            </p:nvSpPr>
            <p:spPr>
              <a:xfrm>
                <a:off x="7294765" y="4213758"/>
                <a:ext cx="160754" cy="137171"/>
              </a:xfrm>
              <a:custGeom>
                <a:avLst/>
                <a:gdLst/>
                <a:ahLst/>
                <a:cxnLst/>
                <a:rect l="l" t="t" r="r" b="b"/>
                <a:pathLst>
                  <a:path w="8800" h="7509" extrusionOk="0">
                    <a:moveTo>
                      <a:pt x="5029" y="0"/>
                    </a:moveTo>
                    <a:cubicBezTo>
                      <a:pt x="1701" y="0"/>
                      <a:pt x="1" y="3919"/>
                      <a:pt x="2256" y="6322"/>
                    </a:cubicBezTo>
                    <a:cubicBezTo>
                      <a:pt x="3024" y="7140"/>
                      <a:pt x="3997" y="7509"/>
                      <a:pt x="4954" y="7509"/>
                    </a:cubicBezTo>
                    <a:cubicBezTo>
                      <a:pt x="6809" y="7509"/>
                      <a:pt x="8604" y="6126"/>
                      <a:pt x="8726" y="3956"/>
                    </a:cubicBezTo>
                    <a:cubicBezTo>
                      <a:pt x="8800" y="1849"/>
                      <a:pt x="7136" y="74"/>
                      <a:pt x="5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1171;p53">
                <a:extLst>
                  <a:ext uri="{FF2B5EF4-FFF2-40B4-BE49-F238E27FC236}">
                    <a16:creationId xmlns:a16="http://schemas.microsoft.com/office/drawing/2014/main" id="{9E6789CD-F938-42AD-AFF4-127618779F85}"/>
                  </a:ext>
                </a:extLst>
              </p:cNvPr>
              <p:cNvSpPr/>
              <p:nvPr/>
            </p:nvSpPr>
            <p:spPr>
              <a:xfrm>
                <a:off x="7317051" y="4213758"/>
                <a:ext cx="133060" cy="134412"/>
              </a:xfrm>
              <a:custGeom>
                <a:avLst/>
                <a:gdLst/>
                <a:ahLst/>
                <a:cxnLst/>
                <a:rect l="l" t="t" r="r" b="b"/>
                <a:pathLst>
                  <a:path w="7284" h="7358" extrusionOk="0">
                    <a:moveTo>
                      <a:pt x="3809" y="0"/>
                    </a:moveTo>
                    <a:cubicBezTo>
                      <a:pt x="1664" y="37"/>
                      <a:pt x="1" y="1812"/>
                      <a:pt x="1" y="3919"/>
                    </a:cubicBezTo>
                    <a:cubicBezTo>
                      <a:pt x="1" y="5324"/>
                      <a:pt x="740" y="6655"/>
                      <a:pt x="1923" y="7358"/>
                    </a:cubicBezTo>
                    <a:cubicBezTo>
                      <a:pt x="1849" y="7247"/>
                      <a:pt x="1775" y="7136"/>
                      <a:pt x="1701" y="7025"/>
                    </a:cubicBezTo>
                    <a:cubicBezTo>
                      <a:pt x="1036" y="5620"/>
                      <a:pt x="1369" y="3956"/>
                      <a:pt x="2552" y="2921"/>
                    </a:cubicBezTo>
                    <a:cubicBezTo>
                      <a:pt x="3444" y="2184"/>
                      <a:pt x="4315" y="1875"/>
                      <a:pt x="5145" y="1875"/>
                    </a:cubicBezTo>
                    <a:cubicBezTo>
                      <a:pt x="5898" y="1875"/>
                      <a:pt x="6616" y="2129"/>
                      <a:pt x="7284" y="2551"/>
                    </a:cubicBezTo>
                    <a:cubicBezTo>
                      <a:pt x="6766" y="1072"/>
                      <a:pt x="5362" y="37"/>
                      <a:pt x="380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1172;p53">
                <a:extLst>
                  <a:ext uri="{FF2B5EF4-FFF2-40B4-BE49-F238E27FC236}">
                    <a16:creationId xmlns:a16="http://schemas.microsoft.com/office/drawing/2014/main" id="{BE46E370-EDA5-420B-9227-E7B31112F2C7}"/>
                  </a:ext>
                </a:extLst>
              </p:cNvPr>
              <p:cNvSpPr/>
              <p:nvPr/>
            </p:nvSpPr>
            <p:spPr>
              <a:xfrm>
                <a:off x="7852618" y="3996284"/>
                <a:ext cx="557195" cy="309342"/>
              </a:xfrm>
              <a:custGeom>
                <a:avLst/>
                <a:gdLst/>
                <a:ahLst/>
                <a:cxnLst/>
                <a:rect l="l" t="t" r="r" b="b"/>
                <a:pathLst>
                  <a:path w="30502" h="16934" extrusionOk="0">
                    <a:moveTo>
                      <a:pt x="962" y="1"/>
                    </a:moveTo>
                    <a:lnTo>
                      <a:pt x="0" y="5916"/>
                    </a:lnTo>
                    <a:cubicBezTo>
                      <a:pt x="0" y="5916"/>
                      <a:pt x="5990" y="7543"/>
                      <a:pt x="15861" y="9687"/>
                    </a:cubicBezTo>
                    <a:cubicBezTo>
                      <a:pt x="25732" y="11794"/>
                      <a:pt x="29170" y="16933"/>
                      <a:pt x="29170" y="16933"/>
                    </a:cubicBezTo>
                    <a:cubicBezTo>
                      <a:pt x="29170" y="16933"/>
                      <a:pt x="30501" y="10020"/>
                      <a:pt x="21887" y="6988"/>
                    </a:cubicBezTo>
                    <a:cubicBezTo>
                      <a:pt x="13273" y="3920"/>
                      <a:pt x="962" y="1"/>
                      <a:pt x="9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1173;p53">
                <a:extLst>
                  <a:ext uri="{FF2B5EF4-FFF2-40B4-BE49-F238E27FC236}">
                    <a16:creationId xmlns:a16="http://schemas.microsoft.com/office/drawing/2014/main" id="{1FD24CD9-B2C5-4BE0-9B09-DB6A24DF027B}"/>
                  </a:ext>
                </a:extLst>
              </p:cNvPr>
              <p:cNvSpPr/>
              <p:nvPr/>
            </p:nvSpPr>
            <p:spPr>
              <a:xfrm>
                <a:off x="8248383" y="4219841"/>
                <a:ext cx="160078" cy="136513"/>
              </a:xfrm>
              <a:custGeom>
                <a:avLst/>
                <a:gdLst/>
                <a:ahLst/>
                <a:cxnLst/>
                <a:rect l="l" t="t" r="r" b="b"/>
                <a:pathLst>
                  <a:path w="8763" h="7473" extrusionOk="0">
                    <a:moveTo>
                      <a:pt x="3808" y="0"/>
                    </a:moveTo>
                    <a:cubicBezTo>
                      <a:pt x="1701" y="37"/>
                      <a:pt x="0" y="1775"/>
                      <a:pt x="37" y="3882"/>
                    </a:cubicBezTo>
                    <a:cubicBezTo>
                      <a:pt x="136" y="6069"/>
                      <a:pt x="1933" y="7472"/>
                      <a:pt x="3800" y="7472"/>
                    </a:cubicBezTo>
                    <a:cubicBezTo>
                      <a:pt x="4742" y="7472"/>
                      <a:pt x="5702" y="7115"/>
                      <a:pt x="6470" y="6322"/>
                    </a:cubicBezTo>
                    <a:cubicBezTo>
                      <a:pt x="8762" y="3956"/>
                      <a:pt x="7099" y="0"/>
                      <a:pt x="380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1174;p53">
                <a:extLst>
                  <a:ext uri="{FF2B5EF4-FFF2-40B4-BE49-F238E27FC236}">
                    <a16:creationId xmlns:a16="http://schemas.microsoft.com/office/drawing/2014/main" id="{D444764D-E0D2-42F5-A322-A04AE3A9B35F}"/>
                  </a:ext>
                </a:extLst>
              </p:cNvPr>
              <p:cNvSpPr/>
              <p:nvPr/>
            </p:nvSpPr>
            <p:spPr>
              <a:xfrm>
                <a:off x="8253790" y="4219841"/>
                <a:ext cx="133060" cy="134412"/>
              </a:xfrm>
              <a:custGeom>
                <a:avLst/>
                <a:gdLst/>
                <a:ahLst/>
                <a:cxnLst/>
                <a:rect l="l" t="t" r="r" b="b"/>
                <a:pathLst>
                  <a:path w="7284" h="7358" extrusionOk="0">
                    <a:moveTo>
                      <a:pt x="3512" y="0"/>
                    </a:moveTo>
                    <a:cubicBezTo>
                      <a:pt x="1923" y="0"/>
                      <a:pt x="518" y="998"/>
                      <a:pt x="0" y="2477"/>
                    </a:cubicBezTo>
                    <a:cubicBezTo>
                      <a:pt x="657" y="2080"/>
                      <a:pt x="1362" y="1836"/>
                      <a:pt x="2100" y="1836"/>
                    </a:cubicBezTo>
                    <a:cubicBezTo>
                      <a:pt x="2941" y="1836"/>
                      <a:pt x="3826" y="2153"/>
                      <a:pt x="4732" y="2921"/>
                    </a:cubicBezTo>
                    <a:cubicBezTo>
                      <a:pt x="5878" y="3956"/>
                      <a:pt x="6211" y="5620"/>
                      <a:pt x="5509" y="7025"/>
                    </a:cubicBezTo>
                    <a:cubicBezTo>
                      <a:pt x="5435" y="7135"/>
                      <a:pt x="5361" y="7246"/>
                      <a:pt x="5287" y="7357"/>
                    </a:cubicBezTo>
                    <a:cubicBezTo>
                      <a:pt x="6507" y="6655"/>
                      <a:pt x="7246" y="5361"/>
                      <a:pt x="7246" y="3956"/>
                    </a:cubicBezTo>
                    <a:cubicBezTo>
                      <a:pt x="7283" y="1812"/>
                      <a:pt x="5620" y="37"/>
                      <a:pt x="351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1175;p53">
                <a:extLst>
                  <a:ext uri="{FF2B5EF4-FFF2-40B4-BE49-F238E27FC236}">
                    <a16:creationId xmlns:a16="http://schemas.microsoft.com/office/drawing/2014/main" id="{D9337B55-AA85-42F6-8080-E5F3879EC098}"/>
                  </a:ext>
                </a:extLst>
              </p:cNvPr>
              <p:cNvSpPr/>
              <p:nvPr/>
            </p:nvSpPr>
            <p:spPr>
              <a:xfrm>
                <a:off x="7258979" y="3611205"/>
                <a:ext cx="875287" cy="315535"/>
              </a:xfrm>
              <a:custGeom>
                <a:avLst/>
                <a:gdLst/>
                <a:ahLst/>
                <a:cxnLst/>
                <a:rect l="l" t="t" r="r" b="b"/>
                <a:pathLst>
                  <a:path w="47915" h="17273" extrusionOk="0">
                    <a:moveTo>
                      <a:pt x="10057" y="0"/>
                    </a:moveTo>
                    <a:cubicBezTo>
                      <a:pt x="7502" y="0"/>
                      <a:pt x="5189" y="542"/>
                      <a:pt x="3771" y="2152"/>
                    </a:cubicBezTo>
                    <a:cubicBezTo>
                      <a:pt x="1331" y="4925"/>
                      <a:pt x="0" y="10137"/>
                      <a:pt x="4437" y="12060"/>
                    </a:cubicBezTo>
                    <a:cubicBezTo>
                      <a:pt x="12459" y="15461"/>
                      <a:pt x="24955" y="16164"/>
                      <a:pt x="33754" y="17051"/>
                    </a:cubicBezTo>
                    <a:cubicBezTo>
                      <a:pt x="35061" y="17187"/>
                      <a:pt x="36679" y="17273"/>
                      <a:pt x="38387" y="17273"/>
                    </a:cubicBezTo>
                    <a:cubicBezTo>
                      <a:pt x="41802" y="17273"/>
                      <a:pt x="45573" y="16928"/>
                      <a:pt x="47914" y="15942"/>
                    </a:cubicBezTo>
                    <a:lnTo>
                      <a:pt x="45141" y="8696"/>
                    </a:lnTo>
                    <a:cubicBezTo>
                      <a:pt x="42997" y="7919"/>
                      <a:pt x="40816" y="7513"/>
                      <a:pt x="38524" y="6958"/>
                    </a:cubicBezTo>
                    <a:cubicBezTo>
                      <a:pt x="32682" y="5479"/>
                      <a:pt x="26878" y="3335"/>
                      <a:pt x="21000" y="1893"/>
                    </a:cubicBezTo>
                    <a:cubicBezTo>
                      <a:pt x="18290" y="1227"/>
                      <a:pt x="13901" y="0"/>
                      <a:pt x="1005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1176;p53">
                <a:extLst>
                  <a:ext uri="{FF2B5EF4-FFF2-40B4-BE49-F238E27FC236}">
                    <a16:creationId xmlns:a16="http://schemas.microsoft.com/office/drawing/2014/main" id="{5DD28943-F039-4088-822E-DBF2CFDEECC6}"/>
                  </a:ext>
                </a:extLst>
              </p:cNvPr>
              <p:cNvSpPr/>
              <p:nvPr/>
            </p:nvSpPr>
            <p:spPr>
              <a:xfrm>
                <a:off x="7296793" y="3638022"/>
                <a:ext cx="788170" cy="199572"/>
              </a:xfrm>
              <a:custGeom>
                <a:avLst/>
                <a:gdLst/>
                <a:ahLst/>
                <a:cxnLst/>
                <a:rect l="l" t="t" r="r" b="b"/>
                <a:pathLst>
                  <a:path w="43146" h="10925" extrusionOk="0">
                    <a:moveTo>
                      <a:pt x="7244" y="1"/>
                    </a:moveTo>
                    <a:cubicBezTo>
                      <a:pt x="4676" y="1"/>
                      <a:pt x="2348" y="546"/>
                      <a:pt x="925" y="2163"/>
                    </a:cubicBezTo>
                    <a:cubicBezTo>
                      <a:pt x="592" y="2532"/>
                      <a:pt x="259" y="2976"/>
                      <a:pt x="1" y="3420"/>
                    </a:cubicBezTo>
                    <a:cubicBezTo>
                      <a:pt x="1477" y="2440"/>
                      <a:pt x="3492" y="2086"/>
                      <a:pt x="5684" y="2086"/>
                    </a:cubicBezTo>
                    <a:cubicBezTo>
                      <a:pt x="9860" y="2086"/>
                      <a:pt x="14678" y="3369"/>
                      <a:pt x="17636" y="4048"/>
                    </a:cubicBezTo>
                    <a:cubicBezTo>
                      <a:pt x="23958" y="5564"/>
                      <a:pt x="30206" y="7745"/>
                      <a:pt x="36491" y="9261"/>
                    </a:cubicBezTo>
                    <a:cubicBezTo>
                      <a:pt x="38783" y="9816"/>
                      <a:pt x="41001" y="10222"/>
                      <a:pt x="43145" y="10925"/>
                    </a:cubicBezTo>
                    <a:lnTo>
                      <a:pt x="42295" y="8706"/>
                    </a:lnTo>
                    <a:cubicBezTo>
                      <a:pt x="40151" y="7930"/>
                      <a:pt x="37969" y="7523"/>
                      <a:pt x="35677" y="6932"/>
                    </a:cubicBezTo>
                    <a:cubicBezTo>
                      <a:pt x="29836" y="5453"/>
                      <a:pt x="24032" y="3309"/>
                      <a:pt x="18153" y="1904"/>
                    </a:cubicBezTo>
                    <a:cubicBezTo>
                      <a:pt x="15452" y="1217"/>
                      <a:pt x="11080" y="1"/>
                      <a:pt x="724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1177;p53">
                <a:extLst>
                  <a:ext uri="{FF2B5EF4-FFF2-40B4-BE49-F238E27FC236}">
                    <a16:creationId xmlns:a16="http://schemas.microsoft.com/office/drawing/2014/main" id="{3973958D-BFF2-4C48-A01A-2744562D95F0}"/>
                  </a:ext>
                </a:extLst>
              </p:cNvPr>
              <p:cNvSpPr/>
              <p:nvPr/>
            </p:nvSpPr>
            <p:spPr>
              <a:xfrm>
                <a:off x="7620292" y="2247445"/>
                <a:ext cx="1090058" cy="1685542"/>
              </a:xfrm>
              <a:custGeom>
                <a:avLst/>
                <a:gdLst/>
                <a:ahLst/>
                <a:cxnLst/>
                <a:rect l="l" t="t" r="r" b="b"/>
                <a:pathLst>
                  <a:path w="59672" h="92270" extrusionOk="0">
                    <a:moveTo>
                      <a:pt x="43955" y="0"/>
                    </a:moveTo>
                    <a:cubicBezTo>
                      <a:pt x="40892" y="0"/>
                      <a:pt x="37249" y="846"/>
                      <a:pt x="33607" y="3974"/>
                    </a:cubicBezTo>
                    <a:cubicBezTo>
                      <a:pt x="26767" y="9853"/>
                      <a:pt x="24068" y="23347"/>
                      <a:pt x="20445" y="27192"/>
                    </a:cubicBezTo>
                    <a:cubicBezTo>
                      <a:pt x="16970" y="30926"/>
                      <a:pt x="11942" y="35030"/>
                      <a:pt x="10722" y="39984"/>
                    </a:cubicBezTo>
                    <a:cubicBezTo>
                      <a:pt x="9354" y="45640"/>
                      <a:pt x="12423" y="48191"/>
                      <a:pt x="14419" y="52776"/>
                    </a:cubicBezTo>
                    <a:cubicBezTo>
                      <a:pt x="16416" y="57360"/>
                      <a:pt x="14900" y="59357"/>
                      <a:pt x="11720" y="63460"/>
                    </a:cubicBezTo>
                    <a:cubicBezTo>
                      <a:pt x="6249" y="70559"/>
                      <a:pt x="1" y="79654"/>
                      <a:pt x="8467" y="86604"/>
                    </a:cubicBezTo>
                    <a:cubicBezTo>
                      <a:pt x="13233" y="90492"/>
                      <a:pt x="20205" y="92270"/>
                      <a:pt x="27075" y="92270"/>
                    </a:cubicBezTo>
                    <a:cubicBezTo>
                      <a:pt x="29744" y="92270"/>
                      <a:pt x="32398" y="92001"/>
                      <a:pt x="34901" y="91484"/>
                    </a:cubicBezTo>
                    <a:cubicBezTo>
                      <a:pt x="46805" y="89044"/>
                      <a:pt x="43589" y="80467"/>
                      <a:pt x="42887" y="72518"/>
                    </a:cubicBezTo>
                    <a:cubicBezTo>
                      <a:pt x="42147" y="63682"/>
                      <a:pt x="47508" y="56880"/>
                      <a:pt x="50392" y="48339"/>
                    </a:cubicBezTo>
                    <a:cubicBezTo>
                      <a:pt x="53312" y="39503"/>
                      <a:pt x="53941" y="33847"/>
                      <a:pt x="54902" y="21683"/>
                    </a:cubicBezTo>
                    <a:cubicBezTo>
                      <a:pt x="55567" y="13032"/>
                      <a:pt x="59671" y="3235"/>
                      <a:pt x="49061" y="684"/>
                    </a:cubicBezTo>
                    <a:cubicBezTo>
                      <a:pt x="47715" y="362"/>
                      <a:pt x="45959" y="0"/>
                      <a:pt x="439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1178;p53">
                <a:extLst>
                  <a:ext uri="{FF2B5EF4-FFF2-40B4-BE49-F238E27FC236}">
                    <a16:creationId xmlns:a16="http://schemas.microsoft.com/office/drawing/2014/main" id="{2B7C4E1A-4E0A-40B7-AA50-86EF543E6896}"/>
                  </a:ext>
                </a:extLst>
              </p:cNvPr>
              <p:cNvSpPr/>
              <p:nvPr/>
            </p:nvSpPr>
            <p:spPr>
              <a:xfrm>
                <a:off x="7635819" y="2247408"/>
                <a:ext cx="984034" cy="1682035"/>
              </a:xfrm>
              <a:custGeom>
                <a:avLst/>
                <a:gdLst/>
                <a:ahLst/>
                <a:cxnLst/>
                <a:rect l="l" t="t" r="r" b="b"/>
                <a:pathLst>
                  <a:path w="53868" h="92078" extrusionOk="0">
                    <a:moveTo>
                      <a:pt x="43548" y="1"/>
                    </a:moveTo>
                    <a:cubicBezTo>
                      <a:pt x="40487" y="1"/>
                      <a:pt x="36878" y="929"/>
                      <a:pt x="33201" y="4087"/>
                    </a:cubicBezTo>
                    <a:cubicBezTo>
                      <a:pt x="26361" y="9966"/>
                      <a:pt x="23625" y="23460"/>
                      <a:pt x="20039" y="27305"/>
                    </a:cubicBezTo>
                    <a:cubicBezTo>
                      <a:pt x="16527" y="31039"/>
                      <a:pt x="11499" y="35143"/>
                      <a:pt x="10279" y="40097"/>
                    </a:cubicBezTo>
                    <a:cubicBezTo>
                      <a:pt x="8911" y="45753"/>
                      <a:pt x="12016" y="48304"/>
                      <a:pt x="13976" y="52889"/>
                    </a:cubicBezTo>
                    <a:cubicBezTo>
                      <a:pt x="15972" y="57473"/>
                      <a:pt x="14456" y="59506"/>
                      <a:pt x="11277" y="63573"/>
                    </a:cubicBezTo>
                    <a:cubicBezTo>
                      <a:pt x="5842" y="70672"/>
                      <a:pt x="1" y="80580"/>
                      <a:pt x="8504" y="87530"/>
                    </a:cubicBezTo>
                    <a:cubicBezTo>
                      <a:pt x="12201" y="90525"/>
                      <a:pt x="17192" y="91412"/>
                      <a:pt x="22479" y="92078"/>
                    </a:cubicBezTo>
                    <a:cubicBezTo>
                      <a:pt x="21444" y="91486"/>
                      <a:pt x="20002" y="90895"/>
                      <a:pt x="19115" y="90155"/>
                    </a:cubicBezTo>
                    <a:cubicBezTo>
                      <a:pt x="10611" y="83205"/>
                      <a:pt x="16896" y="74110"/>
                      <a:pt x="22368" y="67012"/>
                    </a:cubicBezTo>
                    <a:cubicBezTo>
                      <a:pt x="25511" y="62908"/>
                      <a:pt x="27063" y="60911"/>
                      <a:pt x="25067" y="56327"/>
                    </a:cubicBezTo>
                    <a:cubicBezTo>
                      <a:pt x="23071" y="51743"/>
                      <a:pt x="19965" y="49192"/>
                      <a:pt x="21370" y="43535"/>
                    </a:cubicBezTo>
                    <a:cubicBezTo>
                      <a:pt x="22590" y="38581"/>
                      <a:pt x="27581" y="34477"/>
                      <a:pt x="31093" y="30743"/>
                    </a:cubicBezTo>
                    <a:cubicBezTo>
                      <a:pt x="34716" y="26898"/>
                      <a:pt x="37415" y="13404"/>
                      <a:pt x="44255" y="7526"/>
                    </a:cubicBezTo>
                    <a:cubicBezTo>
                      <a:pt x="47582" y="4679"/>
                      <a:pt x="50983" y="4161"/>
                      <a:pt x="53867" y="4050"/>
                    </a:cubicBezTo>
                    <a:cubicBezTo>
                      <a:pt x="52684" y="2202"/>
                      <a:pt x="50983" y="1536"/>
                      <a:pt x="48617" y="797"/>
                    </a:cubicBezTo>
                    <a:cubicBezTo>
                      <a:pt x="47234" y="379"/>
                      <a:pt x="45503" y="1"/>
                      <a:pt x="4354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1179;p53">
                <a:extLst>
                  <a:ext uri="{FF2B5EF4-FFF2-40B4-BE49-F238E27FC236}">
                    <a16:creationId xmlns:a16="http://schemas.microsoft.com/office/drawing/2014/main" id="{AC4D7263-29F0-47D7-A5EA-AD39D4AFE71C}"/>
                  </a:ext>
                </a:extLst>
              </p:cNvPr>
              <p:cNvSpPr/>
              <p:nvPr/>
            </p:nvSpPr>
            <p:spPr>
              <a:xfrm>
                <a:off x="7743890" y="2287615"/>
                <a:ext cx="714552" cy="1612107"/>
              </a:xfrm>
              <a:custGeom>
                <a:avLst/>
                <a:gdLst/>
                <a:ahLst/>
                <a:cxnLst/>
                <a:rect l="l" t="t" r="r" b="b"/>
                <a:pathLst>
                  <a:path w="39116" h="88250" extrusionOk="0">
                    <a:moveTo>
                      <a:pt x="39115" y="1"/>
                    </a:moveTo>
                    <a:lnTo>
                      <a:pt x="39115" y="1"/>
                    </a:lnTo>
                    <a:cubicBezTo>
                      <a:pt x="37119" y="703"/>
                      <a:pt x="35270" y="1812"/>
                      <a:pt x="33717" y="3254"/>
                    </a:cubicBezTo>
                    <a:cubicBezTo>
                      <a:pt x="26878" y="9317"/>
                      <a:pt x="24142" y="23182"/>
                      <a:pt x="20556" y="27137"/>
                    </a:cubicBezTo>
                    <a:cubicBezTo>
                      <a:pt x="17044" y="30982"/>
                      <a:pt x="12016" y="35197"/>
                      <a:pt x="10796" y="40299"/>
                    </a:cubicBezTo>
                    <a:cubicBezTo>
                      <a:pt x="9428" y="46140"/>
                      <a:pt x="12496" y="48765"/>
                      <a:pt x="14493" y="53461"/>
                    </a:cubicBezTo>
                    <a:cubicBezTo>
                      <a:pt x="16489" y="58193"/>
                      <a:pt x="14973" y="60263"/>
                      <a:pt x="11794" y="64478"/>
                    </a:cubicBezTo>
                    <a:cubicBezTo>
                      <a:pt x="6396" y="71687"/>
                      <a:pt x="0" y="81115"/>
                      <a:pt x="8208" y="88250"/>
                    </a:cubicBezTo>
                    <a:cubicBezTo>
                      <a:pt x="7986" y="87917"/>
                      <a:pt x="7579" y="87437"/>
                      <a:pt x="7320" y="87141"/>
                    </a:cubicBezTo>
                    <a:cubicBezTo>
                      <a:pt x="1442" y="79414"/>
                      <a:pt x="6914" y="71317"/>
                      <a:pt x="12127" y="64367"/>
                    </a:cubicBezTo>
                    <a:cubicBezTo>
                      <a:pt x="15269" y="60152"/>
                      <a:pt x="16822" y="58082"/>
                      <a:pt x="14825" y="53387"/>
                    </a:cubicBezTo>
                    <a:cubicBezTo>
                      <a:pt x="12829" y="48654"/>
                      <a:pt x="9760" y="46029"/>
                      <a:pt x="11128" y="40225"/>
                    </a:cubicBezTo>
                    <a:cubicBezTo>
                      <a:pt x="12348" y="35123"/>
                      <a:pt x="17376" y="30908"/>
                      <a:pt x="20889" y="27063"/>
                    </a:cubicBezTo>
                    <a:cubicBezTo>
                      <a:pt x="24475" y="23108"/>
                      <a:pt x="27211" y="9207"/>
                      <a:pt x="34013" y="3143"/>
                    </a:cubicBezTo>
                    <a:cubicBezTo>
                      <a:pt x="35529" y="1812"/>
                      <a:pt x="37230" y="740"/>
                      <a:pt x="3911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1180;p53">
                <a:extLst>
                  <a:ext uri="{FF2B5EF4-FFF2-40B4-BE49-F238E27FC236}">
                    <a16:creationId xmlns:a16="http://schemas.microsoft.com/office/drawing/2014/main" id="{E4AEF164-9095-40F2-851D-C8BD1C8262EC}"/>
                  </a:ext>
                </a:extLst>
              </p:cNvPr>
              <p:cNvSpPr/>
              <p:nvPr/>
            </p:nvSpPr>
            <p:spPr>
              <a:xfrm>
                <a:off x="7616912" y="2246951"/>
                <a:ext cx="803021" cy="1619688"/>
              </a:xfrm>
              <a:custGeom>
                <a:avLst/>
                <a:gdLst/>
                <a:ahLst/>
                <a:cxnLst/>
                <a:rect l="l" t="t" r="r" b="b"/>
                <a:pathLst>
                  <a:path w="43959" h="88665" extrusionOk="0">
                    <a:moveTo>
                      <a:pt x="43496" y="0"/>
                    </a:moveTo>
                    <a:cubicBezTo>
                      <a:pt x="40442" y="0"/>
                      <a:pt x="36783" y="1061"/>
                      <a:pt x="33089" y="4297"/>
                    </a:cubicBezTo>
                    <a:cubicBezTo>
                      <a:pt x="26361" y="10139"/>
                      <a:pt x="23699" y="23596"/>
                      <a:pt x="20150" y="27441"/>
                    </a:cubicBezTo>
                    <a:cubicBezTo>
                      <a:pt x="16711" y="31175"/>
                      <a:pt x="11757" y="35279"/>
                      <a:pt x="10574" y="40196"/>
                    </a:cubicBezTo>
                    <a:cubicBezTo>
                      <a:pt x="9206" y="45852"/>
                      <a:pt x="12238" y="48403"/>
                      <a:pt x="14197" y="52951"/>
                    </a:cubicBezTo>
                    <a:cubicBezTo>
                      <a:pt x="16194" y="57535"/>
                      <a:pt x="14641" y="59531"/>
                      <a:pt x="11573" y="63635"/>
                    </a:cubicBezTo>
                    <a:cubicBezTo>
                      <a:pt x="6175" y="70697"/>
                      <a:pt x="1" y="79791"/>
                      <a:pt x="8393" y="86705"/>
                    </a:cubicBezTo>
                    <a:cubicBezTo>
                      <a:pt x="9243" y="87407"/>
                      <a:pt x="10131" y="88073"/>
                      <a:pt x="11055" y="88664"/>
                    </a:cubicBezTo>
                    <a:cubicBezTo>
                      <a:pt x="9835" y="87629"/>
                      <a:pt x="8763" y="86409"/>
                      <a:pt x="7875" y="85041"/>
                    </a:cubicBezTo>
                    <a:cubicBezTo>
                      <a:pt x="3032" y="77277"/>
                      <a:pt x="7765" y="70142"/>
                      <a:pt x="12719" y="63635"/>
                    </a:cubicBezTo>
                    <a:cubicBezTo>
                      <a:pt x="15824" y="59568"/>
                      <a:pt x="17340" y="57535"/>
                      <a:pt x="15381" y="52988"/>
                    </a:cubicBezTo>
                    <a:cubicBezTo>
                      <a:pt x="13421" y="48403"/>
                      <a:pt x="10389" y="45889"/>
                      <a:pt x="11720" y="40233"/>
                    </a:cubicBezTo>
                    <a:cubicBezTo>
                      <a:pt x="12903" y="35279"/>
                      <a:pt x="17858" y="31175"/>
                      <a:pt x="21333" y="27441"/>
                    </a:cubicBezTo>
                    <a:cubicBezTo>
                      <a:pt x="24882" y="23633"/>
                      <a:pt x="27544" y="10176"/>
                      <a:pt x="34273" y="4297"/>
                    </a:cubicBezTo>
                    <a:cubicBezTo>
                      <a:pt x="37674" y="1303"/>
                      <a:pt x="41297" y="637"/>
                      <a:pt x="43959" y="9"/>
                    </a:cubicBezTo>
                    <a:cubicBezTo>
                      <a:pt x="43806" y="3"/>
                      <a:pt x="43652" y="0"/>
                      <a:pt x="4349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1181;p53">
                <a:extLst>
                  <a:ext uri="{FF2B5EF4-FFF2-40B4-BE49-F238E27FC236}">
                    <a16:creationId xmlns:a16="http://schemas.microsoft.com/office/drawing/2014/main" id="{2C134F57-C3C3-4ACA-AC1F-5BB18F71DBAF}"/>
                  </a:ext>
                </a:extLst>
              </p:cNvPr>
              <p:cNvSpPr/>
              <p:nvPr/>
            </p:nvSpPr>
            <p:spPr>
              <a:xfrm>
                <a:off x="8052519" y="2826945"/>
                <a:ext cx="520733" cy="1101658"/>
              </a:xfrm>
              <a:custGeom>
                <a:avLst/>
                <a:gdLst/>
                <a:ahLst/>
                <a:cxnLst/>
                <a:rect l="l" t="t" r="r" b="b"/>
                <a:pathLst>
                  <a:path w="28506" h="60307" extrusionOk="0">
                    <a:moveTo>
                      <a:pt x="18204" y="0"/>
                    </a:moveTo>
                    <a:cubicBezTo>
                      <a:pt x="17919" y="0"/>
                      <a:pt x="17665" y="29"/>
                      <a:pt x="17451" y="90"/>
                    </a:cubicBezTo>
                    <a:cubicBezTo>
                      <a:pt x="6249" y="3233"/>
                      <a:pt x="8726" y="26783"/>
                      <a:pt x="8726" y="26783"/>
                    </a:cubicBezTo>
                    <a:cubicBezTo>
                      <a:pt x="8689" y="33068"/>
                      <a:pt x="6249" y="38022"/>
                      <a:pt x="4252" y="43864"/>
                    </a:cubicBezTo>
                    <a:cubicBezTo>
                      <a:pt x="2921" y="47672"/>
                      <a:pt x="1" y="55953"/>
                      <a:pt x="4068" y="58948"/>
                    </a:cubicBezTo>
                    <a:cubicBezTo>
                      <a:pt x="5357" y="59898"/>
                      <a:pt x="6691" y="60306"/>
                      <a:pt x="7974" y="60306"/>
                    </a:cubicBezTo>
                    <a:cubicBezTo>
                      <a:pt x="11584" y="60306"/>
                      <a:pt x="14780" y="57069"/>
                      <a:pt x="15381" y="53550"/>
                    </a:cubicBezTo>
                    <a:cubicBezTo>
                      <a:pt x="16305" y="48078"/>
                      <a:pt x="15824" y="42015"/>
                      <a:pt x="15861" y="36396"/>
                    </a:cubicBezTo>
                    <a:cubicBezTo>
                      <a:pt x="15898" y="25785"/>
                      <a:pt x="28505" y="14065"/>
                      <a:pt x="25178" y="3418"/>
                    </a:cubicBezTo>
                    <a:cubicBezTo>
                      <a:pt x="24685" y="1840"/>
                      <a:pt x="20482" y="0"/>
                      <a:pt x="1820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1182;p53">
                <a:extLst>
                  <a:ext uri="{FF2B5EF4-FFF2-40B4-BE49-F238E27FC236}">
                    <a16:creationId xmlns:a16="http://schemas.microsoft.com/office/drawing/2014/main" id="{200F8AA0-FDC8-4181-ACCE-3D68E717D3C4}"/>
                  </a:ext>
                </a:extLst>
              </p:cNvPr>
              <p:cNvSpPr/>
              <p:nvPr/>
            </p:nvSpPr>
            <p:spPr>
              <a:xfrm>
                <a:off x="7372438" y="3233616"/>
                <a:ext cx="481550" cy="194713"/>
              </a:xfrm>
              <a:custGeom>
                <a:avLst/>
                <a:gdLst/>
                <a:ahLst/>
                <a:cxnLst/>
                <a:rect l="l" t="t" r="r" b="b"/>
                <a:pathLst>
                  <a:path w="26361" h="10659" extrusionOk="0">
                    <a:moveTo>
                      <a:pt x="3426" y="0"/>
                    </a:moveTo>
                    <a:cubicBezTo>
                      <a:pt x="2710" y="0"/>
                      <a:pt x="2099" y="87"/>
                      <a:pt x="1701" y="307"/>
                    </a:cubicBezTo>
                    <a:cubicBezTo>
                      <a:pt x="814" y="861"/>
                      <a:pt x="222" y="1711"/>
                      <a:pt x="0" y="2747"/>
                    </a:cubicBezTo>
                    <a:lnTo>
                      <a:pt x="1257" y="2747"/>
                    </a:lnTo>
                    <a:cubicBezTo>
                      <a:pt x="2182" y="2821"/>
                      <a:pt x="3106" y="2968"/>
                      <a:pt x="4030" y="3190"/>
                    </a:cubicBezTo>
                    <a:cubicBezTo>
                      <a:pt x="5102" y="3412"/>
                      <a:pt x="6174" y="3671"/>
                      <a:pt x="7247" y="3930"/>
                    </a:cubicBezTo>
                    <a:cubicBezTo>
                      <a:pt x="9058" y="4373"/>
                      <a:pt x="10870" y="4669"/>
                      <a:pt x="12718" y="5076"/>
                    </a:cubicBezTo>
                    <a:cubicBezTo>
                      <a:pt x="14789" y="5556"/>
                      <a:pt x="16859" y="6074"/>
                      <a:pt x="18855" y="6740"/>
                    </a:cubicBezTo>
                    <a:cubicBezTo>
                      <a:pt x="20741" y="7294"/>
                      <a:pt x="22515" y="8070"/>
                      <a:pt x="24179" y="9032"/>
                    </a:cubicBezTo>
                    <a:cubicBezTo>
                      <a:pt x="24919" y="9401"/>
                      <a:pt x="25510" y="9956"/>
                      <a:pt x="25917" y="10658"/>
                    </a:cubicBezTo>
                    <a:cubicBezTo>
                      <a:pt x="26360" y="9069"/>
                      <a:pt x="25843" y="6444"/>
                      <a:pt x="24105" y="5335"/>
                    </a:cubicBezTo>
                    <a:cubicBezTo>
                      <a:pt x="23588" y="5002"/>
                      <a:pt x="19632" y="3893"/>
                      <a:pt x="18264" y="3486"/>
                    </a:cubicBezTo>
                    <a:cubicBezTo>
                      <a:pt x="15232" y="2599"/>
                      <a:pt x="12164" y="1638"/>
                      <a:pt x="9095" y="898"/>
                    </a:cubicBezTo>
                    <a:cubicBezTo>
                      <a:pt x="7717" y="554"/>
                      <a:pt x="5238" y="0"/>
                      <a:pt x="34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1183;p53">
                <a:extLst>
                  <a:ext uri="{FF2B5EF4-FFF2-40B4-BE49-F238E27FC236}">
                    <a16:creationId xmlns:a16="http://schemas.microsoft.com/office/drawing/2014/main" id="{65E72154-4F55-43D5-A288-E871350FF2C7}"/>
                  </a:ext>
                </a:extLst>
              </p:cNvPr>
              <p:cNvSpPr/>
              <p:nvPr/>
            </p:nvSpPr>
            <p:spPr>
              <a:xfrm>
                <a:off x="7368383" y="3281751"/>
                <a:ext cx="477494" cy="187425"/>
              </a:xfrm>
              <a:custGeom>
                <a:avLst/>
                <a:gdLst/>
                <a:ahLst/>
                <a:cxnLst/>
                <a:rect l="l" t="t" r="r" b="b"/>
                <a:pathLst>
                  <a:path w="26139" h="10260" extrusionOk="0">
                    <a:moveTo>
                      <a:pt x="185" y="1"/>
                    </a:moveTo>
                    <a:cubicBezTo>
                      <a:pt x="1" y="777"/>
                      <a:pt x="148" y="1554"/>
                      <a:pt x="592" y="2182"/>
                    </a:cubicBezTo>
                    <a:cubicBezTo>
                      <a:pt x="2071" y="4031"/>
                      <a:pt x="6766" y="5251"/>
                      <a:pt x="9280" y="6138"/>
                    </a:cubicBezTo>
                    <a:cubicBezTo>
                      <a:pt x="12718" y="7284"/>
                      <a:pt x="16268" y="8652"/>
                      <a:pt x="19743" y="9724"/>
                    </a:cubicBezTo>
                    <a:cubicBezTo>
                      <a:pt x="20867" y="10073"/>
                      <a:pt x="21874" y="10259"/>
                      <a:pt x="22748" y="10259"/>
                    </a:cubicBezTo>
                    <a:cubicBezTo>
                      <a:pt x="24373" y="10259"/>
                      <a:pt x="25538" y="9614"/>
                      <a:pt x="26139" y="8171"/>
                    </a:cubicBezTo>
                    <a:lnTo>
                      <a:pt x="26139" y="8134"/>
                    </a:lnTo>
                    <a:cubicBezTo>
                      <a:pt x="25584" y="6249"/>
                      <a:pt x="21333" y="4733"/>
                      <a:pt x="19114" y="4031"/>
                    </a:cubicBezTo>
                    <a:cubicBezTo>
                      <a:pt x="17118" y="3365"/>
                      <a:pt x="15048" y="2811"/>
                      <a:pt x="12977" y="2367"/>
                    </a:cubicBezTo>
                    <a:cubicBezTo>
                      <a:pt x="11129" y="1960"/>
                      <a:pt x="9280" y="1664"/>
                      <a:pt x="7469" y="1184"/>
                    </a:cubicBezTo>
                    <a:cubicBezTo>
                      <a:pt x="5472" y="740"/>
                      <a:pt x="3328" y="112"/>
                      <a:pt x="129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1184;p53">
                <a:extLst>
                  <a:ext uri="{FF2B5EF4-FFF2-40B4-BE49-F238E27FC236}">
                    <a16:creationId xmlns:a16="http://schemas.microsoft.com/office/drawing/2014/main" id="{24277B2D-8914-4596-8AC5-779CDFCE36B0}"/>
                  </a:ext>
                </a:extLst>
              </p:cNvPr>
              <p:cNvSpPr/>
              <p:nvPr/>
            </p:nvSpPr>
            <p:spPr>
              <a:xfrm>
                <a:off x="7383234" y="3239881"/>
                <a:ext cx="229093" cy="58474"/>
              </a:xfrm>
              <a:custGeom>
                <a:avLst/>
                <a:gdLst/>
                <a:ahLst/>
                <a:cxnLst/>
                <a:rect l="l" t="t" r="r" b="b"/>
                <a:pathLst>
                  <a:path w="12541" h="3201" extrusionOk="0">
                    <a:moveTo>
                      <a:pt x="1110" y="1"/>
                    </a:moveTo>
                    <a:cubicBezTo>
                      <a:pt x="703" y="333"/>
                      <a:pt x="334" y="666"/>
                      <a:pt x="1" y="1036"/>
                    </a:cubicBezTo>
                    <a:cubicBezTo>
                      <a:pt x="61" y="1024"/>
                      <a:pt x="142" y="1018"/>
                      <a:pt x="241" y="1018"/>
                    </a:cubicBezTo>
                    <a:cubicBezTo>
                      <a:pt x="1970" y="1018"/>
                      <a:pt x="9285" y="2754"/>
                      <a:pt x="10648" y="3069"/>
                    </a:cubicBezTo>
                    <a:cubicBezTo>
                      <a:pt x="11036" y="3160"/>
                      <a:pt x="11363" y="3201"/>
                      <a:pt x="11619" y="3201"/>
                    </a:cubicBezTo>
                    <a:cubicBezTo>
                      <a:pt x="12510" y="3201"/>
                      <a:pt x="12541" y="2703"/>
                      <a:pt x="11277" y="2071"/>
                    </a:cubicBezTo>
                    <a:cubicBezTo>
                      <a:pt x="9613" y="1258"/>
                      <a:pt x="1110" y="1"/>
                      <a:pt x="11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1185;p53">
                <a:extLst>
                  <a:ext uri="{FF2B5EF4-FFF2-40B4-BE49-F238E27FC236}">
                    <a16:creationId xmlns:a16="http://schemas.microsoft.com/office/drawing/2014/main" id="{7245C363-696F-4220-8A39-FE62FEA088A6}"/>
                  </a:ext>
                </a:extLst>
              </p:cNvPr>
              <p:cNvSpPr/>
              <p:nvPr/>
            </p:nvSpPr>
            <p:spPr>
              <a:xfrm>
                <a:off x="7442001" y="3375627"/>
                <a:ext cx="238409" cy="461492"/>
              </a:xfrm>
              <a:custGeom>
                <a:avLst/>
                <a:gdLst/>
                <a:ahLst/>
                <a:cxnLst/>
                <a:rect l="l" t="t" r="r" b="b"/>
                <a:pathLst>
                  <a:path w="13051" h="25263" extrusionOk="0">
                    <a:moveTo>
                      <a:pt x="8097" y="1"/>
                    </a:moveTo>
                    <a:cubicBezTo>
                      <a:pt x="8097" y="1"/>
                      <a:pt x="666" y="21555"/>
                      <a:pt x="0" y="23070"/>
                    </a:cubicBezTo>
                    <a:cubicBezTo>
                      <a:pt x="1522" y="24408"/>
                      <a:pt x="3565" y="25262"/>
                      <a:pt x="5482" y="25262"/>
                    </a:cubicBezTo>
                    <a:cubicBezTo>
                      <a:pt x="6266" y="25262"/>
                      <a:pt x="7029" y="25119"/>
                      <a:pt x="7727" y="24808"/>
                    </a:cubicBezTo>
                    <a:cubicBezTo>
                      <a:pt x="10352" y="16564"/>
                      <a:pt x="13051" y="1184"/>
                      <a:pt x="13051" y="1184"/>
                    </a:cubicBezTo>
                    <a:lnTo>
                      <a:pt x="809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87" name="Google Shape;789;p51">
            <a:extLst>
              <a:ext uri="{FF2B5EF4-FFF2-40B4-BE49-F238E27FC236}">
                <a16:creationId xmlns:a16="http://schemas.microsoft.com/office/drawing/2014/main" id="{08A4F56E-C3F2-4B33-AD58-B0918364123D}"/>
              </a:ext>
            </a:extLst>
          </p:cNvPr>
          <p:cNvSpPr txBox="1">
            <a:spLocks/>
          </p:cNvSpPr>
          <p:nvPr/>
        </p:nvSpPr>
        <p:spPr>
          <a:xfrm>
            <a:off x="2032433" y="3831356"/>
            <a:ext cx="3962492"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Gameplay Mechanics</a:t>
            </a:r>
            <a:endPar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endParaRPr>
          </a:p>
        </p:txBody>
      </p:sp>
      <p:sp>
        <p:nvSpPr>
          <p:cNvPr id="688" name="Google Shape;5593;p92">
            <a:extLst>
              <a:ext uri="{FF2B5EF4-FFF2-40B4-BE49-F238E27FC236}">
                <a16:creationId xmlns:a16="http://schemas.microsoft.com/office/drawing/2014/main" id="{C4591271-3880-43F6-BB87-94A3BA420AFB}"/>
              </a:ext>
            </a:extLst>
          </p:cNvPr>
          <p:cNvSpPr/>
          <p:nvPr/>
        </p:nvSpPr>
        <p:spPr>
          <a:xfrm>
            <a:off x="2035049" y="386926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5593;p92">
            <a:extLst>
              <a:ext uri="{FF2B5EF4-FFF2-40B4-BE49-F238E27FC236}">
                <a16:creationId xmlns:a16="http://schemas.microsoft.com/office/drawing/2014/main" id="{90DA3FD3-8020-482E-99B3-E8EE4EF110A6}"/>
              </a:ext>
            </a:extLst>
          </p:cNvPr>
          <p:cNvSpPr/>
          <p:nvPr/>
        </p:nvSpPr>
        <p:spPr>
          <a:xfrm>
            <a:off x="2035049" y="413210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5593;p92">
            <a:extLst>
              <a:ext uri="{FF2B5EF4-FFF2-40B4-BE49-F238E27FC236}">
                <a16:creationId xmlns:a16="http://schemas.microsoft.com/office/drawing/2014/main" id="{A60105B6-0CF5-4149-BFA6-17AD38B93BDD}"/>
              </a:ext>
            </a:extLst>
          </p:cNvPr>
          <p:cNvSpPr/>
          <p:nvPr/>
        </p:nvSpPr>
        <p:spPr>
          <a:xfrm>
            <a:off x="2035049" y="439493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292510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37C3534D-9AE2-4B64-90F9-967AF87B1150}"/>
              </a:ext>
            </a:extLst>
          </p:cNvPr>
          <p:cNvSpPr txBox="1"/>
          <p:nvPr/>
        </p:nvSpPr>
        <p:spPr>
          <a:xfrm>
            <a:off x="3657600" y="796606"/>
            <a:ext cx="2730322" cy="646331"/>
          </a:xfrm>
          <a:prstGeom prst="rect">
            <a:avLst/>
          </a:prstGeom>
          <a:noFill/>
        </p:spPr>
        <p:txBody>
          <a:bodyPr wrap="square" rtlCol="0">
            <a:spAutoFit/>
          </a:bodyPr>
          <a:lstStyle/>
          <a:p>
            <a:r>
              <a:rPr lang="en-US" sz="3600" dirty="0">
                <a:latin typeface="Saira SemiCondensed ExtraBold" panose="00000906000000000000" pitchFamily="2" charset="0"/>
              </a:rPr>
              <a:t>Forward</a:t>
            </a:r>
          </a:p>
        </p:txBody>
      </p:sp>
      <p:sp>
        <p:nvSpPr>
          <p:cNvPr id="2" name="Google Shape;11;p2">
            <a:extLst>
              <a:ext uri="{FF2B5EF4-FFF2-40B4-BE49-F238E27FC236}">
                <a16:creationId xmlns:a16="http://schemas.microsoft.com/office/drawing/2014/main" id="{3A63F046-AA2B-4B6E-A7C6-5E2BA91E3F3C}"/>
              </a:ext>
            </a:extLst>
          </p:cNvPr>
          <p:cNvSpPr/>
          <p:nvPr/>
        </p:nvSpPr>
        <p:spPr>
          <a:xfrm rot="13022660">
            <a:off x="-722166" y="4844947"/>
            <a:ext cx="3464790" cy="3464790"/>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2141C65C-629D-4121-9D50-F0CBDD08A384}"/>
              </a:ext>
            </a:extLst>
          </p:cNvPr>
          <p:cNvSpPr/>
          <p:nvPr/>
        </p:nvSpPr>
        <p:spPr>
          <a:xfrm rot="222267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itle 6">
            <a:extLst>
              <a:ext uri="{FF2B5EF4-FFF2-40B4-BE49-F238E27FC236}">
                <a16:creationId xmlns:a16="http://schemas.microsoft.com/office/drawing/2014/main" id="{A382E958-8BC2-4C94-9BFB-A6C7AD576FC0}"/>
              </a:ext>
            </a:extLst>
          </p:cNvPr>
          <p:cNvSpPr txBox="1">
            <a:spLocks/>
          </p:cNvSpPr>
          <p:nvPr/>
        </p:nvSpPr>
        <p:spPr>
          <a:xfrm>
            <a:off x="1141413" y="618518"/>
            <a:ext cx="9905998" cy="1478570"/>
          </a:xfrm>
          <a:prstGeom prst="rect">
            <a:avLst/>
          </a:prstGeom>
          <a:effectLst>
            <a:glow>
              <a:schemeClr val="accent1">
                <a:alpha val="40000"/>
              </a:schemeClr>
            </a:glow>
          </a:effectLst>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solidFill>
                  <a:srgbClr val="F7743C"/>
                </a:solidFill>
                <a:latin typeface="Saira SemiCondensed ExtraBold" panose="00000906000000000000" pitchFamily="2" charset="0"/>
              </a:rPr>
              <a:t>Product reverse engineer</a:t>
            </a:r>
          </a:p>
        </p:txBody>
      </p:sp>
      <p:graphicFrame>
        <p:nvGraphicFramePr>
          <p:cNvPr id="9" name="Diagram 8">
            <a:extLst>
              <a:ext uri="{FF2B5EF4-FFF2-40B4-BE49-F238E27FC236}">
                <a16:creationId xmlns:a16="http://schemas.microsoft.com/office/drawing/2014/main" id="{44CEDBED-C88E-4EF1-B063-2C64B7E48F71}"/>
              </a:ext>
            </a:extLst>
          </p:cNvPr>
          <p:cNvGraphicFramePr/>
          <p:nvPr>
            <p:extLst>
              <p:ext uri="{D42A27DB-BD31-4B8C-83A1-F6EECF244321}">
                <p14:modId xmlns:p14="http://schemas.microsoft.com/office/powerpoint/2010/main" val="3664972700"/>
              </p:ext>
            </p:extLst>
          </p:nvPr>
        </p:nvGraphicFramePr>
        <p:xfrm>
          <a:off x="1903211" y="1226713"/>
          <a:ext cx="8128000" cy="22022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58CA6F6C-DAEF-43A1-8217-4D9C909A39C9}"/>
              </a:ext>
            </a:extLst>
          </p:cNvPr>
          <p:cNvGraphicFramePr/>
          <p:nvPr>
            <p:extLst>
              <p:ext uri="{D42A27DB-BD31-4B8C-83A1-F6EECF244321}">
                <p14:modId xmlns:p14="http://schemas.microsoft.com/office/powerpoint/2010/main" val="3879008536"/>
              </p:ext>
            </p:extLst>
          </p:nvPr>
        </p:nvGraphicFramePr>
        <p:xfrm>
          <a:off x="4029055" y="3067915"/>
          <a:ext cx="2956115" cy="179618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1" name="Diagram 10">
            <a:extLst>
              <a:ext uri="{FF2B5EF4-FFF2-40B4-BE49-F238E27FC236}">
                <a16:creationId xmlns:a16="http://schemas.microsoft.com/office/drawing/2014/main" id="{7E38784E-B47F-4E3A-B44E-EB34006749D7}"/>
              </a:ext>
            </a:extLst>
          </p:cNvPr>
          <p:cNvGraphicFramePr/>
          <p:nvPr>
            <p:extLst>
              <p:ext uri="{D42A27DB-BD31-4B8C-83A1-F6EECF244321}">
                <p14:modId xmlns:p14="http://schemas.microsoft.com/office/powerpoint/2010/main" val="3480085469"/>
              </p:ext>
            </p:extLst>
          </p:nvPr>
        </p:nvGraphicFramePr>
        <p:xfrm>
          <a:off x="1903211" y="4530143"/>
          <a:ext cx="8128000" cy="2202287"/>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nvGrpSpPr>
          <p:cNvPr id="13" name="Google Shape;1717;p63">
            <a:extLst>
              <a:ext uri="{FF2B5EF4-FFF2-40B4-BE49-F238E27FC236}">
                <a16:creationId xmlns:a16="http://schemas.microsoft.com/office/drawing/2014/main" id="{66345A35-864F-40FD-B046-DA3255F42F53}"/>
              </a:ext>
            </a:extLst>
          </p:cNvPr>
          <p:cNvGrpSpPr/>
          <p:nvPr/>
        </p:nvGrpSpPr>
        <p:grpSpPr>
          <a:xfrm>
            <a:off x="8112344" y="3731436"/>
            <a:ext cx="765479" cy="711775"/>
            <a:chOff x="4818730" y="3307263"/>
            <a:chExt cx="1827512" cy="1699300"/>
          </a:xfrm>
        </p:grpSpPr>
        <p:sp>
          <p:nvSpPr>
            <p:cNvPr id="14" name="Google Shape;1718;p63">
              <a:extLst>
                <a:ext uri="{FF2B5EF4-FFF2-40B4-BE49-F238E27FC236}">
                  <a16:creationId xmlns:a16="http://schemas.microsoft.com/office/drawing/2014/main" id="{F4F99327-60ED-4FC7-A220-4BED2E931724}"/>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19;p63">
              <a:extLst>
                <a:ext uri="{FF2B5EF4-FFF2-40B4-BE49-F238E27FC236}">
                  <a16:creationId xmlns:a16="http://schemas.microsoft.com/office/drawing/2014/main" id="{C2180E7A-E854-4C8A-9FF9-B17B2C6E559E}"/>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720;p63">
              <a:extLst>
                <a:ext uri="{FF2B5EF4-FFF2-40B4-BE49-F238E27FC236}">
                  <a16:creationId xmlns:a16="http://schemas.microsoft.com/office/drawing/2014/main" id="{F4E810E0-987E-4EC0-A627-16466C9C5EF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21;p63">
              <a:extLst>
                <a:ext uri="{FF2B5EF4-FFF2-40B4-BE49-F238E27FC236}">
                  <a16:creationId xmlns:a16="http://schemas.microsoft.com/office/drawing/2014/main" id="{DB7381A9-97D9-4F44-A5F9-C1AE5A7E0CA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2;p63">
              <a:extLst>
                <a:ext uri="{FF2B5EF4-FFF2-40B4-BE49-F238E27FC236}">
                  <a16:creationId xmlns:a16="http://schemas.microsoft.com/office/drawing/2014/main" id="{1627254F-5D55-44B8-9AA0-BAB8BAAECC31}"/>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3;p63">
              <a:extLst>
                <a:ext uri="{FF2B5EF4-FFF2-40B4-BE49-F238E27FC236}">
                  <a16:creationId xmlns:a16="http://schemas.microsoft.com/office/drawing/2014/main" id="{DF4188F4-429D-4058-BB1C-F8CE6BACBCFE}"/>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4;p63">
              <a:extLst>
                <a:ext uri="{FF2B5EF4-FFF2-40B4-BE49-F238E27FC236}">
                  <a16:creationId xmlns:a16="http://schemas.microsoft.com/office/drawing/2014/main" id="{E52656C9-E27D-428F-8E2C-6F2FEDBEF0B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5;p63">
              <a:extLst>
                <a:ext uri="{FF2B5EF4-FFF2-40B4-BE49-F238E27FC236}">
                  <a16:creationId xmlns:a16="http://schemas.microsoft.com/office/drawing/2014/main" id="{53759EAB-8C41-4F1C-8297-FF421570D297}"/>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6;p63">
              <a:extLst>
                <a:ext uri="{FF2B5EF4-FFF2-40B4-BE49-F238E27FC236}">
                  <a16:creationId xmlns:a16="http://schemas.microsoft.com/office/drawing/2014/main" id="{087F30BF-1BEE-43C2-9A59-29093861E41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7;p63">
              <a:extLst>
                <a:ext uri="{FF2B5EF4-FFF2-40B4-BE49-F238E27FC236}">
                  <a16:creationId xmlns:a16="http://schemas.microsoft.com/office/drawing/2014/main" id="{FAAF1555-6F56-45EF-B71C-0600326377D8}"/>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8;p63">
              <a:extLst>
                <a:ext uri="{FF2B5EF4-FFF2-40B4-BE49-F238E27FC236}">
                  <a16:creationId xmlns:a16="http://schemas.microsoft.com/office/drawing/2014/main" id="{AFF399D8-B440-4546-8FE3-71FD2D91DDE6}"/>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9;p63">
              <a:extLst>
                <a:ext uri="{FF2B5EF4-FFF2-40B4-BE49-F238E27FC236}">
                  <a16:creationId xmlns:a16="http://schemas.microsoft.com/office/drawing/2014/main" id="{18DB7058-11B9-45A1-AE93-3DCCE67022B8}"/>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30;p63">
              <a:extLst>
                <a:ext uri="{FF2B5EF4-FFF2-40B4-BE49-F238E27FC236}">
                  <a16:creationId xmlns:a16="http://schemas.microsoft.com/office/drawing/2014/main" id="{45DAD789-3DCF-45F8-A0C7-E62412D04302}"/>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31;p63">
              <a:extLst>
                <a:ext uri="{FF2B5EF4-FFF2-40B4-BE49-F238E27FC236}">
                  <a16:creationId xmlns:a16="http://schemas.microsoft.com/office/drawing/2014/main" id="{F65E3CAB-A269-41F4-AA71-4A8E0C7C6295}"/>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2;p63">
              <a:extLst>
                <a:ext uri="{FF2B5EF4-FFF2-40B4-BE49-F238E27FC236}">
                  <a16:creationId xmlns:a16="http://schemas.microsoft.com/office/drawing/2014/main" id="{DF9982E3-3774-40D3-8911-3C31EED48508}"/>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3;p63">
              <a:extLst>
                <a:ext uri="{FF2B5EF4-FFF2-40B4-BE49-F238E27FC236}">
                  <a16:creationId xmlns:a16="http://schemas.microsoft.com/office/drawing/2014/main" id="{17D56CF2-52B8-4502-99F8-B5D7A1B267A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4;p63">
              <a:extLst>
                <a:ext uri="{FF2B5EF4-FFF2-40B4-BE49-F238E27FC236}">
                  <a16:creationId xmlns:a16="http://schemas.microsoft.com/office/drawing/2014/main" id="{473253BD-9CE3-4CB2-9818-FCE4EFC0A840}"/>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5;p63">
              <a:extLst>
                <a:ext uri="{FF2B5EF4-FFF2-40B4-BE49-F238E27FC236}">
                  <a16:creationId xmlns:a16="http://schemas.microsoft.com/office/drawing/2014/main" id="{37070DE2-B36C-432E-9861-C9A1EA4418A4}"/>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6;p63">
              <a:extLst>
                <a:ext uri="{FF2B5EF4-FFF2-40B4-BE49-F238E27FC236}">
                  <a16:creationId xmlns:a16="http://schemas.microsoft.com/office/drawing/2014/main" id="{E8BB1B50-A6C4-443F-8468-ACB6F71AB84E}"/>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7;p63">
              <a:extLst>
                <a:ext uri="{FF2B5EF4-FFF2-40B4-BE49-F238E27FC236}">
                  <a16:creationId xmlns:a16="http://schemas.microsoft.com/office/drawing/2014/main" id="{43F66DBB-5EC0-4E08-A545-414F50DDDB7B}"/>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8;p63">
              <a:extLst>
                <a:ext uri="{FF2B5EF4-FFF2-40B4-BE49-F238E27FC236}">
                  <a16:creationId xmlns:a16="http://schemas.microsoft.com/office/drawing/2014/main" id="{60ADD61A-CF1E-492D-AAE2-13E3F13FE6B1}"/>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9;p63">
              <a:extLst>
                <a:ext uri="{FF2B5EF4-FFF2-40B4-BE49-F238E27FC236}">
                  <a16:creationId xmlns:a16="http://schemas.microsoft.com/office/drawing/2014/main" id="{3D4172F0-A290-4FFD-9C4C-080E4A1E9B1D}"/>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40;p63">
              <a:extLst>
                <a:ext uri="{FF2B5EF4-FFF2-40B4-BE49-F238E27FC236}">
                  <a16:creationId xmlns:a16="http://schemas.microsoft.com/office/drawing/2014/main" id="{25E2F107-C6DF-49E3-94D8-B9DAD3F4E661}"/>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41;p63">
              <a:extLst>
                <a:ext uri="{FF2B5EF4-FFF2-40B4-BE49-F238E27FC236}">
                  <a16:creationId xmlns:a16="http://schemas.microsoft.com/office/drawing/2014/main" id="{497303A4-BF0A-446A-9649-F9EC7B59994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2;p63">
              <a:extLst>
                <a:ext uri="{FF2B5EF4-FFF2-40B4-BE49-F238E27FC236}">
                  <a16:creationId xmlns:a16="http://schemas.microsoft.com/office/drawing/2014/main" id="{9A5BF875-6846-4C24-9909-E194B786B23F}"/>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 name="Google Shape;1743;p63">
            <a:extLst>
              <a:ext uri="{FF2B5EF4-FFF2-40B4-BE49-F238E27FC236}">
                <a16:creationId xmlns:a16="http://schemas.microsoft.com/office/drawing/2014/main" id="{7F8FAFC4-C845-4F4D-9202-F6AF89AB7558}"/>
              </a:ext>
            </a:extLst>
          </p:cNvPr>
          <p:cNvGrpSpPr/>
          <p:nvPr/>
        </p:nvGrpSpPr>
        <p:grpSpPr>
          <a:xfrm rot="14053952">
            <a:off x="10231857" y="3513110"/>
            <a:ext cx="161701" cy="641985"/>
            <a:chOff x="7004550" y="3676293"/>
            <a:chExt cx="161700" cy="641982"/>
          </a:xfrm>
        </p:grpSpPr>
        <p:sp>
          <p:nvSpPr>
            <p:cNvPr id="40" name="Google Shape;1744;p63">
              <a:extLst>
                <a:ext uri="{FF2B5EF4-FFF2-40B4-BE49-F238E27FC236}">
                  <a16:creationId xmlns:a16="http://schemas.microsoft.com/office/drawing/2014/main" id="{05D9C4D9-2434-47B5-A996-92CBC983CCE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745;p63">
              <a:extLst>
                <a:ext uri="{FF2B5EF4-FFF2-40B4-BE49-F238E27FC236}">
                  <a16:creationId xmlns:a16="http://schemas.microsoft.com/office/drawing/2014/main" id="{777BEB7A-7556-47F9-8A45-CE922FA3041C}"/>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46;p63">
              <a:extLst>
                <a:ext uri="{FF2B5EF4-FFF2-40B4-BE49-F238E27FC236}">
                  <a16:creationId xmlns:a16="http://schemas.microsoft.com/office/drawing/2014/main" id="{9FB4B5C4-A4D9-4812-86AE-1A4F8BB805A1}"/>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747;p63">
              <a:extLst>
                <a:ext uri="{FF2B5EF4-FFF2-40B4-BE49-F238E27FC236}">
                  <a16:creationId xmlns:a16="http://schemas.microsoft.com/office/drawing/2014/main" id="{6D5541B0-2860-4CD5-B0F0-2672A0648EE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4" name="Google Shape;1748;p63">
            <a:extLst>
              <a:ext uri="{FF2B5EF4-FFF2-40B4-BE49-F238E27FC236}">
                <a16:creationId xmlns:a16="http://schemas.microsoft.com/office/drawing/2014/main" id="{04CEE5DF-B458-4FDB-8E07-4E80163B5FFA}"/>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749;p63">
            <a:extLst>
              <a:ext uri="{FF2B5EF4-FFF2-40B4-BE49-F238E27FC236}">
                <a16:creationId xmlns:a16="http://schemas.microsoft.com/office/drawing/2014/main" id="{C88C4145-0F61-4C6A-A42B-A6E630AC14C9}"/>
              </a:ext>
            </a:extLst>
          </p:cNvPr>
          <p:cNvSpPr/>
          <p:nvPr/>
        </p:nvSpPr>
        <p:spPr>
          <a:xfrm rot="10800000" flipH="1">
            <a:off x="557225" y="26364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50;p63">
            <a:extLst>
              <a:ext uri="{FF2B5EF4-FFF2-40B4-BE49-F238E27FC236}">
                <a16:creationId xmlns:a16="http://schemas.microsoft.com/office/drawing/2014/main" id="{A924D5BA-137F-45AE-ADA8-E5F002E80664}"/>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751;p63">
            <a:extLst>
              <a:ext uri="{FF2B5EF4-FFF2-40B4-BE49-F238E27FC236}">
                <a16:creationId xmlns:a16="http://schemas.microsoft.com/office/drawing/2014/main" id="{0C3EE907-2AD1-4AE9-A0D4-013598F5DA20}"/>
              </a:ext>
            </a:extLst>
          </p:cNvPr>
          <p:cNvSpPr/>
          <p:nvPr/>
        </p:nvSpPr>
        <p:spPr>
          <a:xfrm>
            <a:off x="7806578" y="11682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752;p63">
            <a:extLst>
              <a:ext uri="{FF2B5EF4-FFF2-40B4-BE49-F238E27FC236}">
                <a16:creationId xmlns:a16="http://schemas.microsoft.com/office/drawing/2014/main" id="{0095FE31-32C7-4594-B402-70A720988CC5}"/>
              </a:ext>
            </a:extLst>
          </p:cNvPr>
          <p:cNvSpPr/>
          <p:nvPr/>
        </p:nvSpPr>
        <p:spPr>
          <a:xfrm>
            <a:off x="1575668"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753;p63">
            <a:extLst>
              <a:ext uri="{FF2B5EF4-FFF2-40B4-BE49-F238E27FC236}">
                <a16:creationId xmlns:a16="http://schemas.microsoft.com/office/drawing/2014/main" id="{A4FC411E-99A0-41C0-A16E-394723B531FC}"/>
              </a:ext>
            </a:extLst>
          </p:cNvPr>
          <p:cNvSpPr/>
          <p:nvPr/>
        </p:nvSpPr>
        <p:spPr>
          <a:xfrm>
            <a:off x="10055195" y="50648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751;p63">
            <a:extLst>
              <a:ext uri="{FF2B5EF4-FFF2-40B4-BE49-F238E27FC236}">
                <a16:creationId xmlns:a16="http://schemas.microsoft.com/office/drawing/2014/main" id="{A202E17C-0B2B-4203-A92D-AF6A69A3EB80}"/>
              </a:ext>
            </a:extLst>
          </p:cNvPr>
          <p:cNvSpPr/>
          <p:nvPr/>
        </p:nvSpPr>
        <p:spPr>
          <a:xfrm>
            <a:off x="10212947"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751;p63">
            <a:extLst>
              <a:ext uri="{FF2B5EF4-FFF2-40B4-BE49-F238E27FC236}">
                <a16:creationId xmlns:a16="http://schemas.microsoft.com/office/drawing/2014/main" id="{775D714C-9290-4855-88C2-EA03729F2D4B}"/>
              </a:ext>
            </a:extLst>
          </p:cNvPr>
          <p:cNvSpPr/>
          <p:nvPr/>
        </p:nvSpPr>
        <p:spPr>
          <a:xfrm>
            <a:off x="4131972" y="315403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751;p63">
            <a:extLst>
              <a:ext uri="{FF2B5EF4-FFF2-40B4-BE49-F238E27FC236}">
                <a16:creationId xmlns:a16="http://schemas.microsoft.com/office/drawing/2014/main" id="{61D2EB0C-6D4D-4534-A78C-ACDA25E51069}"/>
              </a:ext>
            </a:extLst>
          </p:cNvPr>
          <p:cNvSpPr/>
          <p:nvPr/>
        </p:nvSpPr>
        <p:spPr>
          <a:xfrm>
            <a:off x="7224677" y="428025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067990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4986900" y="134132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3</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3970800" y="2593650"/>
            <a:ext cx="4250400"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a:ln>
                  <a:noFill/>
                </a:ln>
                <a:solidFill>
                  <a:srgbClr val="F7743C"/>
                </a:solidFill>
                <a:effectLst/>
                <a:uLnTx/>
                <a:uFillTx/>
                <a:latin typeface="Saira SemiCondensed ExtraBold"/>
                <a:sym typeface="Saira SemiCondensed ExtraBold"/>
              </a:rPr>
              <a:t>Project goal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rot="10800000">
            <a:off x="4172400" y="3334100"/>
            <a:ext cx="384720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0311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101;p69">
            <a:extLst>
              <a:ext uri="{FF2B5EF4-FFF2-40B4-BE49-F238E27FC236}">
                <a16:creationId xmlns:a16="http://schemas.microsoft.com/office/drawing/2014/main" id="{3B858B4E-5AEC-4306-BE30-B9F3552054CE}"/>
              </a:ext>
            </a:extLst>
          </p:cNvPr>
          <p:cNvSpPr/>
          <p:nvPr/>
        </p:nvSpPr>
        <p:spPr>
          <a:xfrm rot="10800000" flipH="1">
            <a:off x="80196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16AE033-99CF-43FF-AE1A-39F09CC71C05}"/>
              </a:ext>
            </a:extLst>
          </p:cNvPr>
          <p:cNvGrpSpPr/>
          <p:nvPr/>
        </p:nvGrpSpPr>
        <p:grpSpPr>
          <a:xfrm>
            <a:off x="1402293" y="709553"/>
            <a:ext cx="2628806" cy="2171047"/>
            <a:chOff x="1402293" y="709553"/>
            <a:chExt cx="2628806" cy="2171047"/>
          </a:xfrm>
        </p:grpSpPr>
        <p:sp>
          <p:nvSpPr>
            <p:cNvPr id="11" name="Google Shape;2085;p69">
              <a:extLst>
                <a:ext uri="{FF2B5EF4-FFF2-40B4-BE49-F238E27FC236}">
                  <a16:creationId xmlns:a16="http://schemas.microsoft.com/office/drawing/2014/main" id="{75C61A51-0076-4F52-B924-2B4B345BDCC3}"/>
                </a:ext>
              </a:extLst>
            </p:cNvPr>
            <p:cNvSpPr/>
            <p:nvPr/>
          </p:nvSpPr>
          <p:spPr>
            <a:xfrm>
              <a:off x="1402293" y="2397548"/>
              <a:ext cx="2628806" cy="48305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 name="Google Shape;2086;p69">
              <a:extLst>
                <a:ext uri="{FF2B5EF4-FFF2-40B4-BE49-F238E27FC236}">
                  <a16:creationId xmlns:a16="http://schemas.microsoft.com/office/drawing/2014/main" id="{639494EB-03C1-4359-832C-5A3CBADB9F67}"/>
                </a:ext>
              </a:extLst>
            </p:cNvPr>
            <p:cNvSpPr/>
            <p:nvPr/>
          </p:nvSpPr>
          <p:spPr>
            <a:xfrm flipH="1">
              <a:off x="1523397" y="709553"/>
              <a:ext cx="2446274" cy="2069939"/>
            </a:xfrm>
            <a:custGeom>
              <a:avLst/>
              <a:gdLst/>
              <a:ahLst/>
              <a:cxnLst/>
              <a:rect l="l" t="t" r="r" b="b"/>
              <a:pathLst>
                <a:path w="84744" h="71707" extrusionOk="0">
                  <a:moveTo>
                    <a:pt x="61662" y="1"/>
                  </a:moveTo>
                  <a:cubicBezTo>
                    <a:pt x="58390" y="1"/>
                    <a:pt x="55233" y="527"/>
                    <a:pt x="52585" y="1351"/>
                  </a:cubicBezTo>
                  <a:cubicBezTo>
                    <a:pt x="41704" y="4725"/>
                    <a:pt x="34500" y="19588"/>
                    <a:pt x="28269" y="27916"/>
                  </a:cubicBezTo>
                  <a:cubicBezTo>
                    <a:pt x="22007" y="36245"/>
                    <a:pt x="16293" y="30257"/>
                    <a:pt x="8147" y="39862"/>
                  </a:cubicBezTo>
                  <a:cubicBezTo>
                    <a:pt x="1" y="49467"/>
                    <a:pt x="5806" y="60531"/>
                    <a:pt x="11946" y="64543"/>
                  </a:cubicBezTo>
                  <a:cubicBezTo>
                    <a:pt x="20022" y="69805"/>
                    <a:pt x="31485" y="71707"/>
                    <a:pt x="42295" y="71707"/>
                  </a:cubicBezTo>
                  <a:cubicBezTo>
                    <a:pt x="54838" y="71707"/>
                    <a:pt x="66501" y="69147"/>
                    <a:pt x="70975" y="66306"/>
                  </a:cubicBezTo>
                  <a:cubicBezTo>
                    <a:pt x="79303" y="61017"/>
                    <a:pt x="84744" y="44421"/>
                    <a:pt x="83771" y="21989"/>
                  </a:cubicBezTo>
                  <a:cubicBezTo>
                    <a:pt x="83059" y="5054"/>
                    <a:pt x="71802" y="1"/>
                    <a:pt x="61662"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2087;p69">
              <a:extLst>
                <a:ext uri="{FF2B5EF4-FFF2-40B4-BE49-F238E27FC236}">
                  <a16:creationId xmlns:a16="http://schemas.microsoft.com/office/drawing/2014/main" id="{52D313A5-AD5F-4765-BEA2-4C739D4C3FD8}"/>
                </a:ext>
              </a:extLst>
            </p:cNvPr>
            <p:cNvSpPr/>
            <p:nvPr/>
          </p:nvSpPr>
          <p:spPr>
            <a:xfrm flipH="1">
              <a:off x="1547986" y="1551313"/>
              <a:ext cx="1986515" cy="1227581"/>
            </a:xfrm>
            <a:custGeom>
              <a:avLst/>
              <a:gdLst/>
              <a:ahLst/>
              <a:cxnLst/>
              <a:rect l="l" t="t" r="r" b="b"/>
              <a:pathLst>
                <a:path w="68817" h="42526" extrusionOk="0">
                  <a:moveTo>
                    <a:pt x="68817" y="1"/>
                  </a:moveTo>
                  <a:lnTo>
                    <a:pt x="68817" y="1"/>
                  </a:lnTo>
                  <a:cubicBezTo>
                    <a:pt x="57175" y="14043"/>
                    <a:pt x="42707" y="22797"/>
                    <a:pt x="21582" y="24864"/>
                  </a:cubicBezTo>
                  <a:cubicBezTo>
                    <a:pt x="12463" y="25776"/>
                    <a:pt x="2585" y="27691"/>
                    <a:pt x="1" y="37174"/>
                  </a:cubicBezTo>
                  <a:cubicBezTo>
                    <a:pt x="7752" y="41070"/>
                    <a:pt x="17729" y="42525"/>
                    <a:pt x="27208" y="42525"/>
                  </a:cubicBezTo>
                  <a:cubicBezTo>
                    <a:pt x="39771" y="42525"/>
                    <a:pt x="51459" y="39968"/>
                    <a:pt x="55929" y="37144"/>
                  </a:cubicBezTo>
                  <a:cubicBezTo>
                    <a:pt x="63346" y="32433"/>
                    <a:pt x="68482" y="18755"/>
                    <a:pt x="6881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088;p69">
              <a:extLst>
                <a:ext uri="{FF2B5EF4-FFF2-40B4-BE49-F238E27FC236}">
                  <a16:creationId xmlns:a16="http://schemas.microsoft.com/office/drawing/2014/main" id="{62ED3329-8ED4-49C4-ACF2-083205D09CD5}"/>
                </a:ext>
              </a:extLst>
            </p:cNvPr>
            <p:cNvSpPr/>
            <p:nvPr/>
          </p:nvSpPr>
          <p:spPr>
            <a:xfrm flipH="1">
              <a:off x="1668186" y="1255158"/>
              <a:ext cx="1889119" cy="668234"/>
            </a:xfrm>
            <a:custGeom>
              <a:avLst/>
              <a:gdLst/>
              <a:ahLst/>
              <a:cxnLst/>
              <a:rect l="l" t="t" r="r" b="b"/>
              <a:pathLst>
                <a:path w="65443" h="23149" extrusionOk="0">
                  <a:moveTo>
                    <a:pt x="47018" y="0"/>
                  </a:moveTo>
                  <a:cubicBezTo>
                    <a:pt x="39165" y="0"/>
                    <a:pt x="30221" y="2281"/>
                    <a:pt x="22372" y="9592"/>
                  </a:cubicBezTo>
                  <a:cubicBezTo>
                    <a:pt x="19423" y="12297"/>
                    <a:pt x="16870" y="15489"/>
                    <a:pt x="12037" y="16856"/>
                  </a:cubicBezTo>
                  <a:cubicBezTo>
                    <a:pt x="5745" y="18619"/>
                    <a:pt x="1520" y="18711"/>
                    <a:pt x="1" y="21051"/>
                  </a:cubicBezTo>
                  <a:cubicBezTo>
                    <a:pt x="261" y="20968"/>
                    <a:pt x="601" y="20931"/>
                    <a:pt x="1012" y="20931"/>
                  </a:cubicBezTo>
                  <a:cubicBezTo>
                    <a:pt x="4199" y="20931"/>
                    <a:pt x="11689" y="23148"/>
                    <a:pt x="20062" y="23148"/>
                  </a:cubicBezTo>
                  <a:cubicBezTo>
                    <a:pt x="29059" y="23148"/>
                    <a:pt x="39089" y="20443"/>
                    <a:pt x="45928" y="16552"/>
                  </a:cubicBezTo>
                  <a:cubicBezTo>
                    <a:pt x="52828" y="12935"/>
                    <a:pt x="57904" y="5762"/>
                    <a:pt x="65443" y="4273"/>
                  </a:cubicBezTo>
                  <a:cubicBezTo>
                    <a:pt x="62075" y="2435"/>
                    <a:pt x="55130" y="0"/>
                    <a:pt x="4701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089;p69">
              <a:extLst>
                <a:ext uri="{FF2B5EF4-FFF2-40B4-BE49-F238E27FC236}">
                  <a16:creationId xmlns:a16="http://schemas.microsoft.com/office/drawing/2014/main" id="{3AC296AA-A173-468F-8E2B-7261FA91E4BF}"/>
                </a:ext>
              </a:extLst>
            </p:cNvPr>
            <p:cNvSpPr/>
            <p:nvPr/>
          </p:nvSpPr>
          <p:spPr>
            <a:xfrm flipH="1">
              <a:off x="1647160" y="781802"/>
              <a:ext cx="1034379" cy="242797"/>
            </a:xfrm>
            <a:custGeom>
              <a:avLst/>
              <a:gdLst/>
              <a:ahLst/>
              <a:cxnLst/>
              <a:rect l="l" t="t" r="r" b="b"/>
              <a:pathLst>
                <a:path w="35833" h="8411" extrusionOk="0">
                  <a:moveTo>
                    <a:pt x="18192" y="0"/>
                  </a:moveTo>
                  <a:cubicBezTo>
                    <a:pt x="10157" y="0"/>
                    <a:pt x="1333" y="3565"/>
                    <a:pt x="239" y="6994"/>
                  </a:cubicBezTo>
                  <a:cubicBezTo>
                    <a:pt x="0" y="7722"/>
                    <a:pt x="295" y="8009"/>
                    <a:pt x="977" y="8009"/>
                  </a:cubicBezTo>
                  <a:cubicBezTo>
                    <a:pt x="3525" y="8009"/>
                    <a:pt x="11482" y="3998"/>
                    <a:pt x="17226" y="3998"/>
                  </a:cubicBezTo>
                  <a:cubicBezTo>
                    <a:pt x="17581" y="3998"/>
                    <a:pt x="17927" y="4013"/>
                    <a:pt x="18263" y="4045"/>
                  </a:cubicBezTo>
                  <a:cubicBezTo>
                    <a:pt x="24530" y="4677"/>
                    <a:pt x="27580" y="8411"/>
                    <a:pt x="30991" y="8411"/>
                  </a:cubicBezTo>
                  <a:cubicBezTo>
                    <a:pt x="31518" y="8411"/>
                    <a:pt x="32053" y="8322"/>
                    <a:pt x="32610" y="8118"/>
                  </a:cubicBezTo>
                  <a:cubicBezTo>
                    <a:pt x="35832" y="6933"/>
                    <a:pt x="27868" y="459"/>
                    <a:pt x="19510" y="33"/>
                  </a:cubicBezTo>
                  <a:cubicBezTo>
                    <a:pt x="19074" y="11"/>
                    <a:pt x="18634" y="0"/>
                    <a:pt x="1819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090;p69">
              <a:extLst>
                <a:ext uri="{FF2B5EF4-FFF2-40B4-BE49-F238E27FC236}">
                  <a16:creationId xmlns:a16="http://schemas.microsoft.com/office/drawing/2014/main" id="{D4672F95-6AF4-4E90-9F43-246A253FC7C2}"/>
                </a:ext>
              </a:extLst>
            </p:cNvPr>
            <p:cNvSpPr/>
            <p:nvPr/>
          </p:nvSpPr>
          <p:spPr>
            <a:xfrm flipH="1">
              <a:off x="2649613" y="1946821"/>
              <a:ext cx="1112578" cy="263090"/>
            </a:xfrm>
            <a:custGeom>
              <a:avLst/>
              <a:gdLst/>
              <a:ahLst/>
              <a:cxnLst/>
              <a:rect l="l" t="t" r="r" b="b"/>
              <a:pathLst>
                <a:path w="38542" h="9114" extrusionOk="0">
                  <a:moveTo>
                    <a:pt x="3867" y="1"/>
                  </a:moveTo>
                  <a:cubicBezTo>
                    <a:pt x="1446" y="1"/>
                    <a:pt x="0" y="1103"/>
                    <a:pt x="2691" y="3259"/>
                  </a:cubicBezTo>
                  <a:cubicBezTo>
                    <a:pt x="6579" y="6422"/>
                    <a:pt x="10800" y="9114"/>
                    <a:pt x="20270" y="9114"/>
                  </a:cubicBezTo>
                  <a:cubicBezTo>
                    <a:pt x="20721" y="9114"/>
                    <a:pt x="21183" y="9108"/>
                    <a:pt x="21658" y="9095"/>
                  </a:cubicBezTo>
                  <a:cubicBezTo>
                    <a:pt x="32357" y="8761"/>
                    <a:pt x="36856" y="8062"/>
                    <a:pt x="38041" y="5205"/>
                  </a:cubicBezTo>
                  <a:cubicBezTo>
                    <a:pt x="38541" y="4017"/>
                    <a:pt x="37864" y="3631"/>
                    <a:pt x="36491" y="3631"/>
                  </a:cubicBezTo>
                  <a:cubicBezTo>
                    <a:pt x="34526" y="3631"/>
                    <a:pt x="31137" y="4421"/>
                    <a:pt x="27737" y="4779"/>
                  </a:cubicBezTo>
                  <a:cubicBezTo>
                    <a:pt x="27299" y="4824"/>
                    <a:pt x="26823" y="4845"/>
                    <a:pt x="26316" y="4845"/>
                  </a:cubicBezTo>
                  <a:cubicBezTo>
                    <a:pt x="20665" y="4845"/>
                    <a:pt x="11163" y="2217"/>
                    <a:pt x="7676" y="767"/>
                  </a:cubicBezTo>
                  <a:cubicBezTo>
                    <a:pt x="6415" y="254"/>
                    <a:pt x="5029" y="1"/>
                    <a:pt x="386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4058100" y="3512624"/>
            <a:ext cx="4075800"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1" i="0" u="none" strike="noStrike" kern="0" cap="none" spc="0" normalizeH="0" baseline="0" noProof="0" dirty="0">
                <a:ln>
                  <a:noFill/>
                </a:ln>
                <a:solidFill>
                  <a:srgbClr val="D5FA68"/>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1" i="0" u="none" strike="noStrike" kern="0" cap="none" spc="0" normalizeH="0" baseline="0" noProof="0" dirty="0">
                <a:ln>
                  <a:noFill/>
                </a:ln>
                <a:solidFill>
                  <a:srgbClr val="D5FA68"/>
                </a:solidFill>
                <a:effectLst/>
                <a:uLnTx/>
                <a:uFillTx/>
                <a:latin typeface="Sora"/>
                <a:cs typeface="Sora"/>
                <a:sym typeface="Sora"/>
              </a:rPr>
              <a:t>Interactive Genre Gameplay</a:t>
            </a:r>
            <a:r>
              <a:rPr lang="en-US" b="1" kern="0" dirty="0">
                <a:solidFill>
                  <a:srgbClr val="D5FA68"/>
                </a:solidFill>
              </a:rPr>
              <a:t> Mechanic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grpSp>
        <p:nvGrpSpPr>
          <p:cNvPr id="20" name="Google Shape;2091;p69">
            <a:extLst>
              <a:ext uri="{FF2B5EF4-FFF2-40B4-BE49-F238E27FC236}">
                <a16:creationId xmlns:a16="http://schemas.microsoft.com/office/drawing/2014/main" id="{7D2413DB-1003-4F31-828E-6995A60BFE5E}"/>
              </a:ext>
            </a:extLst>
          </p:cNvPr>
          <p:cNvGrpSpPr/>
          <p:nvPr/>
        </p:nvGrpSpPr>
        <p:grpSpPr>
          <a:xfrm>
            <a:off x="9010243" y="3429000"/>
            <a:ext cx="1376237" cy="2576197"/>
            <a:chOff x="6586600" y="2122595"/>
            <a:chExt cx="1376237" cy="2576197"/>
          </a:xfrm>
        </p:grpSpPr>
        <p:sp>
          <p:nvSpPr>
            <p:cNvPr id="21" name="Google Shape;2092;p69">
              <a:extLst>
                <a:ext uri="{FF2B5EF4-FFF2-40B4-BE49-F238E27FC236}">
                  <a16:creationId xmlns:a16="http://schemas.microsoft.com/office/drawing/2014/main" id="{EDD687AD-7633-458E-92E9-5BBE4E85BCC9}"/>
                </a:ext>
              </a:extLst>
            </p:cNvPr>
            <p:cNvSpPr/>
            <p:nvPr/>
          </p:nvSpPr>
          <p:spPr>
            <a:xfrm>
              <a:off x="6586600" y="4263675"/>
              <a:ext cx="1376237" cy="435118"/>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 name="Google Shape;2093;p69">
              <a:extLst>
                <a:ext uri="{FF2B5EF4-FFF2-40B4-BE49-F238E27FC236}">
                  <a16:creationId xmlns:a16="http://schemas.microsoft.com/office/drawing/2014/main" id="{CC30BF4E-61B3-445F-B882-D2A07E0FCE8A}"/>
                </a:ext>
              </a:extLst>
            </p:cNvPr>
            <p:cNvSpPr/>
            <p:nvPr/>
          </p:nvSpPr>
          <p:spPr>
            <a:xfrm>
              <a:off x="7408796" y="4375064"/>
              <a:ext cx="29761" cy="6634"/>
            </a:xfrm>
            <a:custGeom>
              <a:avLst/>
              <a:gdLst/>
              <a:ahLst/>
              <a:cxnLst/>
              <a:rect l="l" t="t" r="r" b="b"/>
              <a:pathLst>
                <a:path w="821" h="183" extrusionOk="0">
                  <a:moveTo>
                    <a:pt x="365" y="1"/>
                  </a:moveTo>
                  <a:lnTo>
                    <a:pt x="0" y="183"/>
                  </a:lnTo>
                  <a:lnTo>
                    <a:pt x="456" y="183"/>
                  </a:lnTo>
                  <a:lnTo>
                    <a:pt x="821" y="1"/>
                  </a:lnTo>
                  <a:close/>
                </a:path>
              </a:pathLst>
            </a:custGeom>
            <a:solidFill>
              <a:srgbClr val="FAD34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094;p69">
              <a:extLst>
                <a:ext uri="{FF2B5EF4-FFF2-40B4-BE49-F238E27FC236}">
                  <a16:creationId xmlns:a16="http://schemas.microsoft.com/office/drawing/2014/main" id="{080BEF34-64BC-4AE5-85E8-8105BEA37CF1}"/>
                </a:ext>
              </a:extLst>
            </p:cNvPr>
            <p:cNvSpPr/>
            <p:nvPr/>
          </p:nvSpPr>
          <p:spPr>
            <a:xfrm>
              <a:off x="6770300" y="2122595"/>
              <a:ext cx="923360" cy="2473084"/>
            </a:xfrm>
            <a:custGeom>
              <a:avLst/>
              <a:gdLst/>
              <a:ahLst/>
              <a:cxnLst/>
              <a:rect l="l" t="t" r="r" b="b"/>
              <a:pathLst>
                <a:path w="25472" h="68223" extrusionOk="0">
                  <a:moveTo>
                    <a:pt x="18089" y="0"/>
                  </a:moveTo>
                  <a:cubicBezTo>
                    <a:pt x="16259" y="0"/>
                    <a:pt x="14442" y="177"/>
                    <a:pt x="12311" y="623"/>
                  </a:cubicBezTo>
                  <a:cubicBezTo>
                    <a:pt x="11186" y="836"/>
                    <a:pt x="10183" y="1505"/>
                    <a:pt x="9544" y="2447"/>
                  </a:cubicBezTo>
                  <a:cubicBezTo>
                    <a:pt x="5715" y="8070"/>
                    <a:pt x="2006" y="13967"/>
                    <a:pt x="760" y="20623"/>
                  </a:cubicBezTo>
                  <a:cubicBezTo>
                    <a:pt x="0" y="24727"/>
                    <a:pt x="213" y="28921"/>
                    <a:pt x="426" y="33086"/>
                  </a:cubicBezTo>
                  <a:lnTo>
                    <a:pt x="2189" y="66885"/>
                  </a:lnTo>
                  <a:cubicBezTo>
                    <a:pt x="7052" y="67706"/>
                    <a:pt x="12219" y="67949"/>
                    <a:pt x="17691" y="68223"/>
                  </a:cubicBezTo>
                  <a:cubicBezTo>
                    <a:pt x="19697" y="66338"/>
                    <a:pt x="22645" y="63025"/>
                    <a:pt x="24651" y="61141"/>
                  </a:cubicBezTo>
                  <a:cubicBezTo>
                    <a:pt x="25472" y="41688"/>
                    <a:pt x="24286" y="22143"/>
                    <a:pt x="24955" y="2690"/>
                  </a:cubicBezTo>
                  <a:cubicBezTo>
                    <a:pt x="25016" y="1505"/>
                    <a:pt x="24104" y="441"/>
                    <a:pt x="22919" y="319"/>
                  </a:cubicBezTo>
                  <a:cubicBezTo>
                    <a:pt x="21171" y="125"/>
                    <a:pt x="19625" y="0"/>
                    <a:pt x="18089" y="0"/>
                  </a:cubicBezTo>
                  <a:close/>
                </a:path>
              </a:pathLst>
            </a:custGeom>
            <a:solidFill>
              <a:srgbClr val="0808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4" name="Google Shape;2095;p69">
              <a:extLst>
                <a:ext uri="{FF2B5EF4-FFF2-40B4-BE49-F238E27FC236}">
                  <a16:creationId xmlns:a16="http://schemas.microsoft.com/office/drawing/2014/main" id="{F4E7C9BD-1453-4F40-8A38-B1059D9CDD6E}"/>
                </a:ext>
              </a:extLst>
            </p:cNvPr>
            <p:cNvSpPr/>
            <p:nvPr/>
          </p:nvSpPr>
          <p:spPr>
            <a:xfrm>
              <a:off x="6857342" y="2157144"/>
              <a:ext cx="733881" cy="744031"/>
            </a:xfrm>
            <a:custGeom>
              <a:avLst/>
              <a:gdLst/>
              <a:ahLst/>
              <a:cxnLst/>
              <a:rect l="l" t="t" r="r" b="b"/>
              <a:pathLst>
                <a:path w="20245" h="20525" extrusionOk="0">
                  <a:moveTo>
                    <a:pt x="14530" y="0"/>
                  </a:moveTo>
                  <a:cubicBezTo>
                    <a:pt x="13606" y="0"/>
                    <a:pt x="12682" y="41"/>
                    <a:pt x="11764" y="126"/>
                  </a:cubicBezTo>
                  <a:cubicBezTo>
                    <a:pt x="11736" y="126"/>
                    <a:pt x="11709" y="125"/>
                    <a:pt x="11682" y="125"/>
                  </a:cubicBezTo>
                  <a:cubicBezTo>
                    <a:pt x="9707" y="125"/>
                    <a:pt x="7891" y="1214"/>
                    <a:pt x="6961" y="2953"/>
                  </a:cubicBezTo>
                  <a:cubicBezTo>
                    <a:pt x="4712" y="6175"/>
                    <a:pt x="3070" y="9792"/>
                    <a:pt x="1460" y="13379"/>
                  </a:cubicBezTo>
                  <a:cubicBezTo>
                    <a:pt x="730" y="15020"/>
                    <a:pt x="1" y="16904"/>
                    <a:pt x="760" y="18515"/>
                  </a:cubicBezTo>
                  <a:cubicBezTo>
                    <a:pt x="1338" y="19579"/>
                    <a:pt x="2402" y="20309"/>
                    <a:pt x="3587" y="20491"/>
                  </a:cubicBezTo>
                  <a:cubicBezTo>
                    <a:pt x="3806" y="20513"/>
                    <a:pt x="4025" y="20524"/>
                    <a:pt x="4242" y="20524"/>
                  </a:cubicBezTo>
                  <a:cubicBezTo>
                    <a:pt x="5228" y="20524"/>
                    <a:pt x="6186" y="20296"/>
                    <a:pt x="7083" y="19822"/>
                  </a:cubicBezTo>
                  <a:cubicBezTo>
                    <a:pt x="10122" y="18363"/>
                    <a:pt x="12037" y="15293"/>
                    <a:pt x="13770" y="12375"/>
                  </a:cubicBezTo>
                  <a:cubicBezTo>
                    <a:pt x="15745" y="9002"/>
                    <a:pt x="17752" y="5658"/>
                    <a:pt x="19727" y="2315"/>
                  </a:cubicBezTo>
                  <a:cubicBezTo>
                    <a:pt x="19970" y="1950"/>
                    <a:pt x="20244" y="1494"/>
                    <a:pt x="20031" y="1008"/>
                  </a:cubicBezTo>
                  <a:cubicBezTo>
                    <a:pt x="19849" y="521"/>
                    <a:pt x="19241" y="369"/>
                    <a:pt x="18724" y="278"/>
                  </a:cubicBezTo>
                  <a:cubicBezTo>
                    <a:pt x="17333" y="95"/>
                    <a:pt x="15930" y="0"/>
                    <a:pt x="1453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096;p69">
              <a:extLst>
                <a:ext uri="{FF2B5EF4-FFF2-40B4-BE49-F238E27FC236}">
                  <a16:creationId xmlns:a16="http://schemas.microsoft.com/office/drawing/2014/main" id="{1793187D-5471-4078-94FD-26D0F22AFFB6}"/>
                </a:ext>
              </a:extLst>
            </p:cNvPr>
            <p:cNvSpPr/>
            <p:nvPr/>
          </p:nvSpPr>
          <p:spPr>
            <a:xfrm>
              <a:off x="7317930" y="3200834"/>
              <a:ext cx="282134" cy="780136"/>
            </a:xfrm>
            <a:custGeom>
              <a:avLst/>
              <a:gdLst/>
              <a:ahLst/>
              <a:cxnLst/>
              <a:rect l="l" t="t" r="r" b="b"/>
              <a:pathLst>
                <a:path w="7783" h="21521" extrusionOk="0">
                  <a:moveTo>
                    <a:pt x="3892" y="365"/>
                  </a:moveTo>
                  <a:cubicBezTo>
                    <a:pt x="5806" y="365"/>
                    <a:pt x="7417" y="5137"/>
                    <a:pt x="7417" y="10760"/>
                  </a:cubicBezTo>
                  <a:cubicBezTo>
                    <a:pt x="7417" y="16383"/>
                    <a:pt x="5806" y="21155"/>
                    <a:pt x="3892" y="21155"/>
                  </a:cubicBezTo>
                  <a:cubicBezTo>
                    <a:pt x="1977" y="21155"/>
                    <a:pt x="366" y="16383"/>
                    <a:pt x="366" y="10760"/>
                  </a:cubicBezTo>
                  <a:cubicBezTo>
                    <a:pt x="366" y="5137"/>
                    <a:pt x="1977" y="365"/>
                    <a:pt x="3892" y="365"/>
                  </a:cubicBezTo>
                  <a:close/>
                  <a:moveTo>
                    <a:pt x="3892" y="0"/>
                  </a:moveTo>
                  <a:cubicBezTo>
                    <a:pt x="1703" y="0"/>
                    <a:pt x="1" y="4711"/>
                    <a:pt x="1" y="10760"/>
                  </a:cubicBezTo>
                  <a:cubicBezTo>
                    <a:pt x="1" y="16809"/>
                    <a:pt x="1703" y="21520"/>
                    <a:pt x="3892" y="21520"/>
                  </a:cubicBezTo>
                  <a:cubicBezTo>
                    <a:pt x="6080" y="21520"/>
                    <a:pt x="7782" y="16809"/>
                    <a:pt x="7782" y="10760"/>
                  </a:cubicBezTo>
                  <a:cubicBezTo>
                    <a:pt x="7782" y="4711"/>
                    <a:pt x="6080" y="0"/>
                    <a:pt x="38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097;p69">
              <a:extLst>
                <a:ext uri="{FF2B5EF4-FFF2-40B4-BE49-F238E27FC236}">
                  <a16:creationId xmlns:a16="http://schemas.microsoft.com/office/drawing/2014/main" id="{7FDC3E65-7F07-45E8-ADD7-94C691011750}"/>
                </a:ext>
              </a:extLst>
            </p:cNvPr>
            <p:cNvSpPr/>
            <p:nvPr/>
          </p:nvSpPr>
          <p:spPr>
            <a:xfrm>
              <a:off x="6927853" y="2773265"/>
              <a:ext cx="182954" cy="69455"/>
            </a:xfrm>
            <a:custGeom>
              <a:avLst/>
              <a:gdLst/>
              <a:ahLst/>
              <a:cxnLst/>
              <a:rect l="l" t="t" r="r" b="b"/>
              <a:pathLst>
                <a:path w="5047" h="1916" extrusionOk="0">
                  <a:moveTo>
                    <a:pt x="1" y="1"/>
                  </a:moveTo>
                  <a:lnTo>
                    <a:pt x="1399" y="1916"/>
                  </a:lnTo>
                  <a:lnTo>
                    <a:pt x="5047" y="457"/>
                  </a:lnTo>
                  <a:lnTo>
                    <a:pt x="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14053952">
            <a:off x="1604593" y="4027631"/>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6014798" y="5443009"/>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9367835" y="-1238844"/>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1;p2">
            <a:extLst>
              <a:ext uri="{FF2B5EF4-FFF2-40B4-BE49-F238E27FC236}">
                <a16:creationId xmlns:a16="http://schemas.microsoft.com/office/drawing/2014/main" id="{FC12F057-F1E2-49D4-903B-0237AA994BBA}"/>
              </a:ext>
            </a:extLst>
          </p:cNvPr>
          <p:cNvSpPr/>
          <p:nvPr/>
        </p:nvSpPr>
        <p:spPr>
          <a:xfrm rot="16997196">
            <a:off x="-632881" y="4361058"/>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593;p92">
            <a:extLst>
              <a:ext uri="{FF2B5EF4-FFF2-40B4-BE49-F238E27FC236}">
                <a16:creationId xmlns:a16="http://schemas.microsoft.com/office/drawing/2014/main" id="{CE4906A0-D96E-478F-8332-5C46E4AB4B20}"/>
              </a:ext>
            </a:extLst>
          </p:cNvPr>
          <p:cNvSpPr/>
          <p:nvPr/>
        </p:nvSpPr>
        <p:spPr>
          <a:xfrm>
            <a:off x="4078542" y="354415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593;p92">
            <a:extLst>
              <a:ext uri="{FF2B5EF4-FFF2-40B4-BE49-F238E27FC236}">
                <a16:creationId xmlns:a16="http://schemas.microsoft.com/office/drawing/2014/main" id="{B08485D2-A497-4E1F-A2A3-6BDD2F177DCC}"/>
              </a:ext>
            </a:extLst>
          </p:cNvPr>
          <p:cNvSpPr/>
          <p:nvPr/>
        </p:nvSpPr>
        <p:spPr>
          <a:xfrm>
            <a:off x="4065587" y="382328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551701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A94C4-9F57-4B79-882E-248A36C86BB8}"/>
              </a:ext>
            </a:extLst>
          </p:cNvPr>
          <p:cNvSpPr>
            <a:spLocks noGrp="1"/>
          </p:cNvSpPr>
          <p:nvPr>
            <p:ph type="title"/>
          </p:nvPr>
        </p:nvSpPr>
        <p:spPr/>
        <p:txBody>
          <a:bodyPr/>
          <a:lstStyle/>
          <a:p>
            <a:r>
              <a:rPr lang="en-US" dirty="0">
                <a:latin typeface="Saira SemiCondensed" panose="00000506000000000000" pitchFamily="2" charset="0"/>
              </a:rPr>
              <a:t>User Experience</a:t>
            </a:r>
          </a:p>
        </p:txBody>
      </p:sp>
      <p:sp>
        <p:nvSpPr>
          <p:cNvPr id="3" name="Text Placeholder 2">
            <a:extLst>
              <a:ext uri="{FF2B5EF4-FFF2-40B4-BE49-F238E27FC236}">
                <a16:creationId xmlns:a16="http://schemas.microsoft.com/office/drawing/2014/main" id="{C90C689D-96C1-41E0-AE02-03811A45ACD6}"/>
              </a:ext>
            </a:extLst>
          </p:cNvPr>
          <p:cNvSpPr>
            <a:spLocks noGrp="1"/>
          </p:cNvSpPr>
          <p:nvPr>
            <p:ph type="body" sz="half" idx="2"/>
          </p:nvPr>
        </p:nvSpPr>
        <p:spPr>
          <a:xfrm>
            <a:off x="1142952" y="3210058"/>
            <a:ext cx="9904459" cy="3038341"/>
          </a:xfrm>
        </p:spPr>
        <p:txBody>
          <a:bodyPr>
            <a:normAutofit fontScale="85000" lnSpcReduction="10000"/>
          </a:bodyPr>
          <a:lstStyle/>
          <a:p>
            <a:r>
              <a:rPr lang="en-US" dirty="0">
                <a:solidFill>
                  <a:srgbClr val="D5FA68"/>
                </a:solidFill>
                <a:latin typeface="Sora" pitchFamily="2" charset="0"/>
                <a:cs typeface="Sora" pitchFamily="2" charset="0"/>
              </a:rPr>
              <a:t>As with any product design must be user centric driven</a:t>
            </a:r>
          </a:p>
          <a:p>
            <a:pPr marL="285750" indent="-285750">
              <a:buFont typeface="Arial" panose="020B0604020202020204" pitchFamily="34" charset="0"/>
              <a:buChar char="•"/>
            </a:pPr>
            <a:r>
              <a:rPr lang="en-US" dirty="0">
                <a:latin typeface="Sora" pitchFamily="2" charset="0"/>
                <a:cs typeface="Sora" pitchFamily="2" charset="0"/>
              </a:rPr>
              <a:t>Follow best practices and common standards from similar successful industry standard products. This will make the user conformable on the experience</a:t>
            </a:r>
          </a:p>
          <a:p>
            <a:pPr marL="285750" indent="-285750">
              <a:buFont typeface="Arial" panose="020B0604020202020204" pitchFamily="34" charset="0"/>
              <a:buChar char="•"/>
            </a:pPr>
            <a:r>
              <a:rPr lang="en-US" dirty="0">
                <a:latin typeface="Sora" pitchFamily="2" charset="0"/>
                <a:cs typeface="Sora" pitchFamily="2" charset="0"/>
              </a:rPr>
              <a:t>Balance of inner systems that create a harmonic experience instead of fluctuations</a:t>
            </a:r>
          </a:p>
          <a:p>
            <a:pPr marL="285750" indent="-285750">
              <a:buFont typeface="Arial" panose="020B0604020202020204" pitchFamily="34" charset="0"/>
              <a:buChar char="•"/>
            </a:pPr>
            <a:r>
              <a:rPr lang="en-US" dirty="0">
                <a:latin typeface="Sora" pitchFamily="2" charset="0"/>
                <a:cs typeface="Sora" pitchFamily="2" charset="0"/>
              </a:rPr>
              <a:t>Depends of the artistic style use this as your base direction. Give the touch of the feel you want to make pronounce</a:t>
            </a:r>
          </a:p>
          <a:p>
            <a:pPr marL="285750" indent="-285750">
              <a:buFont typeface="Arial" panose="020B0604020202020204" pitchFamily="34" charset="0"/>
              <a:buChar char="•"/>
            </a:pPr>
            <a:r>
              <a:rPr lang="en-US" dirty="0">
                <a:latin typeface="Sora" pitchFamily="2" charset="0"/>
                <a:cs typeface="Sora" pitchFamily="2" charset="0"/>
              </a:rPr>
              <a:t>Think always that is more than a program it’s a product and </a:t>
            </a:r>
            <a:r>
              <a:rPr lang="en-US" dirty="0">
                <a:solidFill>
                  <a:srgbClr val="D5FA68"/>
                </a:solidFill>
                <a:latin typeface="Sora" pitchFamily="2" charset="0"/>
                <a:cs typeface="Sora" pitchFamily="2" charset="0"/>
              </a:rPr>
              <a:t>just as good software is never done, good product design principles are never done</a:t>
            </a:r>
          </a:p>
          <a:p>
            <a:pPr marL="285750" indent="-285750">
              <a:buFont typeface="Arial" panose="020B0604020202020204" pitchFamily="34" charset="0"/>
              <a:buChar char="•"/>
            </a:pPr>
            <a:r>
              <a:rPr lang="en-US" dirty="0">
                <a:latin typeface="Sora" pitchFamily="2" charset="0"/>
                <a:cs typeface="Sora" pitchFamily="2" charset="0"/>
              </a:rPr>
              <a:t>This brings us to welcome any change / new idea</a:t>
            </a:r>
          </a:p>
          <a:p>
            <a:pPr marL="285750" indent="-285750">
              <a:buFont typeface="Arial" panose="020B0604020202020204" pitchFamily="34" charset="0"/>
              <a:buChar char="•"/>
            </a:pPr>
            <a:endParaRPr lang="en-US" dirty="0">
              <a:latin typeface="Sora" pitchFamily="2" charset="0"/>
              <a:cs typeface="Sora" pitchFamily="2" charset="0"/>
            </a:endParaRPr>
          </a:p>
        </p:txBody>
      </p:sp>
      <p:sp>
        <p:nvSpPr>
          <p:cNvPr id="4" name="Google Shape;11;p2">
            <a:extLst>
              <a:ext uri="{FF2B5EF4-FFF2-40B4-BE49-F238E27FC236}">
                <a16:creationId xmlns:a16="http://schemas.microsoft.com/office/drawing/2014/main" id="{275B4ECA-7C59-4B9D-9B0C-143BEEFA0F11}"/>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 name="Google Shape;1253;p54">
            <a:extLst>
              <a:ext uri="{FF2B5EF4-FFF2-40B4-BE49-F238E27FC236}">
                <a16:creationId xmlns:a16="http://schemas.microsoft.com/office/drawing/2014/main" id="{CBBB9675-51D6-4A4A-AA50-0D8323B162C4}"/>
              </a:ext>
            </a:extLst>
          </p:cNvPr>
          <p:cNvGrpSpPr/>
          <p:nvPr/>
        </p:nvGrpSpPr>
        <p:grpSpPr>
          <a:xfrm rot="14053952">
            <a:off x="10328691" y="5537433"/>
            <a:ext cx="153345" cy="608809"/>
            <a:chOff x="7004550" y="3676293"/>
            <a:chExt cx="161700" cy="641982"/>
          </a:xfrm>
        </p:grpSpPr>
        <p:sp>
          <p:nvSpPr>
            <p:cNvPr id="6" name="Google Shape;1254;p54">
              <a:extLst>
                <a:ext uri="{FF2B5EF4-FFF2-40B4-BE49-F238E27FC236}">
                  <a16:creationId xmlns:a16="http://schemas.microsoft.com/office/drawing/2014/main" id="{E506616F-BDCF-4823-BBD0-7966F90EE70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255;p54">
              <a:extLst>
                <a:ext uri="{FF2B5EF4-FFF2-40B4-BE49-F238E27FC236}">
                  <a16:creationId xmlns:a16="http://schemas.microsoft.com/office/drawing/2014/main" id="{A6ADC2E2-5D5F-4C69-9607-ACF1B977658E}"/>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56;p54">
              <a:extLst>
                <a:ext uri="{FF2B5EF4-FFF2-40B4-BE49-F238E27FC236}">
                  <a16:creationId xmlns:a16="http://schemas.microsoft.com/office/drawing/2014/main" id="{9AC1D6E2-2BC6-4E37-86FB-35AAD31FA05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57;p54">
              <a:extLst>
                <a:ext uri="{FF2B5EF4-FFF2-40B4-BE49-F238E27FC236}">
                  <a16:creationId xmlns:a16="http://schemas.microsoft.com/office/drawing/2014/main" id="{ED4CB56A-41BC-4C65-B073-C36F80B11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 name="Google Shape;1258;p54">
            <a:extLst>
              <a:ext uri="{FF2B5EF4-FFF2-40B4-BE49-F238E27FC236}">
                <a16:creationId xmlns:a16="http://schemas.microsoft.com/office/drawing/2014/main" id="{05B22824-C5C9-4F03-9212-B0B49418BA87}"/>
              </a:ext>
            </a:extLst>
          </p:cNvPr>
          <p:cNvSpPr/>
          <p:nvPr/>
        </p:nvSpPr>
        <p:spPr>
          <a:xfrm>
            <a:off x="2356048" y="4358654"/>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59;p54">
            <a:extLst>
              <a:ext uri="{FF2B5EF4-FFF2-40B4-BE49-F238E27FC236}">
                <a16:creationId xmlns:a16="http://schemas.microsoft.com/office/drawing/2014/main" id="{A7B0714D-F81D-4B1E-8E21-E6BC1A0FC58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0;p54">
            <a:extLst>
              <a:ext uri="{FF2B5EF4-FFF2-40B4-BE49-F238E27FC236}">
                <a16:creationId xmlns:a16="http://schemas.microsoft.com/office/drawing/2014/main" id="{918B8468-EF4C-4648-8177-180D2D06B744}"/>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1;p54">
            <a:extLst>
              <a:ext uri="{FF2B5EF4-FFF2-40B4-BE49-F238E27FC236}">
                <a16:creationId xmlns:a16="http://schemas.microsoft.com/office/drawing/2014/main" id="{D9CE4A12-EA01-40C6-BDE6-960FA5B46B07}"/>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262;p54">
            <a:extLst>
              <a:ext uri="{FF2B5EF4-FFF2-40B4-BE49-F238E27FC236}">
                <a16:creationId xmlns:a16="http://schemas.microsoft.com/office/drawing/2014/main" id="{52A1B6DD-2E12-4DCD-A8D0-29DE1B61EBD3}"/>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262;p54">
            <a:extLst>
              <a:ext uri="{FF2B5EF4-FFF2-40B4-BE49-F238E27FC236}">
                <a16:creationId xmlns:a16="http://schemas.microsoft.com/office/drawing/2014/main" id="{32D9B87E-16CD-4982-A17B-5DF6731320B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 name="Google Shape;1189;p53">
            <a:extLst>
              <a:ext uri="{FF2B5EF4-FFF2-40B4-BE49-F238E27FC236}">
                <a16:creationId xmlns:a16="http://schemas.microsoft.com/office/drawing/2014/main" id="{256FC17F-BC46-4742-AC9F-6668015BBA40}"/>
              </a:ext>
            </a:extLst>
          </p:cNvPr>
          <p:cNvGrpSpPr/>
          <p:nvPr/>
        </p:nvGrpSpPr>
        <p:grpSpPr>
          <a:xfrm>
            <a:off x="1728903" y="537694"/>
            <a:ext cx="761143" cy="707743"/>
            <a:chOff x="4818730" y="3307263"/>
            <a:chExt cx="1827512" cy="1699300"/>
          </a:xfrm>
        </p:grpSpPr>
        <p:sp>
          <p:nvSpPr>
            <p:cNvPr id="17" name="Google Shape;1190;p53">
              <a:extLst>
                <a:ext uri="{FF2B5EF4-FFF2-40B4-BE49-F238E27FC236}">
                  <a16:creationId xmlns:a16="http://schemas.microsoft.com/office/drawing/2014/main" id="{23991FFB-2E54-4132-B205-28C4054DA9D7}"/>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191;p53">
              <a:extLst>
                <a:ext uri="{FF2B5EF4-FFF2-40B4-BE49-F238E27FC236}">
                  <a16:creationId xmlns:a16="http://schemas.microsoft.com/office/drawing/2014/main" id="{16114F80-142B-474C-84FD-E5DD5FEDBB4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192;p53">
              <a:extLst>
                <a:ext uri="{FF2B5EF4-FFF2-40B4-BE49-F238E27FC236}">
                  <a16:creationId xmlns:a16="http://schemas.microsoft.com/office/drawing/2014/main" id="{B4479550-675B-4060-9D30-46200F730EE5}"/>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193;p53">
              <a:extLst>
                <a:ext uri="{FF2B5EF4-FFF2-40B4-BE49-F238E27FC236}">
                  <a16:creationId xmlns:a16="http://schemas.microsoft.com/office/drawing/2014/main" id="{9CB521B5-48FD-4332-B54C-97F76C8F85E8}"/>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194;p53">
              <a:extLst>
                <a:ext uri="{FF2B5EF4-FFF2-40B4-BE49-F238E27FC236}">
                  <a16:creationId xmlns:a16="http://schemas.microsoft.com/office/drawing/2014/main" id="{6B9A490F-3753-4B2A-8840-E8E217347F7B}"/>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195;p53">
              <a:extLst>
                <a:ext uri="{FF2B5EF4-FFF2-40B4-BE49-F238E27FC236}">
                  <a16:creationId xmlns:a16="http://schemas.microsoft.com/office/drawing/2014/main" id="{52C2698E-B963-47D2-98B4-564C50A0F950}"/>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196;p53">
              <a:extLst>
                <a:ext uri="{FF2B5EF4-FFF2-40B4-BE49-F238E27FC236}">
                  <a16:creationId xmlns:a16="http://schemas.microsoft.com/office/drawing/2014/main" id="{21EA8130-649D-47EB-8E24-583EADBC6A6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197;p53">
              <a:extLst>
                <a:ext uri="{FF2B5EF4-FFF2-40B4-BE49-F238E27FC236}">
                  <a16:creationId xmlns:a16="http://schemas.microsoft.com/office/drawing/2014/main" id="{CD79EBD1-B583-44D8-BFA9-EDBB8F0B1FF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198;p53">
              <a:extLst>
                <a:ext uri="{FF2B5EF4-FFF2-40B4-BE49-F238E27FC236}">
                  <a16:creationId xmlns:a16="http://schemas.microsoft.com/office/drawing/2014/main" id="{BED4C78F-4DD4-4F2D-A6AA-876ED725F569}"/>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199;p53">
              <a:extLst>
                <a:ext uri="{FF2B5EF4-FFF2-40B4-BE49-F238E27FC236}">
                  <a16:creationId xmlns:a16="http://schemas.microsoft.com/office/drawing/2014/main" id="{E8B0EF98-B22C-4B01-B637-AF0914B0225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200;p53">
              <a:extLst>
                <a:ext uri="{FF2B5EF4-FFF2-40B4-BE49-F238E27FC236}">
                  <a16:creationId xmlns:a16="http://schemas.microsoft.com/office/drawing/2014/main" id="{EFBD35A3-5EC3-4A82-8598-16537F9D255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201;p53">
              <a:extLst>
                <a:ext uri="{FF2B5EF4-FFF2-40B4-BE49-F238E27FC236}">
                  <a16:creationId xmlns:a16="http://schemas.microsoft.com/office/drawing/2014/main" id="{7200BB18-46C5-4EC5-BB70-A167FA6FAA1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202;p53">
              <a:extLst>
                <a:ext uri="{FF2B5EF4-FFF2-40B4-BE49-F238E27FC236}">
                  <a16:creationId xmlns:a16="http://schemas.microsoft.com/office/drawing/2014/main" id="{ECBACE85-58CA-489C-B754-9E47F5C79FD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203;p53">
              <a:extLst>
                <a:ext uri="{FF2B5EF4-FFF2-40B4-BE49-F238E27FC236}">
                  <a16:creationId xmlns:a16="http://schemas.microsoft.com/office/drawing/2014/main" id="{A8188549-8DC9-4B29-A8E0-9E62C6743F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204;p53">
              <a:extLst>
                <a:ext uri="{FF2B5EF4-FFF2-40B4-BE49-F238E27FC236}">
                  <a16:creationId xmlns:a16="http://schemas.microsoft.com/office/drawing/2014/main" id="{BB204FEB-44AC-4F2C-AE15-A0E18AF14779}"/>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205;p53">
              <a:extLst>
                <a:ext uri="{FF2B5EF4-FFF2-40B4-BE49-F238E27FC236}">
                  <a16:creationId xmlns:a16="http://schemas.microsoft.com/office/drawing/2014/main" id="{179D3303-F0D3-4546-8CFE-8FFCF65D0746}"/>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206;p53">
              <a:extLst>
                <a:ext uri="{FF2B5EF4-FFF2-40B4-BE49-F238E27FC236}">
                  <a16:creationId xmlns:a16="http://schemas.microsoft.com/office/drawing/2014/main" id="{17EED43A-D28B-48AB-9867-494AD9129A1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207;p53">
              <a:extLst>
                <a:ext uri="{FF2B5EF4-FFF2-40B4-BE49-F238E27FC236}">
                  <a16:creationId xmlns:a16="http://schemas.microsoft.com/office/drawing/2014/main" id="{1619BDA5-3650-47E5-A85B-3E908D46D5E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208;p53">
              <a:extLst>
                <a:ext uri="{FF2B5EF4-FFF2-40B4-BE49-F238E27FC236}">
                  <a16:creationId xmlns:a16="http://schemas.microsoft.com/office/drawing/2014/main" id="{B0EAEB08-5692-4557-B16B-7E71B26AF26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209;p53">
              <a:extLst>
                <a:ext uri="{FF2B5EF4-FFF2-40B4-BE49-F238E27FC236}">
                  <a16:creationId xmlns:a16="http://schemas.microsoft.com/office/drawing/2014/main" id="{A5A1113C-5C1F-4EBC-8B30-DA215E23AB6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210;p53">
              <a:extLst>
                <a:ext uri="{FF2B5EF4-FFF2-40B4-BE49-F238E27FC236}">
                  <a16:creationId xmlns:a16="http://schemas.microsoft.com/office/drawing/2014/main" id="{D04C3932-BB64-4E0A-871A-8967DD6CC12C}"/>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211;p53">
              <a:extLst>
                <a:ext uri="{FF2B5EF4-FFF2-40B4-BE49-F238E27FC236}">
                  <a16:creationId xmlns:a16="http://schemas.microsoft.com/office/drawing/2014/main" id="{1F343EB5-4896-4FFA-84BD-62E06AE6BC7E}"/>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212;p53">
              <a:extLst>
                <a:ext uri="{FF2B5EF4-FFF2-40B4-BE49-F238E27FC236}">
                  <a16:creationId xmlns:a16="http://schemas.microsoft.com/office/drawing/2014/main" id="{CD17408D-9B4D-4168-A90E-F6FC53320BBD}"/>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213;p53">
              <a:extLst>
                <a:ext uri="{FF2B5EF4-FFF2-40B4-BE49-F238E27FC236}">
                  <a16:creationId xmlns:a16="http://schemas.microsoft.com/office/drawing/2014/main" id="{1488A556-600B-4433-B345-DA80AF750D7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14;p53">
              <a:extLst>
                <a:ext uri="{FF2B5EF4-FFF2-40B4-BE49-F238E27FC236}">
                  <a16:creationId xmlns:a16="http://schemas.microsoft.com/office/drawing/2014/main" id="{AC54D55B-8016-4DB3-9283-905F00B125CB}"/>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5295430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9F3069CF-9E8A-4544-9907-6E82BF399262}"/>
              </a:ext>
            </a:extLst>
          </p:cNvPr>
          <p:cNvSpPr txBox="1"/>
          <p:nvPr/>
        </p:nvSpPr>
        <p:spPr>
          <a:xfrm>
            <a:off x="7335812" y="5540866"/>
            <a:ext cx="4095993" cy="954107"/>
          </a:xfrm>
          <a:prstGeom prst="rect">
            <a:avLst/>
          </a:prstGeom>
          <a:noFill/>
        </p:spPr>
        <p:txBody>
          <a:bodyPr wrap="none" rtlCol="0">
            <a:spAutoFit/>
          </a:bodyPr>
          <a:lstStyle/>
          <a:p>
            <a:r>
              <a:rPr lang="en-US" sz="1400" dirty="0">
                <a:latin typeface="Sora" pitchFamily="2" charset="0"/>
                <a:cs typeface="Sora" pitchFamily="2" charset="0"/>
              </a:rPr>
              <a:t>Epic Games Unreal Engine Marketplace</a:t>
            </a:r>
          </a:p>
          <a:p>
            <a:r>
              <a:rPr lang="en-US" sz="1400" dirty="0">
                <a:latin typeface="Sora" pitchFamily="2" charset="0"/>
                <a:cs typeface="Sora" pitchFamily="2" charset="0"/>
              </a:rPr>
              <a:t>Inspired and based on:</a:t>
            </a:r>
          </a:p>
          <a:p>
            <a:pPr marL="285750" indent="-285750">
              <a:buFont typeface="Arial" panose="020B0604020202020204" pitchFamily="34" charset="0"/>
              <a:buChar char="•"/>
            </a:pPr>
            <a:r>
              <a:rPr lang="en-US" sz="1400" dirty="0">
                <a:latin typeface="Sora" pitchFamily="2" charset="0"/>
                <a:cs typeface="Sora" pitchFamily="2" charset="0"/>
              </a:rPr>
              <a:t>Advanced Light Actors – </a:t>
            </a:r>
            <a:r>
              <a:rPr lang="en-US" sz="1400" b="0" i="0" u="none" strike="noStrike" dirty="0">
                <a:solidFill>
                  <a:srgbClr val="DCA100"/>
                </a:solidFill>
                <a:effectLst/>
                <a:latin typeface="Sora" pitchFamily="2" charset="0"/>
                <a:cs typeface="Sora" pitchFamily="2" charset="0"/>
              </a:rPr>
              <a:t>Roland </a:t>
            </a:r>
            <a:r>
              <a:rPr lang="en-US" sz="1400" b="0" i="0" u="none" strike="noStrike" dirty="0" err="1">
                <a:solidFill>
                  <a:srgbClr val="DCA100"/>
                </a:solidFill>
                <a:effectLst/>
                <a:latin typeface="Sora" pitchFamily="2" charset="0"/>
                <a:cs typeface="Sora" pitchFamily="2" charset="0"/>
              </a:rPr>
              <a:t>Simigla</a:t>
            </a:r>
            <a:endParaRPr lang="en-US" sz="1400" b="0" i="0" u="none" strike="noStrike" dirty="0">
              <a:solidFill>
                <a:srgbClr val="DCA100"/>
              </a:solidFill>
              <a:effectLst/>
              <a:latin typeface="Sora" pitchFamily="2" charset="0"/>
              <a:cs typeface="Sora" pitchFamily="2" charset="0"/>
            </a:endParaRPr>
          </a:p>
          <a:p>
            <a:pPr marL="285750" indent="-285750">
              <a:buFont typeface="Arial" panose="020B0604020202020204" pitchFamily="34" charset="0"/>
              <a:buChar char="•"/>
            </a:pPr>
            <a:r>
              <a:rPr lang="en-US" sz="1400" b="0" i="0" u="none" strike="noStrike" dirty="0">
                <a:effectLst/>
                <a:latin typeface="Sora" pitchFamily="2" charset="0"/>
                <a:cs typeface="Sora" pitchFamily="2" charset="0"/>
              </a:rPr>
              <a:t>Horror Engine –</a:t>
            </a:r>
            <a:r>
              <a:rPr lang="en-US" sz="1400" b="0" i="0" u="none" strike="noStrike" dirty="0">
                <a:solidFill>
                  <a:srgbClr val="DCA100"/>
                </a:solidFill>
                <a:effectLst/>
                <a:latin typeface="Sora" pitchFamily="2" charset="0"/>
                <a:cs typeface="Sora" pitchFamily="2" charset="0"/>
              </a:rPr>
              <a:t> </a:t>
            </a:r>
            <a:r>
              <a:rPr lang="en-US" sz="1400" b="0" i="0" dirty="0" err="1">
                <a:solidFill>
                  <a:srgbClr val="DCA100"/>
                </a:solidFill>
                <a:effectLst/>
                <a:latin typeface="Sora" pitchFamily="2" charset="0"/>
                <a:cs typeface="Sora" pitchFamily="2" charset="0"/>
              </a:rPr>
              <a:t>tansuergene</a:t>
            </a:r>
            <a:endParaRPr lang="en-US" sz="1400" dirty="0">
              <a:latin typeface="Sora" pitchFamily="2" charset="0"/>
              <a:cs typeface="Sora" pitchFamily="2" charset="0"/>
            </a:endParaRPr>
          </a:p>
        </p:txBody>
      </p:sp>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388925"/>
            <a:ext cx="4588671"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rPr>
              <a:t>Our Gameplay System</a:t>
            </a: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 name="Google Shape;4295;p76">
            <a:extLst>
              <a:ext uri="{FF2B5EF4-FFF2-40B4-BE49-F238E27FC236}">
                <a16:creationId xmlns:a16="http://schemas.microsoft.com/office/drawing/2014/main" id="{647A275F-C440-4437-8B49-7983D88A9A4F}"/>
              </a:ext>
            </a:extLst>
          </p:cNvPr>
          <p:cNvGrpSpPr/>
          <p:nvPr/>
        </p:nvGrpSpPr>
        <p:grpSpPr>
          <a:xfrm>
            <a:off x="886511" y="3826902"/>
            <a:ext cx="545147" cy="506901"/>
            <a:chOff x="4818730" y="3307263"/>
            <a:chExt cx="1827512" cy="1699300"/>
          </a:xfrm>
        </p:grpSpPr>
        <p:sp>
          <p:nvSpPr>
            <p:cNvPr id="13" name="Google Shape;4296;p76">
              <a:extLst>
                <a:ext uri="{FF2B5EF4-FFF2-40B4-BE49-F238E27FC236}">
                  <a16:creationId xmlns:a16="http://schemas.microsoft.com/office/drawing/2014/main" id="{CFA7F132-6380-4ADC-BC52-7A812C270FDB}"/>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297;p76">
              <a:extLst>
                <a:ext uri="{FF2B5EF4-FFF2-40B4-BE49-F238E27FC236}">
                  <a16:creationId xmlns:a16="http://schemas.microsoft.com/office/drawing/2014/main" id="{8EADAD94-2C5E-4538-8EBF-07E1B0CC39C1}"/>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298;p76">
              <a:extLst>
                <a:ext uri="{FF2B5EF4-FFF2-40B4-BE49-F238E27FC236}">
                  <a16:creationId xmlns:a16="http://schemas.microsoft.com/office/drawing/2014/main" id="{65BF7004-4E97-4198-90A1-D0CDC004EA8A}"/>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299;p76">
              <a:extLst>
                <a:ext uri="{FF2B5EF4-FFF2-40B4-BE49-F238E27FC236}">
                  <a16:creationId xmlns:a16="http://schemas.microsoft.com/office/drawing/2014/main" id="{0B881000-7EF6-426C-9FA6-A199693DA48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300;p76">
              <a:extLst>
                <a:ext uri="{FF2B5EF4-FFF2-40B4-BE49-F238E27FC236}">
                  <a16:creationId xmlns:a16="http://schemas.microsoft.com/office/drawing/2014/main" id="{4275704F-A425-46FB-A90E-1C0A63189457}"/>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301;p76">
              <a:extLst>
                <a:ext uri="{FF2B5EF4-FFF2-40B4-BE49-F238E27FC236}">
                  <a16:creationId xmlns:a16="http://schemas.microsoft.com/office/drawing/2014/main" id="{BBC8B0E2-8989-427A-8D29-EAA933DA5294}"/>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302;p76">
              <a:extLst>
                <a:ext uri="{FF2B5EF4-FFF2-40B4-BE49-F238E27FC236}">
                  <a16:creationId xmlns:a16="http://schemas.microsoft.com/office/drawing/2014/main" id="{572794C3-21A1-4563-B9EA-BCDCC19CD79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303;p76">
              <a:extLst>
                <a:ext uri="{FF2B5EF4-FFF2-40B4-BE49-F238E27FC236}">
                  <a16:creationId xmlns:a16="http://schemas.microsoft.com/office/drawing/2014/main" id="{2EC062EF-2314-406A-85A5-CC652EE69598}"/>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304;p76">
              <a:extLst>
                <a:ext uri="{FF2B5EF4-FFF2-40B4-BE49-F238E27FC236}">
                  <a16:creationId xmlns:a16="http://schemas.microsoft.com/office/drawing/2014/main" id="{44B9C0E8-6ADE-4F0B-9D34-CB251B652146}"/>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305;p76">
              <a:extLst>
                <a:ext uri="{FF2B5EF4-FFF2-40B4-BE49-F238E27FC236}">
                  <a16:creationId xmlns:a16="http://schemas.microsoft.com/office/drawing/2014/main" id="{2FB9A503-E05A-4277-B37C-2AB9D2AD97A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4306;p76">
              <a:extLst>
                <a:ext uri="{FF2B5EF4-FFF2-40B4-BE49-F238E27FC236}">
                  <a16:creationId xmlns:a16="http://schemas.microsoft.com/office/drawing/2014/main" id="{A6F72AA2-7BC4-4BEB-84C6-F33CCF237F42}"/>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4307;p76">
              <a:extLst>
                <a:ext uri="{FF2B5EF4-FFF2-40B4-BE49-F238E27FC236}">
                  <a16:creationId xmlns:a16="http://schemas.microsoft.com/office/drawing/2014/main" id="{551BBC6F-3F2F-4270-AA22-E79DD3021F2E}"/>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308;p76">
              <a:extLst>
                <a:ext uri="{FF2B5EF4-FFF2-40B4-BE49-F238E27FC236}">
                  <a16:creationId xmlns:a16="http://schemas.microsoft.com/office/drawing/2014/main" id="{15276468-A943-426B-A3E0-0E9D5F9B98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309;p76">
              <a:extLst>
                <a:ext uri="{FF2B5EF4-FFF2-40B4-BE49-F238E27FC236}">
                  <a16:creationId xmlns:a16="http://schemas.microsoft.com/office/drawing/2014/main" id="{128539B9-05FA-4642-B16D-2AA975DB301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310;p76">
              <a:extLst>
                <a:ext uri="{FF2B5EF4-FFF2-40B4-BE49-F238E27FC236}">
                  <a16:creationId xmlns:a16="http://schemas.microsoft.com/office/drawing/2014/main" id="{E5F3D311-40DC-4CE5-A300-208E92E68F2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4311;p76">
              <a:extLst>
                <a:ext uri="{FF2B5EF4-FFF2-40B4-BE49-F238E27FC236}">
                  <a16:creationId xmlns:a16="http://schemas.microsoft.com/office/drawing/2014/main" id="{205C33D7-8311-4F78-A515-11D5B9A76B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4312;p76">
              <a:extLst>
                <a:ext uri="{FF2B5EF4-FFF2-40B4-BE49-F238E27FC236}">
                  <a16:creationId xmlns:a16="http://schemas.microsoft.com/office/drawing/2014/main" id="{B5B77453-F5F9-4FE5-ACED-91596FF9076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4313;p76">
              <a:extLst>
                <a:ext uri="{FF2B5EF4-FFF2-40B4-BE49-F238E27FC236}">
                  <a16:creationId xmlns:a16="http://schemas.microsoft.com/office/drawing/2014/main" id="{41743DB8-0BC8-48B6-8174-8157276F388A}"/>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4314;p76">
              <a:extLst>
                <a:ext uri="{FF2B5EF4-FFF2-40B4-BE49-F238E27FC236}">
                  <a16:creationId xmlns:a16="http://schemas.microsoft.com/office/drawing/2014/main" id="{0F972879-36F2-45B2-A746-A0B07283F10B}"/>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4315;p76">
              <a:extLst>
                <a:ext uri="{FF2B5EF4-FFF2-40B4-BE49-F238E27FC236}">
                  <a16:creationId xmlns:a16="http://schemas.microsoft.com/office/drawing/2014/main" id="{72111731-ED82-4A3F-8B4E-B6AFDCD0CD91}"/>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4316;p76">
              <a:extLst>
                <a:ext uri="{FF2B5EF4-FFF2-40B4-BE49-F238E27FC236}">
                  <a16:creationId xmlns:a16="http://schemas.microsoft.com/office/drawing/2014/main" id="{A97B1878-84D5-4310-A9B6-AF9C760C6345}"/>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4317;p76">
              <a:extLst>
                <a:ext uri="{FF2B5EF4-FFF2-40B4-BE49-F238E27FC236}">
                  <a16:creationId xmlns:a16="http://schemas.microsoft.com/office/drawing/2014/main" id="{FAB04BA4-1F7E-4796-9526-A0959DA925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4318;p76">
              <a:extLst>
                <a:ext uri="{FF2B5EF4-FFF2-40B4-BE49-F238E27FC236}">
                  <a16:creationId xmlns:a16="http://schemas.microsoft.com/office/drawing/2014/main" id="{F710FB34-AA04-4F3A-8C7F-D4B88F7D4CA3}"/>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4319;p76">
              <a:extLst>
                <a:ext uri="{FF2B5EF4-FFF2-40B4-BE49-F238E27FC236}">
                  <a16:creationId xmlns:a16="http://schemas.microsoft.com/office/drawing/2014/main" id="{CD8242CE-C964-44A5-A4CD-15E234153EFE}"/>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4320;p76">
              <a:extLst>
                <a:ext uri="{FF2B5EF4-FFF2-40B4-BE49-F238E27FC236}">
                  <a16:creationId xmlns:a16="http://schemas.microsoft.com/office/drawing/2014/main" id="{F8E12053-8E78-40BD-B893-4F026921612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 name="TextBox 41">
            <a:extLst>
              <a:ext uri="{FF2B5EF4-FFF2-40B4-BE49-F238E27FC236}">
                <a16:creationId xmlns:a16="http://schemas.microsoft.com/office/drawing/2014/main" id="{94F3177C-988F-471A-A071-9AFE0F2BDAB5}"/>
              </a:ext>
            </a:extLst>
          </p:cNvPr>
          <p:cNvSpPr txBox="1"/>
          <p:nvPr/>
        </p:nvSpPr>
        <p:spPr>
          <a:xfrm>
            <a:off x="2645153" y="1959028"/>
            <a:ext cx="5687477" cy="3693319"/>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horror genre experience T/FPP</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Actor in-place Animations / Locomotion’s</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Character Mannequin / Body appearanc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Gear for a ghost hunt</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Diary – Quest/events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ventory</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ave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spection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Footstep Sound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PC hunt mod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etwork Replicated / Multiplayer Ready</a:t>
            </a:r>
          </a:p>
          <a:p>
            <a:pPr marL="285750" indent="-285750">
              <a:buFont typeface="Arial" panose="020B0604020202020204" pitchFamily="34" charset="0"/>
              <a:buChar char="•"/>
            </a:pPr>
            <a:r>
              <a:rPr lang="en-US" dirty="0">
                <a:latin typeface="Sora" pitchFamily="2" charset="0"/>
                <a:cs typeface="Sora" pitchFamily="2" charset="0"/>
              </a:rPr>
              <a:t>Any many much more ..</a:t>
            </a:r>
          </a:p>
          <a:p>
            <a:pPr marL="285750" indent="-285750">
              <a:buFont typeface="Arial" panose="020B0604020202020204" pitchFamily="34" charset="0"/>
              <a:buChar char="•"/>
            </a:pPr>
            <a:endParaRPr lang="en-US" dirty="0">
              <a:solidFill>
                <a:srgbClr val="D5FA68"/>
              </a:solidFill>
            </a:endParaRPr>
          </a:p>
        </p:txBody>
      </p:sp>
    </p:spTree>
    <p:extLst>
      <p:ext uri="{BB962C8B-B14F-4D97-AF65-F5344CB8AC3E}">
        <p14:creationId xmlns:p14="http://schemas.microsoft.com/office/powerpoint/2010/main" val="37387391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DEMO</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8941831"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8928005" y="1527110"/>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 name="Online Media 1" title="Unreal Engine 5 (UE5) Horror Industrial Footage">
            <a:hlinkClick r:id="" action="ppaction://media"/>
            <a:extLst>
              <a:ext uri="{FF2B5EF4-FFF2-40B4-BE49-F238E27FC236}">
                <a16:creationId xmlns:a16="http://schemas.microsoft.com/office/drawing/2014/main" id="{6AD671D2-82F5-4FEE-AD34-C92DA5F43EF1}"/>
              </a:ext>
            </a:extLst>
          </p:cNvPr>
          <p:cNvPicPr>
            <a:picLocks noRot="1" noChangeAspect="1"/>
          </p:cNvPicPr>
          <p:nvPr>
            <a:videoFile r:link="rId1"/>
            <p:custDataLst>
              <p:tags r:id="rId2"/>
            </p:custDataLst>
          </p:nvPr>
        </p:nvPicPr>
        <p:blipFill>
          <a:blip r:embed="rId7"/>
          <a:stretch>
            <a:fillRect/>
          </a:stretch>
        </p:blipFill>
        <p:spPr>
          <a:xfrm>
            <a:off x="2429662" y="1746762"/>
            <a:ext cx="7332677" cy="4142962"/>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583680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Online Media 2" title="Gameplay Mechanics Technical Overview (alpha stage)">
            <a:hlinkClick r:id="" action="ppaction://media"/>
            <a:extLst>
              <a:ext uri="{FF2B5EF4-FFF2-40B4-BE49-F238E27FC236}">
                <a16:creationId xmlns:a16="http://schemas.microsoft.com/office/drawing/2014/main" id="{63CA0167-4617-47B7-B48D-98811F9565ED}"/>
              </a:ext>
            </a:extLst>
          </p:cNvPr>
          <p:cNvPicPr>
            <a:picLocks noRot="1" noChangeAspect="1"/>
          </p:cNvPicPr>
          <p:nvPr>
            <a:videoFile r:link="rId1"/>
            <p:custDataLst>
              <p:tags r:id="rId2"/>
            </p:custDataLst>
          </p:nvPr>
        </p:nvPicPr>
        <p:blipFill>
          <a:blip r:embed="rId7"/>
          <a:stretch>
            <a:fillRect/>
          </a:stretch>
        </p:blipFill>
        <p:spPr>
          <a:xfrm>
            <a:off x="2366595" y="1718824"/>
            <a:ext cx="7458810" cy="4214227"/>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4188235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4" y="94538"/>
            <a:ext cx="8545152"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 </a:t>
            </a:r>
            <a:r>
              <a:rPr kumimoji="0" lang="en-US" sz="3500" b="0" i="0" u="none" strike="noStrike" kern="0" cap="none" spc="0" normalizeH="0" baseline="0" noProof="0" dirty="0">
                <a:ln>
                  <a:noFill/>
                </a:ln>
                <a:solidFill>
                  <a:schemeClr val="tx1"/>
                </a:solidFill>
                <a:effectLst/>
                <a:uLnTx/>
                <a:uFillTx/>
                <a:latin typeface="Saira SemiCondensed ExtraBold"/>
                <a:sym typeface="Saira SemiCondensed ExtraBold"/>
              </a:rPr>
              <a:t>– State Machine/Locomotion</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5" name="Picture 4">
            <a:extLst>
              <a:ext uri="{FF2B5EF4-FFF2-40B4-BE49-F238E27FC236}">
                <a16:creationId xmlns:a16="http://schemas.microsoft.com/office/drawing/2014/main" id="{D7FB79ED-3357-4249-BDE9-94FCD9259C8B}"/>
              </a:ext>
            </a:extLst>
          </p:cNvPr>
          <p:cNvPicPr>
            <a:picLocks noChangeAspect="1"/>
          </p:cNvPicPr>
          <p:nvPr/>
        </p:nvPicPr>
        <p:blipFill>
          <a:blip r:embed="rId5"/>
          <a:stretch>
            <a:fillRect/>
          </a:stretch>
        </p:blipFill>
        <p:spPr>
          <a:xfrm>
            <a:off x="2172124" y="1732484"/>
            <a:ext cx="7016821" cy="4475294"/>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3428205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4" y="94538"/>
            <a:ext cx="8545152"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 </a:t>
            </a:r>
            <a:r>
              <a:rPr kumimoji="0" lang="en-US" sz="3500" b="0" i="0" u="none" strike="noStrike" kern="0" cap="none" spc="0" normalizeH="0" baseline="0" noProof="0" dirty="0">
                <a:ln>
                  <a:noFill/>
                </a:ln>
                <a:solidFill>
                  <a:schemeClr val="tx1"/>
                </a:solidFill>
                <a:effectLst/>
                <a:uLnTx/>
                <a:uFillTx/>
                <a:latin typeface="Saira SemiCondensed ExtraBold"/>
                <a:sym typeface="Saira SemiCondensed ExtraBold"/>
              </a:rPr>
              <a:t>– State Machine/Locomotion</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Picture 2">
            <a:extLst>
              <a:ext uri="{FF2B5EF4-FFF2-40B4-BE49-F238E27FC236}">
                <a16:creationId xmlns:a16="http://schemas.microsoft.com/office/drawing/2014/main" id="{5704267B-B21A-41E0-9E16-1DC9D3D8BE28}"/>
              </a:ext>
            </a:extLst>
          </p:cNvPr>
          <p:cNvPicPr>
            <a:picLocks noChangeAspect="1"/>
          </p:cNvPicPr>
          <p:nvPr/>
        </p:nvPicPr>
        <p:blipFill>
          <a:blip r:embed="rId5"/>
          <a:stretch>
            <a:fillRect/>
          </a:stretch>
        </p:blipFill>
        <p:spPr>
          <a:xfrm>
            <a:off x="2865106" y="1774008"/>
            <a:ext cx="6076726" cy="4541774"/>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17211790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4" y="94538"/>
            <a:ext cx="8545152"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 </a:t>
            </a:r>
            <a:r>
              <a:rPr kumimoji="0" lang="en-US" sz="3500" b="0" i="0" u="none" strike="noStrike" kern="0" cap="none" spc="0" normalizeH="0" baseline="0" noProof="0" dirty="0">
                <a:ln>
                  <a:noFill/>
                </a:ln>
                <a:solidFill>
                  <a:schemeClr val="tx1"/>
                </a:solidFill>
                <a:effectLst/>
                <a:uLnTx/>
                <a:uFillTx/>
                <a:latin typeface="Saira SemiCondensed ExtraBold"/>
                <a:sym typeface="Saira SemiCondensed ExtraBold"/>
              </a:rPr>
              <a:t>– Actors Logic (segment)</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Picture 2">
            <a:extLst>
              <a:ext uri="{FF2B5EF4-FFF2-40B4-BE49-F238E27FC236}">
                <a16:creationId xmlns:a16="http://schemas.microsoft.com/office/drawing/2014/main" id="{4AC4F596-EA3F-4D25-B731-44E92F3DA83D}"/>
              </a:ext>
            </a:extLst>
          </p:cNvPr>
          <p:cNvPicPr>
            <a:picLocks noChangeAspect="1"/>
          </p:cNvPicPr>
          <p:nvPr/>
        </p:nvPicPr>
        <p:blipFill>
          <a:blip r:embed="rId5"/>
          <a:stretch>
            <a:fillRect/>
          </a:stretch>
        </p:blipFill>
        <p:spPr>
          <a:xfrm>
            <a:off x="1394389" y="1767431"/>
            <a:ext cx="8381207" cy="4406893"/>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
        <p:nvSpPr>
          <p:cNvPr id="14" name="Rectangle 13">
            <a:extLst>
              <a:ext uri="{FF2B5EF4-FFF2-40B4-BE49-F238E27FC236}">
                <a16:creationId xmlns:a16="http://schemas.microsoft.com/office/drawing/2014/main" id="{9A5A189E-C685-4D31-852D-AC172BF0DFF4}"/>
              </a:ext>
            </a:extLst>
          </p:cNvPr>
          <p:cNvSpPr/>
          <p:nvPr/>
        </p:nvSpPr>
        <p:spPr>
          <a:xfrm>
            <a:off x="8153327" y="753113"/>
            <a:ext cx="2948181" cy="584775"/>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latin typeface="Saira SemiCondensed ExtraBold" panose="00000906000000000000" charset="0"/>
              </a:rPr>
              <a:t>It looks pretty ugly but it will get better !</a:t>
            </a:r>
          </a:p>
        </p:txBody>
      </p:sp>
    </p:spTree>
    <p:extLst>
      <p:ext uri="{BB962C8B-B14F-4D97-AF65-F5344CB8AC3E}">
        <p14:creationId xmlns:p14="http://schemas.microsoft.com/office/powerpoint/2010/main" val="72056708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2385;p74">
            <a:extLst>
              <a:ext uri="{FF2B5EF4-FFF2-40B4-BE49-F238E27FC236}">
                <a16:creationId xmlns:a16="http://schemas.microsoft.com/office/drawing/2014/main" id="{2C1CC8B5-FD9E-45D5-9CEE-904E8E5A6C5F}"/>
              </a:ext>
            </a:extLst>
          </p:cNvPr>
          <p:cNvGrpSpPr/>
          <p:nvPr/>
        </p:nvGrpSpPr>
        <p:grpSpPr>
          <a:xfrm>
            <a:off x="1260445" y="542958"/>
            <a:ext cx="4010883" cy="4217083"/>
            <a:chOff x="560975" y="602437"/>
            <a:chExt cx="4010883" cy="4217083"/>
          </a:xfrm>
        </p:grpSpPr>
        <p:sp>
          <p:nvSpPr>
            <p:cNvPr id="68" name="Google Shape;2386;p74">
              <a:extLst>
                <a:ext uri="{FF2B5EF4-FFF2-40B4-BE49-F238E27FC236}">
                  <a16:creationId xmlns:a16="http://schemas.microsoft.com/office/drawing/2014/main" id="{D3858B9C-A4F2-4EE9-A2EA-9C78B153AFCE}"/>
                </a:ext>
              </a:extLst>
            </p:cNvPr>
            <p:cNvSpPr/>
            <p:nvPr/>
          </p:nvSpPr>
          <p:spPr>
            <a:xfrm rot="20722624">
              <a:off x="618493" y="2796073"/>
              <a:ext cx="3784421" cy="1296840"/>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49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2387;p74">
              <a:extLst>
                <a:ext uri="{FF2B5EF4-FFF2-40B4-BE49-F238E27FC236}">
                  <a16:creationId xmlns:a16="http://schemas.microsoft.com/office/drawing/2014/main" id="{9758B8FF-B876-4F31-9705-3FE7D588317F}"/>
                </a:ext>
              </a:extLst>
            </p:cNvPr>
            <p:cNvSpPr/>
            <p:nvPr/>
          </p:nvSpPr>
          <p:spPr>
            <a:xfrm>
              <a:off x="754717" y="629731"/>
              <a:ext cx="575937" cy="1098996"/>
            </a:xfrm>
            <a:custGeom>
              <a:avLst/>
              <a:gdLst/>
              <a:ahLst/>
              <a:cxnLst/>
              <a:rect l="l" t="t" r="r" b="b"/>
              <a:pathLst>
                <a:path w="25302" h="48281" extrusionOk="0">
                  <a:moveTo>
                    <a:pt x="11735" y="0"/>
                  </a:moveTo>
                  <a:cubicBezTo>
                    <a:pt x="11735" y="0"/>
                    <a:pt x="1" y="3327"/>
                    <a:pt x="233" y="8589"/>
                  </a:cubicBezTo>
                  <a:cubicBezTo>
                    <a:pt x="439" y="13876"/>
                    <a:pt x="14444" y="48048"/>
                    <a:pt x="18364" y="48177"/>
                  </a:cubicBezTo>
                  <a:cubicBezTo>
                    <a:pt x="22877" y="48281"/>
                    <a:pt x="25301" y="48281"/>
                    <a:pt x="25301" y="48281"/>
                  </a:cubicBezTo>
                  <a:cubicBezTo>
                    <a:pt x="25301" y="48281"/>
                    <a:pt x="19034" y="29866"/>
                    <a:pt x="17332" y="22206"/>
                  </a:cubicBezTo>
                  <a:cubicBezTo>
                    <a:pt x="15656" y="14572"/>
                    <a:pt x="11735" y="0"/>
                    <a:pt x="117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388;p74">
              <a:extLst>
                <a:ext uri="{FF2B5EF4-FFF2-40B4-BE49-F238E27FC236}">
                  <a16:creationId xmlns:a16="http://schemas.microsoft.com/office/drawing/2014/main" id="{C5BBE6AB-672C-44F9-AA95-CEDE7B7B3663}"/>
                </a:ext>
              </a:extLst>
            </p:cNvPr>
            <p:cNvSpPr/>
            <p:nvPr/>
          </p:nvSpPr>
          <p:spPr>
            <a:xfrm>
              <a:off x="895624" y="602437"/>
              <a:ext cx="616431" cy="1126812"/>
            </a:xfrm>
            <a:custGeom>
              <a:avLst/>
              <a:gdLst/>
              <a:ahLst/>
              <a:cxnLst/>
              <a:rect l="l" t="t" r="r" b="b"/>
              <a:pathLst>
                <a:path w="27081" h="49503" extrusionOk="0">
                  <a:moveTo>
                    <a:pt x="10858" y="1"/>
                  </a:moveTo>
                  <a:cubicBezTo>
                    <a:pt x="9368" y="1"/>
                    <a:pt x="7613" y="365"/>
                    <a:pt x="5545" y="1199"/>
                  </a:cubicBezTo>
                  <a:cubicBezTo>
                    <a:pt x="0" y="3417"/>
                    <a:pt x="8692" y="21497"/>
                    <a:pt x="12561" y="32664"/>
                  </a:cubicBezTo>
                  <a:cubicBezTo>
                    <a:pt x="14392" y="37977"/>
                    <a:pt x="17022" y="46849"/>
                    <a:pt x="17693" y="48293"/>
                  </a:cubicBezTo>
                  <a:cubicBezTo>
                    <a:pt x="18023" y="49034"/>
                    <a:pt x="18415" y="49503"/>
                    <a:pt x="18965" y="49503"/>
                  </a:cubicBezTo>
                  <a:cubicBezTo>
                    <a:pt x="19488" y="49503"/>
                    <a:pt x="20153" y="49079"/>
                    <a:pt x="21046" y="48061"/>
                  </a:cubicBezTo>
                  <a:cubicBezTo>
                    <a:pt x="22877" y="45998"/>
                    <a:pt x="27081" y="44657"/>
                    <a:pt x="27081" y="44657"/>
                  </a:cubicBezTo>
                  <a:cubicBezTo>
                    <a:pt x="27081" y="44657"/>
                    <a:pt x="19808" y="16906"/>
                    <a:pt x="19111" y="10819"/>
                  </a:cubicBezTo>
                  <a:cubicBezTo>
                    <a:pt x="18574" y="5940"/>
                    <a:pt x="16876" y="1"/>
                    <a:pt x="10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389;p74">
              <a:extLst>
                <a:ext uri="{FF2B5EF4-FFF2-40B4-BE49-F238E27FC236}">
                  <a16:creationId xmlns:a16="http://schemas.microsoft.com/office/drawing/2014/main" id="{707080C5-3FB8-4D55-AB97-77FD0AE1C54B}"/>
                </a:ext>
              </a:extLst>
            </p:cNvPr>
            <p:cNvSpPr/>
            <p:nvPr/>
          </p:nvSpPr>
          <p:spPr>
            <a:xfrm>
              <a:off x="1092302" y="613865"/>
              <a:ext cx="393928" cy="905287"/>
            </a:xfrm>
            <a:custGeom>
              <a:avLst/>
              <a:gdLst/>
              <a:ahLst/>
              <a:cxnLst/>
              <a:rect l="l" t="t" r="r" b="b"/>
              <a:pathLst>
                <a:path w="17306" h="39771" extrusionOk="0">
                  <a:moveTo>
                    <a:pt x="5004" y="1"/>
                  </a:moveTo>
                  <a:cubicBezTo>
                    <a:pt x="3895" y="27"/>
                    <a:pt x="2708" y="233"/>
                    <a:pt x="1857" y="981"/>
                  </a:cubicBezTo>
                  <a:cubicBezTo>
                    <a:pt x="1032" y="1729"/>
                    <a:pt x="516" y="2735"/>
                    <a:pt x="387" y="3844"/>
                  </a:cubicBezTo>
                  <a:cubicBezTo>
                    <a:pt x="0" y="6423"/>
                    <a:pt x="697" y="9182"/>
                    <a:pt x="1522" y="11632"/>
                  </a:cubicBezTo>
                  <a:cubicBezTo>
                    <a:pt x="2218" y="13618"/>
                    <a:pt x="3018" y="15707"/>
                    <a:pt x="4230" y="17435"/>
                  </a:cubicBezTo>
                  <a:cubicBezTo>
                    <a:pt x="5416" y="19163"/>
                    <a:pt x="7041" y="20633"/>
                    <a:pt x="8202" y="22387"/>
                  </a:cubicBezTo>
                  <a:cubicBezTo>
                    <a:pt x="9388" y="24167"/>
                    <a:pt x="10007" y="26075"/>
                    <a:pt x="10471" y="28087"/>
                  </a:cubicBezTo>
                  <a:cubicBezTo>
                    <a:pt x="11374" y="32110"/>
                    <a:pt x="12303" y="36288"/>
                    <a:pt x="15836" y="38893"/>
                  </a:cubicBezTo>
                  <a:cubicBezTo>
                    <a:pt x="16300" y="39229"/>
                    <a:pt x="16790" y="39512"/>
                    <a:pt x="17306" y="39770"/>
                  </a:cubicBezTo>
                  <a:cubicBezTo>
                    <a:pt x="15243" y="31723"/>
                    <a:pt x="10987" y="14882"/>
                    <a:pt x="10471" y="10317"/>
                  </a:cubicBezTo>
                  <a:cubicBezTo>
                    <a:pt x="10033" y="6294"/>
                    <a:pt x="8795" y="1548"/>
                    <a:pt x="50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390;p74">
              <a:extLst>
                <a:ext uri="{FF2B5EF4-FFF2-40B4-BE49-F238E27FC236}">
                  <a16:creationId xmlns:a16="http://schemas.microsoft.com/office/drawing/2014/main" id="{2081793D-CD7B-4FDE-A000-1D88A1953AC6}"/>
                </a:ext>
              </a:extLst>
            </p:cNvPr>
            <p:cNvSpPr/>
            <p:nvPr/>
          </p:nvSpPr>
          <p:spPr>
            <a:xfrm>
              <a:off x="1010102" y="666540"/>
              <a:ext cx="314100" cy="330898"/>
            </a:xfrm>
            <a:custGeom>
              <a:avLst/>
              <a:gdLst/>
              <a:ahLst/>
              <a:cxnLst/>
              <a:rect l="l" t="t" r="r" b="b"/>
              <a:pathLst>
                <a:path w="13799" h="14537" extrusionOk="0">
                  <a:moveTo>
                    <a:pt x="6297" y="0"/>
                  </a:moveTo>
                  <a:cubicBezTo>
                    <a:pt x="5841" y="0"/>
                    <a:pt x="5382" y="61"/>
                    <a:pt x="4927" y="189"/>
                  </a:cubicBezTo>
                  <a:cubicBezTo>
                    <a:pt x="1703" y="1091"/>
                    <a:pt x="1" y="4986"/>
                    <a:pt x="1110" y="8906"/>
                  </a:cubicBezTo>
                  <a:cubicBezTo>
                    <a:pt x="2062" y="12273"/>
                    <a:pt x="4765" y="14536"/>
                    <a:pt x="7535" y="14536"/>
                  </a:cubicBezTo>
                  <a:cubicBezTo>
                    <a:pt x="7990" y="14536"/>
                    <a:pt x="8447" y="14475"/>
                    <a:pt x="8898" y="14348"/>
                  </a:cubicBezTo>
                  <a:cubicBezTo>
                    <a:pt x="12122" y="13445"/>
                    <a:pt x="13799" y="9525"/>
                    <a:pt x="12690" y="5630"/>
                  </a:cubicBezTo>
                  <a:cubicBezTo>
                    <a:pt x="11737" y="2263"/>
                    <a:pt x="9073" y="0"/>
                    <a:pt x="629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391;p74">
              <a:extLst>
                <a:ext uri="{FF2B5EF4-FFF2-40B4-BE49-F238E27FC236}">
                  <a16:creationId xmlns:a16="http://schemas.microsoft.com/office/drawing/2014/main" id="{CEFB8B6B-6910-46FA-9DDA-7717179AA45D}"/>
                </a:ext>
              </a:extLst>
            </p:cNvPr>
            <p:cNvSpPr/>
            <p:nvPr/>
          </p:nvSpPr>
          <p:spPr>
            <a:xfrm>
              <a:off x="1034755" y="691967"/>
              <a:ext cx="265388" cy="280024"/>
            </a:xfrm>
            <a:custGeom>
              <a:avLst/>
              <a:gdLst/>
              <a:ahLst/>
              <a:cxnLst/>
              <a:rect l="l" t="t" r="r" b="b"/>
              <a:pathLst>
                <a:path w="11659" h="12302" extrusionOk="0">
                  <a:moveTo>
                    <a:pt x="5269" y="0"/>
                  </a:moveTo>
                  <a:cubicBezTo>
                    <a:pt x="4888" y="0"/>
                    <a:pt x="4505" y="50"/>
                    <a:pt x="4127" y="155"/>
                  </a:cubicBezTo>
                  <a:cubicBezTo>
                    <a:pt x="1419" y="928"/>
                    <a:pt x="1" y="4230"/>
                    <a:pt x="929" y="7531"/>
                  </a:cubicBezTo>
                  <a:cubicBezTo>
                    <a:pt x="1728" y="10394"/>
                    <a:pt x="4036" y="12302"/>
                    <a:pt x="6390" y="12302"/>
                  </a:cubicBezTo>
                  <a:cubicBezTo>
                    <a:pt x="6771" y="12302"/>
                    <a:pt x="7154" y="12252"/>
                    <a:pt x="7532" y="12147"/>
                  </a:cubicBezTo>
                  <a:cubicBezTo>
                    <a:pt x="10240" y="11374"/>
                    <a:pt x="11658" y="8073"/>
                    <a:pt x="10730" y="4746"/>
                  </a:cubicBezTo>
                  <a:cubicBezTo>
                    <a:pt x="9909" y="1905"/>
                    <a:pt x="7617" y="0"/>
                    <a:pt x="526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392;p74">
              <a:extLst>
                <a:ext uri="{FF2B5EF4-FFF2-40B4-BE49-F238E27FC236}">
                  <a16:creationId xmlns:a16="http://schemas.microsoft.com/office/drawing/2014/main" id="{64A5A636-9ADE-48FC-B27B-E09CC6CE206C}"/>
                </a:ext>
              </a:extLst>
            </p:cNvPr>
            <p:cNvSpPr/>
            <p:nvPr/>
          </p:nvSpPr>
          <p:spPr>
            <a:xfrm>
              <a:off x="1067057" y="726636"/>
              <a:ext cx="200196" cy="210462"/>
            </a:xfrm>
            <a:custGeom>
              <a:avLst/>
              <a:gdLst/>
              <a:ahLst/>
              <a:cxnLst/>
              <a:rect l="l" t="t" r="r" b="b"/>
              <a:pathLst>
                <a:path w="8795" h="9246" extrusionOk="0">
                  <a:moveTo>
                    <a:pt x="4046" y="916"/>
                  </a:moveTo>
                  <a:cubicBezTo>
                    <a:pt x="5465" y="916"/>
                    <a:pt x="6860" y="2074"/>
                    <a:pt x="7351" y="3790"/>
                  </a:cubicBezTo>
                  <a:cubicBezTo>
                    <a:pt x="7918" y="5802"/>
                    <a:pt x="7067" y="7762"/>
                    <a:pt x="5416" y="8226"/>
                  </a:cubicBezTo>
                  <a:cubicBezTo>
                    <a:pt x="5186" y="8292"/>
                    <a:pt x="4952" y="8323"/>
                    <a:pt x="4719" y="8323"/>
                  </a:cubicBezTo>
                  <a:cubicBezTo>
                    <a:pt x="3311" y="8323"/>
                    <a:pt x="1931" y="7170"/>
                    <a:pt x="1445" y="5466"/>
                  </a:cubicBezTo>
                  <a:cubicBezTo>
                    <a:pt x="877" y="3455"/>
                    <a:pt x="1780" y="1469"/>
                    <a:pt x="3379" y="1004"/>
                  </a:cubicBezTo>
                  <a:cubicBezTo>
                    <a:pt x="3600" y="945"/>
                    <a:pt x="3823" y="916"/>
                    <a:pt x="4046" y="916"/>
                  </a:cubicBezTo>
                  <a:close/>
                  <a:moveTo>
                    <a:pt x="4009" y="1"/>
                  </a:moveTo>
                  <a:cubicBezTo>
                    <a:pt x="3713" y="1"/>
                    <a:pt x="3415" y="42"/>
                    <a:pt x="3121" y="128"/>
                  </a:cubicBezTo>
                  <a:cubicBezTo>
                    <a:pt x="1084" y="695"/>
                    <a:pt x="0" y="3171"/>
                    <a:pt x="723" y="5673"/>
                  </a:cubicBezTo>
                  <a:cubicBezTo>
                    <a:pt x="1322" y="7803"/>
                    <a:pt x="3047" y="9246"/>
                    <a:pt x="4815" y="9246"/>
                  </a:cubicBezTo>
                  <a:cubicBezTo>
                    <a:pt x="5102" y="9246"/>
                    <a:pt x="5390" y="9208"/>
                    <a:pt x="5674" y="9129"/>
                  </a:cubicBezTo>
                  <a:cubicBezTo>
                    <a:pt x="7712" y="8561"/>
                    <a:pt x="8795" y="6059"/>
                    <a:pt x="8099" y="3584"/>
                  </a:cubicBezTo>
                  <a:cubicBezTo>
                    <a:pt x="7481" y="1443"/>
                    <a:pt x="5768" y="1"/>
                    <a:pt x="400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393;p74">
              <a:extLst>
                <a:ext uri="{FF2B5EF4-FFF2-40B4-BE49-F238E27FC236}">
                  <a16:creationId xmlns:a16="http://schemas.microsoft.com/office/drawing/2014/main" id="{6E25E42C-2565-46D1-AA95-BE20C33D9C86}"/>
                </a:ext>
              </a:extLst>
            </p:cNvPr>
            <p:cNvSpPr/>
            <p:nvPr/>
          </p:nvSpPr>
          <p:spPr>
            <a:xfrm>
              <a:off x="1143952" y="1042345"/>
              <a:ext cx="251890" cy="264819"/>
            </a:xfrm>
            <a:custGeom>
              <a:avLst/>
              <a:gdLst/>
              <a:ahLst/>
              <a:cxnLst/>
              <a:rect l="l" t="t" r="r" b="b"/>
              <a:pathLst>
                <a:path w="11066" h="11634" extrusionOk="0">
                  <a:moveTo>
                    <a:pt x="5041" y="1"/>
                  </a:moveTo>
                  <a:cubicBezTo>
                    <a:pt x="4668" y="1"/>
                    <a:pt x="4292" y="52"/>
                    <a:pt x="3921" y="160"/>
                  </a:cubicBezTo>
                  <a:cubicBezTo>
                    <a:pt x="1368" y="882"/>
                    <a:pt x="1" y="4003"/>
                    <a:pt x="904" y="7149"/>
                  </a:cubicBezTo>
                  <a:cubicBezTo>
                    <a:pt x="1656" y="9828"/>
                    <a:pt x="3816" y="11633"/>
                    <a:pt x="6044" y="11633"/>
                  </a:cubicBezTo>
                  <a:cubicBezTo>
                    <a:pt x="6411" y="11633"/>
                    <a:pt x="6780" y="11584"/>
                    <a:pt x="7145" y="11482"/>
                  </a:cubicBezTo>
                  <a:cubicBezTo>
                    <a:pt x="9698" y="10760"/>
                    <a:pt x="11065" y="7639"/>
                    <a:pt x="10162" y="4518"/>
                  </a:cubicBezTo>
                  <a:cubicBezTo>
                    <a:pt x="9412" y="1825"/>
                    <a:pt x="7262" y="1"/>
                    <a:pt x="504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2394;p74">
              <a:extLst>
                <a:ext uri="{FF2B5EF4-FFF2-40B4-BE49-F238E27FC236}">
                  <a16:creationId xmlns:a16="http://schemas.microsoft.com/office/drawing/2014/main" id="{358B2644-66F1-4971-A7B3-93125E6E77B1}"/>
                </a:ext>
              </a:extLst>
            </p:cNvPr>
            <p:cNvSpPr/>
            <p:nvPr/>
          </p:nvSpPr>
          <p:spPr>
            <a:xfrm>
              <a:off x="1163916" y="1062605"/>
              <a:ext cx="212556" cy="224507"/>
            </a:xfrm>
            <a:custGeom>
              <a:avLst/>
              <a:gdLst/>
              <a:ahLst/>
              <a:cxnLst/>
              <a:rect l="l" t="t" r="r" b="b"/>
              <a:pathLst>
                <a:path w="9338" h="9863" extrusionOk="0">
                  <a:moveTo>
                    <a:pt x="4226" y="0"/>
                  </a:moveTo>
                  <a:cubicBezTo>
                    <a:pt x="3927" y="0"/>
                    <a:pt x="3625" y="39"/>
                    <a:pt x="3328" y="121"/>
                  </a:cubicBezTo>
                  <a:cubicBezTo>
                    <a:pt x="1136" y="740"/>
                    <a:pt x="1" y="3396"/>
                    <a:pt x="749" y="6053"/>
                  </a:cubicBezTo>
                  <a:cubicBezTo>
                    <a:pt x="1371" y="8340"/>
                    <a:pt x="3197" y="9863"/>
                    <a:pt x="5093" y="9863"/>
                  </a:cubicBezTo>
                  <a:cubicBezTo>
                    <a:pt x="5398" y="9863"/>
                    <a:pt x="5706" y="9823"/>
                    <a:pt x="6010" y="9741"/>
                  </a:cubicBezTo>
                  <a:cubicBezTo>
                    <a:pt x="8176" y="9122"/>
                    <a:pt x="9337" y="6465"/>
                    <a:pt x="8589" y="3835"/>
                  </a:cubicBezTo>
                  <a:cubicBezTo>
                    <a:pt x="7944" y="1543"/>
                    <a:pt x="6109" y="0"/>
                    <a:pt x="422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2395;p74">
              <a:extLst>
                <a:ext uri="{FF2B5EF4-FFF2-40B4-BE49-F238E27FC236}">
                  <a16:creationId xmlns:a16="http://schemas.microsoft.com/office/drawing/2014/main" id="{35D93BF9-3868-45F7-BA31-ADDB7F5287BD}"/>
                </a:ext>
              </a:extLst>
            </p:cNvPr>
            <p:cNvSpPr/>
            <p:nvPr/>
          </p:nvSpPr>
          <p:spPr>
            <a:xfrm>
              <a:off x="1189753" y="1090718"/>
              <a:ext cx="160294" cy="168625"/>
            </a:xfrm>
            <a:custGeom>
              <a:avLst/>
              <a:gdLst/>
              <a:ahLst/>
              <a:cxnLst/>
              <a:rect l="l" t="t" r="r" b="b"/>
              <a:pathLst>
                <a:path w="7042" h="7408" extrusionOk="0">
                  <a:moveTo>
                    <a:pt x="3256" y="745"/>
                  </a:moveTo>
                  <a:cubicBezTo>
                    <a:pt x="4383" y="745"/>
                    <a:pt x="5504" y="1663"/>
                    <a:pt x="5881" y="3038"/>
                  </a:cubicBezTo>
                  <a:cubicBezTo>
                    <a:pt x="6345" y="4637"/>
                    <a:pt x="5649" y="6211"/>
                    <a:pt x="4333" y="6597"/>
                  </a:cubicBezTo>
                  <a:cubicBezTo>
                    <a:pt x="4156" y="6647"/>
                    <a:pt x="3976" y="6671"/>
                    <a:pt x="3795" y="6671"/>
                  </a:cubicBezTo>
                  <a:cubicBezTo>
                    <a:pt x="2665" y="6671"/>
                    <a:pt x="1539" y="5736"/>
                    <a:pt x="1161" y="4379"/>
                  </a:cubicBezTo>
                  <a:cubicBezTo>
                    <a:pt x="697" y="2780"/>
                    <a:pt x="1393" y="1181"/>
                    <a:pt x="2709" y="820"/>
                  </a:cubicBezTo>
                  <a:cubicBezTo>
                    <a:pt x="2889" y="770"/>
                    <a:pt x="3072" y="745"/>
                    <a:pt x="3256" y="745"/>
                  </a:cubicBezTo>
                  <a:close/>
                  <a:moveTo>
                    <a:pt x="3200" y="1"/>
                  </a:moveTo>
                  <a:cubicBezTo>
                    <a:pt x="2967" y="1"/>
                    <a:pt x="2733" y="32"/>
                    <a:pt x="2502" y="98"/>
                  </a:cubicBezTo>
                  <a:cubicBezTo>
                    <a:pt x="903" y="562"/>
                    <a:pt x="1" y="2548"/>
                    <a:pt x="568" y="4534"/>
                  </a:cubicBezTo>
                  <a:cubicBezTo>
                    <a:pt x="1058" y="6250"/>
                    <a:pt x="2454" y="7408"/>
                    <a:pt x="3872" y="7408"/>
                  </a:cubicBezTo>
                  <a:cubicBezTo>
                    <a:pt x="4095" y="7408"/>
                    <a:pt x="4319" y="7379"/>
                    <a:pt x="4540" y="7320"/>
                  </a:cubicBezTo>
                  <a:cubicBezTo>
                    <a:pt x="6165" y="6855"/>
                    <a:pt x="7041" y="4844"/>
                    <a:pt x="6474" y="2858"/>
                  </a:cubicBezTo>
                  <a:cubicBezTo>
                    <a:pt x="5987" y="1154"/>
                    <a:pt x="4608" y="1"/>
                    <a:pt x="32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2396;p74">
              <a:extLst>
                <a:ext uri="{FF2B5EF4-FFF2-40B4-BE49-F238E27FC236}">
                  <a16:creationId xmlns:a16="http://schemas.microsoft.com/office/drawing/2014/main" id="{68BD8819-F7B6-4062-B61C-DDB663284950}"/>
                </a:ext>
              </a:extLst>
            </p:cNvPr>
            <p:cNvSpPr/>
            <p:nvPr/>
          </p:nvSpPr>
          <p:spPr>
            <a:xfrm>
              <a:off x="1293077" y="1382958"/>
              <a:ext cx="142675" cy="162638"/>
            </a:xfrm>
            <a:custGeom>
              <a:avLst/>
              <a:gdLst/>
              <a:ahLst/>
              <a:cxnLst/>
              <a:rect l="l" t="t" r="r" b="b"/>
              <a:pathLst>
                <a:path w="6268" h="7145" fill="none" extrusionOk="0">
                  <a:moveTo>
                    <a:pt x="5752" y="2812"/>
                  </a:moveTo>
                  <a:cubicBezTo>
                    <a:pt x="6268" y="4540"/>
                    <a:pt x="5520" y="6319"/>
                    <a:pt x="4076" y="6732"/>
                  </a:cubicBezTo>
                  <a:cubicBezTo>
                    <a:pt x="2606" y="7145"/>
                    <a:pt x="1032" y="6087"/>
                    <a:pt x="517" y="4359"/>
                  </a:cubicBezTo>
                  <a:cubicBezTo>
                    <a:pt x="1" y="2606"/>
                    <a:pt x="775" y="852"/>
                    <a:pt x="2219" y="439"/>
                  </a:cubicBezTo>
                  <a:cubicBezTo>
                    <a:pt x="3663" y="1"/>
                    <a:pt x="5262" y="1084"/>
                    <a:pt x="5752" y="2812"/>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2397;p74">
              <a:extLst>
                <a:ext uri="{FF2B5EF4-FFF2-40B4-BE49-F238E27FC236}">
                  <a16:creationId xmlns:a16="http://schemas.microsoft.com/office/drawing/2014/main" id="{A04E6A26-B723-4036-94E0-AA5C0847C156}"/>
                </a:ext>
              </a:extLst>
            </p:cNvPr>
            <p:cNvSpPr/>
            <p:nvPr/>
          </p:nvSpPr>
          <p:spPr>
            <a:xfrm>
              <a:off x="1271952" y="1358305"/>
              <a:ext cx="185537" cy="212533"/>
            </a:xfrm>
            <a:custGeom>
              <a:avLst/>
              <a:gdLst/>
              <a:ahLst/>
              <a:cxnLst/>
              <a:rect l="l" t="t" r="r" b="b"/>
              <a:pathLst>
                <a:path w="8151" h="9337" fill="none" extrusionOk="0">
                  <a:moveTo>
                    <a:pt x="7480" y="3663"/>
                  </a:moveTo>
                  <a:cubicBezTo>
                    <a:pt x="8150" y="5907"/>
                    <a:pt x="7170" y="8228"/>
                    <a:pt x="5262" y="8769"/>
                  </a:cubicBezTo>
                  <a:cubicBezTo>
                    <a:pt x="3379" y="9337"/>
                    <a:pt x="1316" y="7944"/>
                    <a:pt x="645" y="5674"/>
                  </a:cubicBezTo>
                  <a:cubicBezTo>
                    <a:pt x="0" y="3405"/>
                    <a:pt x="980" y="1110"/>
                    <a:pt x="2863" y="568"/>
                  </a:cubicBezTo>
                  <a:cubicBezTo>
                    <a:pt x="4746" y="1"/>
                    <a:pt x="6809" y="1393"/>
                    <a:pt x="7480" y="3663"/>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2398;p74">
              <a:extLst>
                <a:ext uri="{FF2B5EF4-FFF2-40B4-BE49-F238E27FC236}">
                  <a16:creationId xmlns:a16="http://schemas.microsoft.com/office/drawing/2014/main" id="{889A8F4D-9CEA-4D02-97C2-13F08EF861A7}"/>
                </a:ext>
              </a:extLst>
            </p:cNvPr>
            <p:cNvSpPr/>
            <p:nvPr/>
          </p:nvSpPr>
          <p:spPr>
            <a:xfrm>
              <a:off x="785250" y="2811350"/>
              <a:ext cx="146795" cy="1224700"/>
            </a:xfrm>
            <a:custGeom>
              <a:avLst/>
              <a:gdLst/>
              <a:ahLst/>
              <a:cxnLst/>
              <a:rect l="l" t="t" r="r" b="b"/>
              <a:pathLst>
                <a:path w="6449" h="63292" extrusionOk="0">
                  <a:moveTo>
                    <a:pt x="6448" y="1"/>
                  </a:moveTo>
                  <a:lnTo>
                    <a:pt x="1" y="491"/>
                  </a:lnTo>
                  <a:lnTo>
                    <a:pt x="1" y="63291"/>
                  </a:lnTo>
                  <a:lnTo>
                    <a:pt x="6448" y="63291"/>
                  </a:lnTo>
                  <a:lnTo>
                    <a:pt x="64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2399;p74">
              <a:extLst>
                <a:ext uri="{FF2B5EF4-FFF2-40B4-BE49-F238E27FC236}">
                  <a16:creationId xmlns:a16="http://schemas.microsoft.com/office/drawing/2014/main" id="{DD034DFC-9D5B-4424-84F6-3F30C0C45172}"/>
                </a:ext>
              </a:extLst>
            </p:cNvPr>
            <p:cNvSpPr/>
            <p:nvPr/>
          </p:nvSpPr>
          <p:spPr>
            <a:xfrm>
              <a:off x="4109943" y="2090999"/>
              <a:ext cx="146795" cy="1077281"/>
            </a:xfrm>
            <a:custGeom>
              <a:avLst/>
              <a:gdLst/>
              <a:ahLst/>
              <a:cxnLst/>
              <a:rect l="l" t="t" r="r" b="b"/>
              <a:pathLst>
                <a:path w="6449" h="47327" extrusionOk="0">
                  <a:moveTo>
                    <a:pt x="6448" y="0"/>
                  </a:moveTo>
                  <a:lnTo>
                    <a:pt x="1" y="361"/>
                  </a:lnTo>
                  <a:lnTo>
                    <a:pt x="1"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2400;p74">
              <a:extLst>
                <a:ext uri="{FF2B5EF4-FFF2-40B4-BE49-F238E27FC236}">
                  <a16:creationId xmlns:a16="http://schemas.microsoft.com/office/drawing/2014/main" id="{AC6DA155-2FEA-4DC7-8E8F-9C3178CD1210}"/>
                </a:ext>
              </a:extLst>
            </p:cNvPr>
            <p:cNvSpPr/>
            <p:nvPr/>
          </p:nvSpPr>
          <p:spPr>
            <a:xfrm>
              <a:off x="4110535" y="2090999"/>
              <a:ext cx="146795" cy="573569"/>
            </a:xfrm>
            <a:custGeom>
              <a:avLst/>
              <a:gdLst/>
              <a:ahLst/>
              <a:cxnLst/>
              <a:rect l="l" t="t" r="r" b="b"/>
              <a:pathLst>
                <a:path w="6449" h="25198" extrusionOk="0">
                  <a:moveTo>
                    <a:pt x="6448" y="0"/>
                  </a:moveTo>
                  <a:lnTo>
                    <a:pt x="0" y="361"/>
                  </a:lnTo>
                  <a:lnTo>
                    <a:pt x="0" y="25198"/>
                  </a:lnTo>
                  <a:cubicBezTo>
                    <a:pt x="413" y="23496"/>
                    <a:pt x="1264" y="21948"/>
                    <a:pt x="2451" y="20659"/>
                  </a:cubicBezTo>
                  <a:cubicBezTo>
                    <a:pt x="3766" y="19292"/>
                    <a:pt x="5313" y="18260"/>
                    <a:pt x="6319" y="16610"/>
                  </a:cubicBezTo>
                  <a:cubicBezTo>
                    <a:pt x="6371" y="16532"/>
                    <a:pt x="6397" y="16481"/>
                    <a:pt x="6448" y="16403"/>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2401;p74">
              <a:extLst>
                <a:ext uri="{FF2B5EF4-FFF2-40B4-BE49-F238E27FC236}">
                  <a16:creationId xmlns:a16="http://schemas.microsoft.com/office/drawing/2014/main" id="{FED1C6D4-15F8-4298-962C-1E19019F4619}"/>
                </a:ext>
              </a:extLst>
            </p:cNvPr>
            <p:cNvSpPr/>
            <p:nvPr/>
          </p:nvSpPr>
          <p:spPr>
            <a:xfrm>
              <a:off x="1746925" y="3298075"/>
              <a:ext cx="146773" cy="1521445"/>
            </a:xfrm>
            <a:custGeom>
              <a:avLst/>
              <a:gdLst/>
              <a:ahLst/>
              <a:cxnLst/>
              <a:rect l="l" t="t" r="r" b="b"/>
              <a:pathLst>
                <a:path w="6448" h="47327" extrusionOk="0">
                  <a:moveTo>
                    <a:pt x="6448" y="0"/>
                  </a:moveTo>
                  <a:lnTo>
                    <a:pt x="0" y="361"/>
                  </a:lnTo>
                  <a:lnTo>
                    <a:pt x="0"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2402;p74">
              <a:extLst>
                <a:ext uri="{FF2B5EF4-FFF2-40B4-BE49-F238E27FC236}">
                  <a16:creationId xmlns:a16="http://schemas.microsoft.com/office/drawing/2014/main" id="{275BB7FC-1DA0-402F-87DE-B716E82231BA}"/>
                </a:ext>
              </a:extLst>
            </p:cNvPr>
            <p:cNvSpPr/>
            <p:nvPr/>
          </p:nvSpPr>
          <p:spPr>
            <a:xfrm>
              <a:off x="1746916" y="3298064"/>
              <a:ext cx="146773" cy="800193"/>
            </a:xfrm>
            <a:custGeom>
              <a:avLst/>
              <a:gdLst/>
              <a:ahLst/>
              <a:cxnLst/>
              <a:rect l="l" t="t" r="r" b="b"/>
              <a:pathLst>
                <a:path w="6448" h="35154" extrusionOk="0">
                  <a:moveTo>
                    <a:pt x="6448" y="0"/>
                  </a:moveTo>
                  <a:lnTo>
                    <a:pt x="0" y="361"/>
                  </a:lnTo>
                  <a:lnTo>
                    <a:pt x="0" y="35153"/>
                  </a:lnTo>
                  <a:cubicBezTo>
                    <a:pt x="696" y="33580"/>
                    <a:pt x="1676" y="32161"/>
                    <a:pt x="2914" y="30949"/>
                  </a:cubicBezTo>
                  <a:cubicBezTo>
                    <a:pt x="4230" y="29531"/>
                    <a:pt x="5313" y="27906"/>
                    <a:pt x="6087" y="26126"/>
                  </a:cubicBezTo>
                  <a:cubicBezTo>
                    <a:pt x="6216" y="25817"/>
                    <a:pt x="6319" y="25507"/>
                    <a:pt x="6448" y="25198"/>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403;p74">
              <a:extLst>
                <a:ext uri="{FF2B5EF4-FFF2-40B4-BE49-F238E27FC236}">
                  <a16:creationId xmlns:a16="http://schemas.microsoft.com/office/drawing/2014/main" id="{6220E426-D1B5-40E8-ADCE-5E7F50F534ED}"/>
                </a:ext>
              </a:extLst>
            </p:cNvPr>
            <p:cNvSpPr/>
            <p:nvPr/>
          </p:nvSpPr>
          <p:spPr>
            <a:xfrm>
              <a:off x="644927" y="1800375"/>
              <a:ext cx="3926873" cy="1822275"/>
            </a:xfrm>
            <a:custGeom>
              <a:avLst/>
              <a:gdLst/>
              <a:ahLst/>
              <a:cxnLst/>
              <a:rect l="l" t="t" r="r" b="b"/>
              <a:pathLst>
                <a:path w="172515" h="80056" extrusionOk="0">
                  <a:moveTo>
                    <a:pt x="121553" y="1"/>
                  </a:moveTo>
                  <a:lnTo>
                    <a:pt x="1" y="43974"/>
                  </a:lnTo>
                  <a:lnTo>
                    <a:pt x="50035" y="80056"/>
                  </a:lnTo>
                  <a:lnTo>
                    <a:pt x="172515" y="13206"/>
                  </a:lnTo>
                  <a:lnTo>
                    <a:pt x="1215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2404;p74">
              <a:extLst>
                <a:ext uri="{FF2B5EF4-FFF2-40B4-BE49-F238E27FC236}">
                  <a16:creationId xmlns:a16="http://schemas.microsoft.com/office/drawing/2014/main" id="{BDE34927-003B-496A-B811-49B6832B54C1}"/>
                </a:ext>
              </a:extLst>
            </p:cNvPr>
            <p:cNvSpPr/>
            <p:nvPr/>
          </p:nvSpPr>
          <p:spPr>
            <a:xfrm>
              <a:off x="644927" y="2801384"/>
              <a:ext cx="1138922" cy="1009767"/>
            </a:xfrm>
            <a:custGeom>
              <a:avLst/>
              <a:gdLst/>
              <a:ahLst/>
              <a:cxnLst/>
              <a:rect l="l" t="t" r="r" b="b"/>
              <a:pathLst>
                <a:path w="50035" h="44361" extrusionOk="0">
                  <a:moveTo>
                    <a:pt x="1" y="0"/>
                  </a:moveTo>
                  <a:lnTo>
                    <a:pt x="1" y="5262"/>
                  </a:lnTo>
                  <a:lnTo>
                    <a:pt x="50035" y="44360"/>
                  </a:lnTo>
                  <a:lnTo>
                    <a:pt x="50035" y="36082"/>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2405;p74">
              <a:extLst>
                <a:ext uri="{FF2B5EF4-FFF2-40B4-BE49-F238E27FC236}">
                  <a16:creationId xmlns:a16="http://schemas.microsoft.com/office/drawing/2014/main" id="{EFA55F30-9BA5-4CDB-AA5D-991F0E18E7AB}"/>
                </a:ext>
              </a:extLst>
            </p:cNvPr>
            <p:cNvSpPr/>
            <p:nvPr/>
          </p:nvSpPr>
          <p:spPr>
            <a:xfrm>
              <a:off x="1783884" y="2100969"/>
              <a:ext cx="2787974" cy="1710147"/>
            </a:xfrm>
            <a:custGeom>
              <a:avLst/>
              <a:gdLst/>
              <a:ahLst/>
              <a:cxnLst/>
              <a:rect l="l" t="t" r="r" b="b"/>
              <a:pathLst>
                <a:path w="122481" h="75130" extrusionOk="0">
                  <a:moveTo>
                    <a:pt x="122481" y="1"/>
                  </a:moveTo>
                  <a:lnTo>
                    <a:pt x="1" y="66851"/>
                  </a:lnTo>
                  <a:lnTo>
                    <a:pt x="1" y="75129"/>
                  </a:lnTo>
                  <a:lnTo>
                    <a:pt x="122481" y="4617"/>
                  </a:lnTo>
                  <a:lnTo>
                    <a:pt x="12248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2406;p74">
              <a:extLst>
                <a:ext uri="{FF2B5EF4-FFF2-40B4-BE49-F238E27FC236}">
                  <a16:creationId xmlns:a16="http://schemas.microsoft.com/office/drawing/2014/main" id="{EBA8867E-3017-4868-A8A4-E56D67D27FCB}"/>
                </a:ext>
              </a:extLst>
            </p:cNvPr>
            <p:cNvSpPr/>
            <p:nvPr/>
          </p:nvSpPr>
          <p:spPr>
            <a:xfrm>
              <a:off x="644927" y="2801384"/>
              <a:ext cx="1138922" cy="869459"/>
            </a:xfrm>
            <a:custGeom>
              <a:avLst/>
              <a:gdLst/>
              <a:ahLst/>
              <a:cxnLst/>
              <a:rect l="l" t="t" r="r" b="b"/>
              <a:pathLst>
                <a:path w="50035" h="38197" extrusionOk="0">
                  <a:moveTo>
                    <a:pt x="1" y="0"/>
                  </a:moveTo>
                  <a:lnTo>
                    <a:pt x="1" y="2605"/>
                  </a:lnTo>
                  <a:lnTo>
                    <a:pt x="50035" y="38196"/>
                  </a:lnTo>
                  <a:lnTo>
                    <a:pt x="50035" y="36082"/>
                  </a:lnTo>
                  <a:lnTo>
                    <a:pt x="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2407;p74">
              <a:extLst>
                <a:ext uri="{FF2B5EF4-FFF2-40B4-BE49-F238E27FC236}">
                  <a16:creationId xmlns:a16="http://schemas.microsoft.com/office/drawing/2014/main" id="{E24F207F-ECE8-4F9B-B8F3-727D6AAEA45C}"/>
                </a:ext>
              </a:extLst>
            </p:cNvPr>
            <p:cNvSpPr/>
            <p:nvPr/>
          </p:nvSpPr>
          <p:spPr>
            <a:xfrm>
              <a:off x="644927" y="1800375"/>
              <a:ext cx="3419656" cy="1821683"/>
            </a:xfrm>
            <a:custGeom>
              <a:avLst/>
              <a:gdLst/>
              <a:ahLst/>
              <a:cxnLst/>
              <a:rect l="l" t="t" r="r" b="b"/>
              <a:pathLst>
                <a:path w="150232" h="80030" extrusionOk="0">
                  <a:moveTo>
                    <a:pt x="121553" y="1"/>
                  </a:moveTo>
                  <a:lnTo>
                    <a:pt x="1" y="43974"/>
                  </a:lnTo>
                  <a:lnTo>
                    <a:pt x="50035" y="80030"/>
                  </a:lnTo>
                  <a:lnTo>
                    <a:pt x="75129" y="66361"/>
                  </a:lnTo>
                  <a:cubicBezTo>
                    <a:pt x="74368" y="66317"/>
                    <a:pt x="73607" y="66296"/>
                    <a:pt x="72848" y="66296"/>
                  </a:cubicBezTo>
                  <a:cubicBezTo>
                    <a:pt x="70929" y="66296"/>
                    <a:pt x="69018" y="66430"/>
                    <a:pt x="67134" y="66670"/>
                  </a:cubicBezTo>
                  <a:cubicBezTo>
                    <a:pt x="63462" y="67154"/>
                    <a:pt x="59726" y="67860"/>
                    <a:pt x="56014" y="67860"/>
                  </a:cubicBezTo>
                  <a:cubicBezTo>
                    <a:pt x="54981" y="67860"/>
                    <a:pt x="53951" y="67805"/>
                    <a:pt x="52923" y="67676"/>
                  </a:cubicBezTo>
                  <a:cubicBezTo>
                    <a:pt x="49313" y="67212"/>
                    <a:pt x="45496" y="65767"/>
                    <a:pt x="42839" y="63163"/>
                  </a:cubicBezTo>
                  <a:cubicBezTo>
                    <a:pt x="38738" y="59088"/>
                    <a:pt x="39177" y="53207"/>
                    <a:pt x="41653" y="48359"/>
                  </a:cubicBezTo>
                  <a:cubicBezTo>
                    <a:pt x="43020" y="45676"/>
                    <a:pt x="44851" y="43226"/>
                    <a:pt x="47043" y="41137"/>
                  </a:cubicBezTo>
                  <a:cubicBezTo>
                    <a:pt x="49777" y="38532"/>
                    <a:pt x="53027" y="36624"/>
                    <a:pt x="56276" y="34767"/>
                  </a:cubicBezTo>
                  <a:cubicBezTo>
                    <a:pt x="72860" y="25328"/>
                    <a:pt x="95762" y="17307"/>
                    <a:pt x="114615" y="14650"/>
                  </a:cubicBezTo>
                  <a:cubicBezTo>
                    <a:pt x="120856" y="13773"/>
                    <a:pt x="143114" y="15346"/>
                    <a:pt x="150232" y="7661"/>
                  </a:cubicBezTo>
                  <a:lnTo>
                    <a:pt x="12155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2408;p74">
              <a:extLst>
                <a:ext uri="{FF2B5EF4-FFF2-40B4-BE49-F238E27FC236}">
                  <a16:creationId xmlns:a16="http://schemas.microsoft.com/office/drawing/2014/main" id="{355C9666-5D6A-495E-8B01-87586F629F4C}"/>
                </a:ext>
              </a:extLst>
            </p:cNvPr>
            <p:cNvSpPr/>
            <p:nvPr/>
          </p:nvSpPr>
          <p:spPr>
            <a:xfrm>
              <a:off x="1851401" y="2167894"/>
              <a:ext cx="2072344" cy="1047348"/>
            </a:xfrm>
            <a:custGeom>
              <a:avLst/>
              <a:gdLst/>
              <a:ahLst/>
              <a:cxnLst/>
              <a:rect l="l" t="t" r="r" b="b"/>
              <a:pathLst>
                <a:path w="91042" h="46012" extrusionOk="0">
                  <a:moveTo>
                    <a:pt x="67521" y="1"/>
                  </a:moveTo>
                  <a:lnTo>
                    <a:pt x="1" y="29093"/>
                  </a:lnTo>
                  <a:lnTo>
                    <a:pt x="1" y="30125"/>
                  </a:lnTo>
                  <a:lnTo>
                    <a:pt x="23960" y="46012"/>
                  </a:lnTo>
                  <a:lnTo>
                    <a:pt x="91042" y="9002"/>
                  </a:lnTo>
                  <a:lnTo>
                    <a:pt x="91042" y="8151"/>
                  </a:lnTo>
                  <a:lnTo>
                    <a:pt x="6752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2409;p74">
              <a:extLst>
                <a:ext uri="{FF2B5EF4-FFF2-40B4-BE49-F238E27FC236}">
                  <a16:creationId xmlns:a16="http://schemas.microsoft.com/office/drawing/2014/main" id="{8656B5E0-683E-48B6-9CFF-5192DC788107}"/>
                </a:ext>
              </a:extLst>
            </p:cNvPr>
            <p:cNvSpPr/>
            <p:nvPr/>
          </p:nvSpPr>
          <p:spPr>
            <a:xfrm>
              <a:off x="1851401" y="2141488"/>
              <a:ext cx="2072344" cy="1022105"/>
            </a:xfrm>
            <a:custGeom>
              <a:avLst/>
              <a:gdLst/>
              <a:ahLst/>
              <a:cxnLst/>
              <a:rect l="l" t="t" r="r" b="b"/>
              <a:pathLst>
                <a:path w="91042" h="44903" extrusionOk="0">
                  <a:moveTo>
                    <a:pt x="67882" y="0"/>
                  </a:moveTo>
                  <a:lnTo>
                    <a:pt x="1" y="30253"/>
                  </a:lnTo>
                  <a:lnTo>
                    <a:pt x="24192" y="44902"/>
                  </a:lnTo>
                  <a:lnTo>
                    <a:pt x="91042" y="9311"/>
                  </a:lnTo>
                  <a:lnTo>
                    <a:pt x="6788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2410;p74">
              <a:extLst>
                <a:ext uri="{FF2B5EF4-FFF2-40B4-BE49-F238E27FC236}">
                  <a16:creationId xmlns:a16="http://schemas.microsoft.com/office/drawing/2014/main" id="{CE334290-62E3-4E80-88AA-1E9BDA304099}"/>
                </a:ext>
              </a:extLst>
            </p:cNvPr>
            <p:cNvSpPr/>
            <p:nvPr/>
          </p:nvSpPr>
          <p:spPr>
            <a:xfrm>
              <a:off x="3028533" y="1914284"/>
              <a:ext cx="358714" cy="328190"/>
            </a:xfrm>
            <a:custGeom>
              <a:avLst/>
              <a:gdLst/>
              <a:ahLst/>
              <a:cxnLst/>
              <a:rect l="l" t="t" r="r" b="b"/>
              <a:pathLst>
                <a:path w="15759" h="14418" fill="none" extrusionOk="0">
                  <a:moveTo>
                    <a:pt x="2012" y="0"/>
                  </a:moveTo>
                  <a:cubicBezTo>
                    <a:pt x="1315" y="1909"/>
                    <a:pt x="0" y="3482"/>
                    <a:pt x="2528" y="4849"/>
                  </a:cubicBezTo>
                  <a:cubicBezTo>
                    <a:pt x="4281" y="5778"/>
                    <a:pt x="6757" y="5365"/>
                    <a:pt x="8717" y="5545"/>
                  </a:cubicBezTo>
                  <a:cubicBezTo>
                    <a:pt x="10884" y="5752"/>
                    <a:pt x="11761" y="6706"/>
                    <a:pt x="12277" y="8847"/>
                  </a:cubicBezTo>
                  <a:cubicBezTo>
                    <a:pt x="12715" y="10729"/>
                    <a:pt x="13102" y="14417"/>
                    <a:pt x="15758" y="14160"/>
                  </a:cubicBezTo>
                </a:path>
              </a:pathLst>
            </a:custGeom>
            <a:noFill/>
            <a:ln w="83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2411;p74">
              <a:extLst>
                <a:ext uri="{FF2B5EF4-FFF2-40B4-BE49-F238E27FC236}">
                  <a16:creationId xmlns:a16="http://schemas.microsoft.com/office/drawing/2014/main" id="{1205A246-FCEA-4273-84B2-784B0E401D9E}"/>
                </a:ext>
              </a:extLst>
            </p:cNvPr>
            <p:cNvSpPr/>
            <p:nvPr/>
          </p:nvSpPr>
          <p:spPr>
            <a:xfrm>
              <a:off x="3303882" y="2218316"/>
              <a:ext cx="300010" cy="208345"/>
            </a:xfrm>
            <a:custGeom>
              <a:avLst/>
              <a:gdLst/>
              <a:ahLst/>
              <a:cxnLst/>
              <a:rect l="l" t="t" r="r" b="b"/>
              <a:pathLst>
                <a:path w="13180" h="9153" extrusionOk="0">
                  <a:moveTo>
                    <a:pt x="5648" y="1"/>
                  </a:moveTo>
                  <a:cubicBezTo>
                    <a:pt x="4852" y="1"/>
                    <a:pt x="4039" y="270"/>
                    <a:pt x="2708" y="752"/>
                  </a:cubicBezTo>
                  <a:cubicBezTo>
                    <a:pt x="0" y="1732"/>
                    <a:pt x="825" y="4208"/>
                    <a:pt x="1522" y="5033"/>
                  </a:cubicBezTo>
                  <a:cubicBezTo>
                    <a:pt x="1698" y="5239"/>
                    <a:pt x="1741" y="5285"/>
                    <a:pt x="1799" y="5285"/>
                  </a:cubicBezTo>
                  <a:cubicBezTo>
                    <a:pt x="1845" y="5285"/>
                    <a:pt x="1901" y="5257"/>
                    <a:pt x="2042" y="5257"/>
                  </a:cubicBezTo>
                  <a:cubicBezTo>
                    <a:pt x="2191" y="5257"/>
                    <a:pt x="2435" y="5288"/>
                    <a:pt x="2863" y="5420"/>
                  </a:cubicBezTo>
                  <a:cubicBezTo>
                    <a:pt x="4230" y="5859"/>
                    <a:pt x="4410" y="6374"/>
                    <a:pt x="5236" y="7690"/>
                  </a:cubicBezTo>
                  <a:cubicBezTo>
                    <a:pt x="5818" y="8590"/>
                    <a:pt x="7199" y="9152"/>
                    <a:pt x="8724" y="9152"/>
                  </a:cubicBezTo>
                  <a:cubicBezTo>
                    <a:pt x="9426" y="9152"/>
                    <a:pt x="10159" y="9033"/>
                    <a:pt x="10858" y="8773"/>
                  </a:cubicBezTo>
                  <a:cubicBezTo>
                    <a:pt x="12483" y="8154"/>
                    <a:pt x="13024" y="6684"/>
                    <a:pt x="13102" y="5446"/>
                  </a:cubicBezTo>
                  <a:cubicBezTo>
                    <a:pt x="13179" y="4182"/>
                    <a:pt x="11606" y="2325"/>
                    <a:pt x="8614" y="932"/>
                  </a:cubicBezTo>
                  <a:cubicBezTo>
                    <a:pt x="7276" y="290"/>
                    <a:pt x="6472" y="1"/>
                    <a:pt x="564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2412;p74">
              <a:extLst>
                <a:ext uri="{FF2B5EF4-FFF2-40B4-BE49-F238E27FC236}">
                  <a16:creationId xmlns:a16="http://schemas.microsoft.com/office/drawing/2014/main" id="{C415EA10-5234-4A40-BF52-13221E0B2C03}"/>
                </a:ext>
              </a:extLst>
            </p:cNvPr>
            <p:cNvSpPr/>
            <p:nvPr/>
          </p:nvSpPr>
          <p:spPr>
            <a:xfrm>
              <a:off x="3364342" y="2221025"/>
              <a:ext cx="162046" cy="102591"/>
            </a:xfrm>
            <a:custGeom>
              <a:avLst/>
              <a:gdLst/>
              <a:ahLst/>
              <a:cxnLst/>
              <a:rect l="l" t="t" r="r" b="b"/>
              <a:pathLst>
                <a:path w="7119" h="4507" extrusionOk="0">
                  <a:moveTo>
                    <a:pt x="1858" y="0"/>
                  </a:moveTo>
                  <a:cubicBezTo>
                    <a:pt x="1690" y="0"/>
                    <a:pt x="1433" y="29"/>
                    <a:pt x="981" y="117"/>
                  </a:cubicBezTo>
                  <a:cubicBezTo>
                    <a:pt x="826" y="143"/>
                    <a:pt x="0" y="504"/>
                    <a:pt x="52" y="633"/>
                  </a:cubicBezTo>
                  <a:cubicBezTo>
                    <a:pt x="542" y="1613"/>
                    <a:pt x="3766" y="3883"/>
                    <a:pt x="3766" y="3883"/>
                  </a:cubicBezTo>
                  <a:cubicBezTo>
                    <a:pt x="4267" y="4313"/>
                    <a:pt x="4861" y="4507"/>
                    <a:pt x="5405" y="4507"/>
                  </a:cubicBezTo>
                  <a:cubicBezTo>
                    <a:pt x="6261" y="4507"/>
                    <a:pt x="6994" y="4027"/>
                    <a:pt x="7041" y="3238"/>
                  </a:cubicBezTo>
                  <a:cubicBezTo>
                    <a:pt x="7119" y="2026"/>
                    <a:pt x="2915" y="117"/>
                    <a:pt x="2425" y="91"/>
                  </a:cubicBezTo>
                  <a:cubicBezTo>
                    <a:pt x="2169" y="75"/>
                    <a:pt x="2131" y="0"/>
                    <a:pt x="185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2413;p74">
              <a:extLst>
                <a:ext uri="{FF2B5EF4-FFF2-40B4-BE49-F238E27FC236}">
                  <a16:creationId xmlns:a16="http://schemas.microsoft.com/office/drawing/2014/main" id="{929FBA80-5CF5-416E-A6E4-06F4973F1316}"/>
                </a:ext>
              </a:extLst>
            </p:cNvPr>
            <p:cNvSpPr/>
            <p:nvPr/>
          </p:nvSpPr>
          <p:spPr>
            <a:xfrm>
              <a:off x="3325007" y="2270604"/>
              <a:ext cx="272422" cy="161932"/>
            </a:xfrm>
            <a:custGeom>
              <a:avLst/>
              <a:gdLst/>
              <a:ahLst/>
              <a:cxnLst/>
              <a:rect l="l" t="t" r="r" b="b"/>
              <a:pathLst>
                <a:path w="11968" h="7114" extrusionOk="0">
                  <a:moveTo>
                    <a:pt x="1048" y="0"/>
                  </a:moveTo>
                  <a:cubicBezTo>
                    <a:pt x="855" y="0"/>
                    <a:pt x="673" y="75"/>
                    <a:pt x="516" y="260"/>
                  </a:cubicBezTo>
                  <a:cubicBezTo>
                    <a:pt x="0" y="1086"/>
                    <a:pt x="52" y="2143"/>
                    <a:pt x="671" y="2917"/>
                  </a:cubicBezTo>
                  <a:cubicBezTo>
                    <a:pt x="1058" y="3381"/>
                    <a:pt x="2244" y="3819"/>
                    <a:pt x="2760" y="4180"/>
                  </a:cubicBezTo>
                  <a:cubicBezTo>
                    <a:pt x="3508" y="4671"/>
                    <a:pt x="3843" y="5573"/>
                    <a:pt x="4591" y="6115"/>
                  </a:cubicBezTo>
                  <a:cubicBezTo>
                    <a:pt x="5339" y="6656"/>
                    <a:pt x="6242" y="6992"/>
                    <a:pt x="7170" y="7095"/>
                  </a:cubicBezTo>
                  <a:cubicBezTo>
                    <a:pt x="7280" y="7107"/>
                    <a:pt x="7407" y="7114"/>
                    <a:pt x="7548" y="7114"/>
                  </a:cubicBezTo>
                  <a:cubicBezTo>
                    <a:pt x="8897" y="7114"/>
                    <a:pt x="11500" y="6502"/>
                    <a:pt x="11967" y="4284"/>
                  </a:cubicBezTo>
                  <a:lnTo>
                    <a:pt x="11967" y="4284"/>
                  </a:lnTo>
                  <a:cubicBezTo>
                    <a:pt x="10887" y="5534"/>
                    <a:pt x="9824" y="5966"/>
                    <a:pt x="8807" y="5966"/>
                  </a:cubicBezTo>
                  <a:cubicBezTo>
                    <a:pt x="8586" y="5966"/>
                    <a:pt x="8367" y="5945"/>
                    <a:pt x="8150" y="5908"/>
                  </a:cubicBezTo>
                  <a:cubicBezTo>
                    <a:pt x="5700" y="5444"/>
                    <a:pt x="4540" y="2762"/>
                    <a:pt x="2863" y="1215"/>
                  </a:cubicBezTo>
                  <a:cubicBezTo>
                    <a:pt x="2523" y="894"/>
                    <a:pt x="1718" y="0"/>
                    <a:pt x="104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2414;p74">
              <a:extLst>
                <a:ext uri="{FF2B5EF4-FFF2-40B4-BE49-F238E27FC236}">
                  <a16:creationId xmlns:a16="http://schemas.microsoft.com/office/drawing/2014/main" id="{77F339DB-6563-423A-9EEB-7710FE6ECFA3}"/>
                </a:ext>
              </a:extLst>
            </p:cNvPr>
            <p:cNvSpPr/>
            <p:nvPr/>
          </p:nvSpPr>
          <p:spPr>
            <a:xfrm>
              <a:off x="3397213" y="2231837"/>
              <a:ext cx="59319" cy="36579"/>
            </a:xfrm>
            <a:custGeom>
              <a:avLst/>
              <a:gdLst/>
              <a:ahLst/>
              <a:cxnLst/>
              <a:rect l="l" t="t" r="r" b="b"/>
              <a:pathLst>
                <a:path w="2606" h="1607" extrusionOk="0">
                  <a:moveTo>
                    <a:pt x="579" y="0"/>
                  </a:moveTo>
                  <a:cubicBezTo>
                    <a:pt x="300" y="0"/>
                    <a:pt x="73" y="153"/>
                    <a:pt x="1" y="416"/>
                  </a:cubicBezTo>
                  <a:cubicBezTo>
                    <a:pt x="1" y="416"/>
                    <a:pt x="1634" y="1604"/>
                    <a:pt x="1943" y="1604"/>
                  </a:cubicBezTo>
                  <a:cubicBezTo>
                    <a:pt x="1950" y="1604"/>
                    <a:pt x="1956" y="1603"/>
                    <a:pt x="1961" y="1602"/>
                  </a:cubicBezTo>
                  <a:cubicBezTo>
                    <a:pt x="1980" y="1605"/>
                    <a:pt x="1998" y="1606"/>
                    <a:pt x="2016" y="1606"/>
                  </a:cubicBezTo>
                  <a:cubicBezTo>
                    <a:pt x="2173" y="1606"/>
                    <a:pt x="2307" y="1511"/>
                    <a:pt x="2399" y="1396"/>
                  </a:cubicBezTo>
                  <a:cubicBezTo>
                    <a:pt x="2606" y="1190"/>
                    <a:pt x="2451" y="983"/>
                    <a:pt x="2116" y="700"/>
                  </a:cubicBezTo>
                  <a:cubicBezTo>
                    <a:pt x="1780" y="390"/>
                    <a:pt x="1161" y="3"/>
                    <a:pt x="646" y="3"/>
                  </a:cubicBezTo>
                  <a:cubicBezTo>
                    <a:pt x="623" y="1"/>
                    <a:pt x="601" y="0"/>
                    <a:pt x="5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2415;p74">
              <a:extLst>
                <a:ext uri="{FF2B5EF4-FFF2-40B4-BE49-F238E27FC236}">
                  <a16:creationId xmlns:a16="http://schemas.microsoft.com/office/drawing/2014/main" id="{892CF764-3C42-4AD1-8092-BDDED3FC7836}"/>
                </a:ext>
              </a:extLst>
            </p:cNvPr>
            <p:cNvSpPr/>
            <p:nvPr/>
          </p:nvSpPr>
          <p:spPr>
            <a:xfrm>
              <a:off x="2211887" y="2725057"/>
              <a:ext cx="297073" cy="243058"/>
            </a:xfrm>
            <a:custGeom>
              <a:avLst/>
              <a:gdLst/>
              <a:ahLst/>
              <a:cxnLst/>
              <a:rect l="l" t="t" r="r" b="b"/>
              <a:pathLst>
                <a:path w="13051" h="10678" extrusionOk="0">
                  <a:moveTo>
                    <a:pt x="336" y="0"/>
                  </a:moveTo>
                  <a:lnTo>
                    <a:pt x="0" y="1599"/>
                  </a:lnTo>
                  <a:lnTo>
                    <a:pt x="12173" y="10059"/>
                  </a:lnTo>
                  <a:lnTo>
                    <a:pt x="13050" y="10678"/>
                  </a:lnTo>
                  <a:lnTo>
                    <a:pt x="13050" y="8047"/>
                  </a:lnTo>
                  <a:lnTo>
                    <a:pt x="3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2416;p74">
              <a:extLst>
                <a:ext uri="{FF2B5EF4-FFF2-40B4-BE49-F238E27FC236}">
                  <a16:creationId xmlns:a16="http://schemas.microsoft.com/office/drawing/2014/main" id="{B00E7EE0-7BDF-44C4-A6C8-2BD5ADECA399}"/>
                </a:ext>
              </a:extLst>
            </p:cNvPr>
            <p:cNvSpPr/>
            <p:nvPr/>
          </p:nvSpPr>
          <p:spPr>
            <a:xfrm>
              <a:off x="2240068" y="2780828"/>
              <a:ext cx="268893" cy="187290"/>
            </a:xfrm>
            <a:custGeom>
              <a:avLst/>
              <a:gdLst/>
              <a:ahLst/>
              <a:cxnLst/>
              <a:rect l="l" t="t" r="r" b="b"/>
              <a:pathLst>
                <a:path w="11813" h="8228" extrusionOk="0">
                  <a:moveTo>
                    <a:pt x="0" y="1"/>
                  </a:moveTo>
                  <a:lnTo>
                    <a:pt x="11812" y="8228"/>
                  </a:lnTo>
                  <a:lnTo>
                    <a:pt x="11039" y="6732"/>
                  </a:lnTo>
                  <a:lnTo>
                    <a:pt x="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2417;p74">
              <a:extLst>
                <a:ext uri="{FF2B5EF4-FFF2-40B4-BE49-F238E27FC236}">
                  <a16:creationId xmlns:a16="http://schemas.microsoft.com/office/drawing/2014/main" id="{66757DE8-4D40-43DA-B2F7-9DB62603C722}"/>
                </a:ext>
              </a:extLst>
            </p:cNvPr>
            <p:cNvSpPr/>
            <p:nvPr/>
          </p:nvSpPr>
          <p:spPr>
            <a:xfrm>
              <a:off x="2219512" y="2344631"/>
              <a:ext cx="1137169" cy="563599"/>
            </a:xfrm>
            <a:custGeom>
              <a:avLst/>
              <a:gdLst/>
              <a:ahLst/>
              <a:cxnLst/>
              <a:rect l="l" t="t" r="r" b="b"/>
              <a:pathLst>
                <a:path w="49958" h="24760" extrusionOk="0">
                  <a:moveTo>
                    <a:pt x="38609" y="0"/>
                  </a:moveTo>
                  <a:lnTo>
                    <a:pt x="1" y="16712"/>
                  </a:lnTo>
                  <a:lnTo>
                    <a:pt x="12715" y="24759"/>
                  </a:lnTo>
                  <a:lnTo>
                    <a:pt x="49957" y="5107"/>
                  </a:lnTo>
                  <a:lnTo>
                    <a:pt x="3860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2418;p74">
              <a:extLst>
                <a:ext uri="{FF2B5EF4-FFF2-40B4-BE49-F238E27FC236}">
                  <a16:creationId xmlns:a16="http://schemas.microsoft.com/office/drawing/2014/main" id="{99651DB0-DE9A-4E18-81C5-10D97CF92629}"/>
                </a:ext>
              </a:extLst>
            </p:cNvPr>
            <p:cNvSpPr/>
            <p:nvPr/>
          </p:nvSpPr>
          <p:spPr>
            <a:xfrm>
              <a:off x="2508952" y="2460862"/>
              <a:ext cx="862995" cy="507240"/>
            </a:xfrm>
            <a:custGeom>
              <a:avLst/>
              <a:gdLst/>
              <a:ahLst/>
              <a:cxnLst/>
              <a:rect l="l" t="t" r="r" b="b"/>
              <a:pathLst>
                <a:path w="37913" h="22284" extrusionOk="0">
                  <a:moveTo>
                    <a:pt x="37242" y="1"/>
                  </a:moveTo>
                  <a:lnTo>
                    <a:pt x="0" y="19653"/>
                  </a:lnTo>
                  <a:lnTo>
                    <a:pt x="0" y="22284"/>
                  </a:lnTo>
                  <a:lnTo>
                    <a:pt x="37913" y="1058"/>
                  </a:lnTo>
                  <a:lnTo>
                    <a:pt x="3724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2419;p74">
              <a:extLst>
                <a:ext uri="{FF2B5EF4-FFF2-40B4-BE49-F238E27FC236}">
                  <a16:creationId xmlns:a16="http://schemas.microsoft.com/office/drawing/2014/main" id="{390B7C7E-1C77-4641-817B-F50A8A677DEA}"/>
                </a:ext>
              </a:extLst>
            </p:cNvPr>
            <p:cNvSpPr/>
            <p:nvPr/>
          </p:nvSpPr>
          <p:spPr>
            <a:xfrm>
              <a:off x="2274692" y="2363411"/>
              <a:ext cx="834246" cy="372212"/>
            </a:xfrm>
            <a:custGeom>
              <a:avLst/>
              <a:gdLst/>
              <a:ahLst/>
              <a:cxnLst/>
              <a:rect l="l" t="t" r="r" b="b"/>
              <a:pathLst>
                <a:path w="36650" h="16352" extrusionOk="0">
                  <a:moveTo>
                    <a:pt x="36108" y="0"/>
                  </a:moveTo>
                  <a:lnTo>
                    <a:pt x="1" y="15784"/>
                  </a:lnTo>
                  <a:lnTo>
                    <a:pt x="800" y="16352"/>
                  </a:lnTo>
                  <a:lnTo>
                    <a:pt x="36649" y="232"/>
                  </a:lnTo>
                  <a:lnTo>
                    <a:pt x="3610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2420;p74">
              <a:extLst>
                <a:ext uri="{FF2B5EF4-FFF2-40B4-BE49-F238E27FC236}">
                  <a16:creationId xmlns:a16="http://schemas.microsoft.com/office/drawing/2014/main" id="{6EFD810B-C549-4D5B-B06F-EF223F40A3A5}"/>
                </a:ext>
              </a:extLst>
            </p:cNvPr>
            <p:cNvSpPr/>
            <p:nvPr/>
          </p:nvSpPr>
          <p:spPr>
            <a:xfrm>
              <a:off x="3032630" y="2457334"/>
              <a:ext cx="88091" cy="48757"/>
            </a:xfrm>
            <a:custGeom>
              <a:avLst/>
              <a:gdLst/>
              <a:ahLst/>
              <a:cxnLst/>
              <a:rect l="l" t="t" r="r" b="b"/>
              <a:pathLst>
                <a:path w="3870" h="2142" extrusionOk="0">
                  <a:moveTo>
                    <a:pt x="2038" y="1"/>
                  </a:moveTo>
                  <a:lnTo>
                    <a:pt x="1" y="981"/>
                  </a:lnTo>
                  <a:lnTo>
                    <a:pt x="1858" y="2141"/>
                  </a:lnTo>
                  <a:lnTo>
                    <a:pt x="3869" y="1136"/>
                  </a:lnTo>
                  <a:lnTo>
                    <a:pt x="20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2421;p74">
              <a:extLst>
                <a:ext uri="{FF2B5EF4-FFF2-40B4-BE49-F238E27FC236}">
                  <a16:creationId xmlns:a16="http://schemas.microsoft.com/office/drawing/2014/main" id="{77E01241-C401-4B6D-9C52-D8BDEF5DDB5A}"/>
                </a:ext>
              </a:extLst>
            </p:cNvPr>
            <p:cNvSpPr/>
            <p:nvPr/>
          </p:nvSpPr>
          <p:spPr>
            <a:xfrm>
              <a:off x="2990950" y="2432089"/>
              <a:ext cx="77506" cy="41132"/>
            </a:xfrm>
            <a:custGeom>
              <a:avLst/>
              <a:gdLst/>
              <a:ahLst/>
              <a:cxnLst/>
              <a:rect l="l" t="t" r="r" b="b"/>
              <a:pathLst>
                <a:path w="3405" h="1807" extrusionOk="0">
                  <a:moveTo>
                    <a:pt x="2064" y="1"/>
                  </a:moveTo>
                  <a:lnTo>
                    <a:pt x="1" y="955"/>
                  </a:lnTo>
                  <a:lnTo>
                    <a:pt x="1367" y="1806"/>
                  </a:lnTo>
                  <a:lnTo>
                    <a:pt x="3405" y="826"/>
                  </a:lnTo>
                  <a:lnTo>
                    <a:pt x="206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2422;p74">
              <a:extLst>
                <a:ext uri="{FF2B5EF4-FFF2-40B4-BE49-F238E27FC236}">
                  <a16:creationId xmlns:a16="http://schemas.microsoft.com/office/drawing/2014/main" id="{A161A52D-2AC2-48B3-90B0-5C6BCFD21B19}"/>
                </a:ext>
              </a:extLst>
            </p:cNvPr>
            <p:cNvSpPr/>
            <p:nvPr/>
          </p:nvSpPr>
          <p:spPr>
            <a:xfrm>
              <a:off x="2645147" y="2595896"/>
              <a:ext cx="75185" cy="40540"/>
            </a:xfrm>
            <a:custGeom>
              <a:avLst/>
              <a:gdLst/>
              <a:ahLst/>
              <a:cxnLst/>
              <a:rect l="l" t="t" r="r" b="b"/>
              <a:pathLst>
                <a:path w="3303" h="1781" extrusionOk="0">
                  <a:moveTo>
                    <a:pt x="1780" y="0"/>
                  </a:moveTo>
                  <a:lnTo>
                    <a:pt x="1" y="826"/>
                  </a:lnTo>
                  <a:lnTo>
                    <a:pt x="1522" y="1780"/>
                  </a:lnTo>
                  <a:lnTo>
                    <a:pt x="3302" y="955"/>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2423;p74">
              <a:extLst>
                <a:ext uri="{FF2B5EF4-FFF2-40B4-BE49-F238E27FC236}">
                  <a16:creationId xmlns:a16="http://schemas.microsoft.com/office/drawing/2014/main" id="{C56BD42C-F379-4499-BEDB-E199A03735CC}"/>
                </a:ext>
              </a:extLst>
            </p:cNvPr>
            <p:cNvSpPr/>
            <p:nvPr/>
          </p:nvSpPr>
          <p:spPr>
            <a:xfrm>
              <a:off x="3087832" y="2431520"/>
              <a:ext cx="85724" cy="46982"/>
            </a:xfrm>
            <a:custGeom>
              <a:avLst/>
              <a:gdLst/>
              <a:ahLst/>
              <a:cxnLst/>
              <a:rect l="l" t="t" r="r" b="b"/>
              <a:pathLst>
                <a:path w="3766" h="2064" extrusionOk="0">
                  <a:moveTo>
                    <a:pt x="1986" y="0"/>
                  </a:moveTo>
                  <a:lnTo>
                    <a:pt x="0" y="929"/>
                  </a:lnTo>
                  <a:lnTo>
                    <a:pt x="1831" y="2063"/>
                  </a:lnTo>
                  <a:lnTo>
                    <a:pt x="3765" y="1109"/>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2424;p74">
              <a:extLst>
                <a:ext uri="{FF2B5EF4-FFF2-40B4-BE49-F238E27FC236}">
                  <a16:creationId xmlns:a16="http://schemas.microsoft.com/office/drawing/2014/main" id="{60F03E06-25F0-4302-A12F-603AD8444475}"/>
                </a:ext>
              </a:extLst>
            </p:cNvPr>
            <p:cNvSpPr/>
            <p:nvPr/>
          </p:nvSpPr>
          <p:spPr>
            <a:xfrm>
              <a:off x="3047313" y="2406275"/>
              <a:ext cx="75162" cy="39925"/>
            </a:xfrm>
            <a:custGeom>
              <a:avLst/>
              <a:gdLst/>
              <a:ahLst/>
              <a:cxnLst/>
              <a:rect l="l" t="t" r="r" b="b"/>
              <a:pathLst>
                <a:path w="3302" h="1754" extrusionOk="0">
                  <a:moveTo>
                    <a:pt x="1986" y="0"/>
                  </a:moveTo>
                  <a:lnTo>
                    <a:pt x="0" y="929"/>
                  </a:lnTo>
                  <a:lnTo>
                    <a:pt x="1316" y="1754"/>
                  </a:lnTo>
                  <a:lnTo>
                    <a:pt x="3302" y="825"/>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2425;p74">
              <a:extLst>
                <a:ext uri="{FF2B5EF4-FFF2-40B4-BE49-F238E27FC236}">
                  <a16:creationId xmlns:a16="http://schemas.microsoft.com/office/drawing/2014/main" id="{CF9DF4DD-CC99-431D-A4E2-C228E3FA6C9A}"/>
                </a:ext>
              </a:extLst>
            </p:cNvPr>
            <p:cNvSpPr/>
            <p:nvPr/>
          </p:nvSpPr>
          <p:spPr>
            <a:xfrm>
              <a:off x="2887626" y="2482579"/>
              <a:ext cx="72225" cy="39356"/>
            </a:xfrm>
            <a:custGeom>
              <a:avLst/>
              <a:gdLst/>
              <a:ahLst/>
              <a:cxnLst/>
              <a:rect l="l" t="t" r="r" b="b"/>
              <a:pathLst>
                <a:path w="3173" h="1729" extrusionOk="0">
                  <a:moveTo>
                    <a:pt x="1780" y="1"/>
                  </a:moveTo>
                  <a:lnTo>
                    <a:pt x="0" y="852"/>
                  </a:lnTo>
                  <a:lnTo>
                    <a:pt x="1419" y="1729"/>
                  </a:lnTo>
                  <a:lnTo>
                    <a:pt x="3173" y="878"/>
                  </a:lnTo>
                  <a:lnTo>
                    <a:pt x="17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2426;p74">
              <a:extLst>
                <a:ext uri="{FF2B5EF4-FFF2-40B4-BE49-F238E27FC236}">
                  <a16:creationId xmlns:a16="http://schemas.microsoft.com/office/drawing/2014/main" id="{FF61F191-7D1B-4A36-826B-4ADFB07AEFC4}"/>
                </a:ext>
              </a:extLst>
            </p:cNvPr>
            <p:cNvSpPr/>
            <p:nvPr/>
          </p:nvSpPr>
          <p:spPr>
            <a:xfrm>
              <a:off x="2694476" y="2567123"/>
              <a:ext cx="86315" cy="45821"/>
            </a:xfrm>
            <a:custGeom>
              <a:avLst/>
              <a:gdLst/>
              <a:ahLst/>
              <a:cxnLst/>
              <a:rect l="l" t="t" r="r" b="b"/>
              <a:pathLst>
                <a:path w="3792" h="2013" extrusionOk="0">
                  <a:moveTo>
                    <a:pt x="2296" y="1"/>
                  </a:moveTo>
                  <a:lnTo>
                    <a:pt x="0" y="1084"/>
                  </a:lnTo>
                  <a:lnTo>
                    <a:pt x="1522" y="2012"/>
                  </a:lnTo>
                  <a:lnTo>
                    <a:pt x="3791" y="929"/>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2427;p74">
              <a:extLst>
                <a:ext uri="{FF2B5EF4-FFF2-40B4-BE49-F238E27FC236}">
                  <a16:creationId xmlns:a16="http://schemas.microsoft.com/office/drawing/2014/main" id="{B3D03F17-7626-4787-A459-236990912167}"/>
                </a:ext>
              </a:extLst>
            </p:cNvPr>
            <p:cNvSpPr/>
            <p:nvPr/>
          </p:nvSpPr>
          <p:spPr>
            <a:xfrm>
              <a:off x="2756120" y="2533069"/>
              <a:ext cx="96877" cy="51102"/>
            </a:xfrm>
            <a:custGeom>
              <a:avLst/>
              <a:gdLst/>
              <a:ahLst/>
              <a:cxnLst/>
              <a:rect l="l" t="t" r="r" b="b"/>
              <a:pathLst>
                <a:path w="4256" h="2245" extrusionOk="0">
                  <a:moveTo>
                    <a:pt x="2786" y="1"/>
                  </a:moveTo>
                  <a:lnTo>
                    <a:pt x="0" y="1316"/>
                  </a:lnTo>
                  <a:lnTo>
                    <a:pt x="1470" y="2245"/>
                  </a:lnTo>
                  <a:lnTo>
                    <a:pt x="4256" y="904"/>
                  </a:lnTo>
                  <a:lnTo>
                    <a:pt x="27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2428;p74">
              <a:extLst>
                <a:ext uri="{FF2B5EF4-FFF2-40B4-BE49-F238E27FC236}">
                  <a16:creationId xmlns:a16="http://schemas.microsoft.com/office/drawing/2014/main" id="{CA527842-66BD-4F68-8437-01A29D1FD994}"/>
                </a:ext>
              </a:extLst>
            </p:cNvPr>
            <p:cNvSpPr/>
            <p:nvPr/>
          </p:nvSpPr>
          <p:spPr>
            <a:xfrm>
              <a:off x="2829510" y="2506071"/>
              <a:ext cx="81035" cy="43454"/>
            </a:xfrm>
            <a:custGeom>
              <a:avLst/>
              <a:gdLst/>
              <a:ahLst/>
              <a:cxnLst/>
              <a:rect l="l" t="t" r="r" b="b"/>
              <a:pathLst>
                <a:path w="3560" h="1909" extrusionOk="0">
                  <a:moveTo>
                    <a:pt x="2141" y="0"/>
                  </a:moveTo>
                  <a:lnTo>
                    <a:pt x="0" y="1006"/>
                  </a:lnTo>
                  <a:lnTo>
                    <a:pt x="1444" y="1909"/>
                  </a:lnTo>
                  <a:lnTo>
                    <a:pt x="3559" y="877"/>
                  </a:lnTo>
                  <a:lnTo>
                    <a:pt x="214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2429;p74">
              <a:extLst>
                <a:ext uri="{FF2B5EF4-FFF2-40B4-BE49-F238E27FC236}">
                  <a16:creationId xmlns:a16="http://schemas.microsoft.com/office/drawing/2014/main" id="{162D0E31-ADAE-444C-BEE7-77EBB6907FEA}"/>
                </a:ext>
              </a:extLst>
            </p:cNvPr>
            <p:cNvSpPr/>
            <p:nvPr/>
          </p:nvSpPr>
          <p:spPr>
            <a:xfrm>
              <a:off x="2937524" y="2457926"/>
              <a:ext cx="75162" cy="40540"/>
            </a:xfrm>
            <a:custGeom>
              <a:avLst/>
              <a:gdLst/>
              <a:ahLst/>
              <a:cxnLst/>
              <a:rect l="l" t="t" r="r" b="b"/>
              <a:pathLst>
                <a:path w="3302" h="1781" extrusionOk="0">
                  <a:moveTo>
                    <a:pt x="1935" y="1"/>
                  </a:moveTo>
                  <a:lnTo>
                    <a:pt x="1" y="903"/>
                  </a:lnTo>
                  <a:lnTo>
                    <a:pt x="1393" y="1780"/>
                  </a:lnTo>
                  <a:lnTo>
                    <a:pt x="3302" y="852"/>
                  </a:lnTo>
                  <a:lnTo>
                    <a:pt x="19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2430;p74">
              <a:extLst>
                <a:ext uri="{FF2B5EF4-FFF2-40B4-BE49-F238E27FC236}">
                  <a16:creationId xmlns:a16="http://schemas.microsoft.com/office/drawing/2014/main" id="{45C97D5A-D239-47AA-AA1C-2C5695F1BFFD}"/>
                </a:ext>
              </a:extLst>
            </p:cNvPr>
            <p:cNvSpPr/>
            <p:nvPr/>
          </p:nvSpPr>
          <p:spPr>
            <a:xfrm>
              <a:off x="2691540" y="2624670"/>
              <a:ext cx="88068" cy="49326"/>
            </a:xfrm>
            <a:custGeom>
              <a:avLst/>
              <a:gdLst/>
              <a:ahLst/>
              <a:cxnLst/>
              <a:rect l="l" t="t" r="r" b="b"/>
              <a:pathLst>
                <a:path w="3869" h="2167" extrusionOk="0">
                  <a:moveTo>
                    <a:pt x="1780" y="0"/>
                  </a:moveTo>
                  <a:lnTo>
                    <a:pt x="0" y="851"/>
                  </a:lnTo>
                  <a:lnTo>
                    <a:pt x="2141" y="2167"/>
                  </a:lnTo>
                  <a:lnTo>
                    <a:pt x="3869" y="1290"/>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2431;p74">
              <a:extLst>
                <a:ext uri="{FF2B5EF4-FFF2-40B4-BE49-F238E27FC236}">
                  <a16:creationId xmlns:a16="http://schemas.microsoft.com/office/drawing/2014/main" id="{A2B47B76-D7C8-4904-BC3D-DF4F93B0BFA4}"/>
                </a:ext>
              </a:extLst>
            </p:cNvPr>
            <p:cNvSpPr/>
            <p:nvPr/>
          </p:nvSpPr>
          <p:spPr>
            <a:xfrm>
              <a:off x="2631648" y="2648139"/>
              <a:ext cx="99836" cy="55791"/>
            </a:xfrm>
            <a:custGeom>
              <a:avLst/>
              <a:gdLst/>
              <a:ahLst/>
              <a:cxnLst/>
              <a:rect l="l" t="t" r="r" b="b"/>
              <a:pathLst>
                <a:path w="4386" h="2451" extrusionOk="0">
                  <a:moveTo>
                    <a:pt x="2244" y="1"/>
                  </a:moveTo>
                  <a:lnTo>
                    <a:pt x="1" y="1084"/>
                  </a:lnTo>
                  <a:lnTo>
                    <a:pt x="2193" y="2451"/>
                  </a:lnTo>
                  <a:lnTo>
                    <a:pt x="4385" y="1316"/>
                  </a:lnTo>
                  <a:lnTo>
                    <a:pt x="224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2432;p74">
              <a:extLst>
                <a:ext uri="{FF2B5EF4-FFF2-40B4-BE49-F238E27FC236}">
                  <a16:creationId xmlns:a16="http://schemas.microsoft.com/office/drawing/2014/main" id="{DAA87561-B953-48F2-A6A8-C7D91C100471}"/>
                </a:ext>
              </a:extLst>
            </p:cNvPr>
            <p:cNvSpPr/>
            <p:nvPr/>
          </p:nvSpPr>
          <p:spPr>
            <a:xfrm>
              <a:off x="2512481" y="2702157"/>
              <a:ext cx="108623" cy="59911"/>
            </a:xfrm>
            <a:custGeom>
              <a:avLst/>
              <a:gdLst/>
              <a:ahLst/>
              <a:cxnLst/>
              <a:rect l="l" t="t" r="r" b="b"/>
              <a:pathLst>
                <a:path w="4772" h="2632" extrusionOk="0">
                  <a:moveTo>
                    <a:pt x="2553" y="1"/>
                  </a:moveTo>
                  <a:lnTo>
                    <a:pt x="0" y="1239"/>
                  </a:lnTo>
                  <a:lnTo>
                    <a:pt x="2270" y="2631"/>
                  </a:lnTo>
                  <a:lnTo>
                    <a:pt x="4771" y="1393"/>
                  </a:lnTo>
                  <a:lnTo>
                    <a:pt x="255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2433;p74">
              <a:extLst>
                <a:ext uri="{FF2B5EF4-FFF2-40B4-BE49-F238E27FC236}">
                  <a16:creationId xmlns:a16="http://schemas.microsoft.com/office/drawing/2014/main" id="{EE3F7D5A-416C-4AC5-B793-78C080D5B64A}"/>
                </a:ext>
              </a:extLst>
            </p:cNvPr>
            <p:cNvSpPr/>
            <p:nvPr/>
          </p:nvSpPr>
          <p:spPr>
            <a:xfrm>
              <a:off x="2979796" y="2483763"/>
              <a:ext cx="86315" cy="48165"/>
            </a:xfrm>
            <a:custGeom>
              <a:avLst/>
              <a:gdLst/>
              <a:ahLst/>
              <a:cxnLst/>
              <a:rect l="l" t="t" r="r" b="b"/>
              <a:pathLst>
                <a:path w="3792" h="2116" extrusionOk="0">
                  <a:moveTo>
                    <a:pt x="1909" y="0"/>
                  </a:moveTo>
                  <a:lnTo>
                    <a:pt x="1" y="929"/>
                  </a:lnTo>
                  <a:lnTo>
                    <a:pt x="1909" y="2115"/>
                  </a:lnTo>
                  <a:lnTo>
                    <a:pt x="3792" y="1187"/>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2434;p74">
              <a:extLst>
                <a:ext uri="{FF2B5EF4-FFF2-40B4-BE49-F238E27FC236}">
                  <a16:creationId xmlns:a16="http://schemas.microsoft.com/office/drawing/2014/main" id="{096D593C-FE86-4577-9539-604A6C611FDD}"/>
                </a:ext>
              </a:extLst>
            </p:cNvPr>
            <p:cNvSpPr/>
            <p:nvPr/>
          </p:nvSpPr>
          <p:spPr>
            <a:xfrm>
              <a:off x="2579406" y="2676912"/>
              <a:ext cx="93349" cy="52263"/>
            </a:xfrm>
            <a:custGeom>
              <a:avLst/>
              <a:gdLst/>
              <a:ahLst/>
              <a:cxnLst/>
              <a:rect l="l" t="t" r="r" b="b"/>
              <a:pathLst>
                <a:path w="4101" h="2296" extrusionOk="0">
                  <a:moveTo>
                    <a:pt x="1909" y="1"/>
                  </a:moveTo>
                  <a:lnTo>
                    <a:pt x="0" y="929"/>
                  </a:lnTo>
                  <a:lnTo>
                    <a:pt x="2218" y="2296"/>
                  </a:lnTo>
                  <a:lnTo>
                    <a:pt x="4101" y="1368"/>
                  </a:lnTo>
                  <a:lnTo>
                    <a:pt x="190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2435;p74">
              <a:extLst>
                <a:ext uri="{FF2B5EF4-FFF2-40B4-BE49-F238E27FC236}">
                  <a16:creationId xmlns:a16="http://schemas.microsoft.com/office/drawing/2014/main" id="{43EE1607-CE50-46DD-AF33-259A4F75D859}"/>
                </a:ext>
              </a:extLst>
            </p:cNvPr>
            <p:cNvSpPr/>
            <p:nvPr/>
          </p:nvSpPr>
          <p:spPr>
            <a:xfrm>
              <a:off x="2930490" y="2509599"/>
              <a:ext cx="83971" cy="46390"/>
            </a:xfrm>
            <a:custGeom>
              <a:avLst/>
              <a:gdLst/>
              <a:ahLst/>
              <a:cxnLst/>
              <a:rect l="l" t="t" r="r" b="b"/>
              <a:pathLst>
                <a:path w="3689" h="2038" extrusionOk="0">
                  <a:moveTo>
                    <a:pt x="1780" y="0"/>
                  </a:moveTo>
                  <a:lnTo>
                    <a:pt x="0" y="826"/>
                  </a:lnTo>
                  <a:lnTo>
                    <a:pt x="1960" y="2038"/>
                  </a:lnTo>
                  <a:lnTo>
                    <a:pt x="3688" y="1187"/>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2436;p74">
              <a:extLst>
                <a:ext uri="{FF2B5EF4-FFF2-40B4-BE49-F238E27FC236}">
                  <a16:creationId xmlns:a16="http://schemas.microsoft.com/office/drawing/2014/main" id="{982C44F8-B732-44AB-B451-62F5C5EEE4A2}"/>
                </a:ext>
              </a:extLst>
            </p:cNvPr>
            <p:cNvSpPr/>
            <p:nvPr/>
          </p:nvSpPr>
          <p:spPr>
            <a:xfrm>
              <a:off x="2873535" y="2533069"/>
              <a:ext cx="92780" cy="51694"/>
            </a:xfrm>
            <a:custGeom>
              <a:avLst/>
              <a:gdLst/>
              <a:ahLst/>
              <a:cxnLst/>
              <a:rect l="l" t="t" r="r" b="b"/>
              <a:pathLst>
                <a:path w="4076" h="2271" extrusionOk="0">
                  <a:moveTo>
                    <a:pt x="2115" y="1"/>
                  </a:moveTo>
                  <a:lnTo>
                    <a:pt x="0" y="1032"/>
                  </a:lnTo>
                  <a:lnTo>
                    <a:pt x="1986" y="2270"/>
                  </a:lnTo>
                  <a:lnTo>
                    <a:pt x="4075" y="1213"/>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2437;p74">
              <a:extLst>
                <a:ext uri="{FF2B5EF4-FFF2-40B4-BE49-F238E27FC236}">
                  <a16:creationId xmlns:a16="http://schemas.microsoft.com/office/drawing/2014/main" id="{1225DC44-0DE8-4148-8EE0-D71AE557B4BA}"/>
                </a:ext>
              </a:extLst>
            </p:cNvPr>
            <p:cNvSpPr/>
            <p:nvPr/>
          </p:nvSpPr>
          <p:spPr>
            <a:xfrm>
              <a:off x="2740254" y="2595305"/>
              <a:ext cx="99244" cy="54630"/>
            </a:xfrm>
            <a:custGeom>
              <a:avLst/>
              <a:gdLst/>
              <a:ahLst/>
              <a:cxnLst/>
              <a:rect l="l" t="t" r="r" b="b"/>
              <a:pathLst>
                <a:path w="4360" h="2400" extrusionOk="0">
                  <a:moveTo>
                    <a:pt x="2296" y="1"/>
                  </a:moveTo>
                  <a:lnTo>
                    <a:pt x="1" y="1110"/>
                  </a:lnTo>
                  <a:lnTo>
                    <a:pt x="2116" y="2399"/>
                  </a:lnTo>
                  <a:lnTo>
                    <a:pt x="4360" y="1264"/>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2438;p74">
              <a:extLst>
                <a:ext uri="{FF2B5EF4-FFF2-40B4-BE49-F238E27FC236}">
                  <a16:creationId xmlns:a16="http://schemas.microsoft.com/office/drawing/2014/main" id="{F5CC9ED3-2E5D-4DB8-9FBC-2AF001A0E7F6}"/>
                </a:ext>
              </a:extLst>
            </p:cNvPr>
            <p:cNvSpPr/>
            <p:nvPr/>
          </p:nvSpPr>
          <p:spPr>
            <a:xfrm>
              <a:off x="2801329" y="2560681"/>
              <a:ext cx="108623" cy="59296"/>
            </a:xfrm>
            <a:custGeom>
              <a:avLst/>
              <a:gdLst/>
              <a:ahLst/>
              <a:cxnLst/>
              <a:rect l="l" t="t" r="r" b="b"/>
              <a:pathLst>
                <a:path w="4772" h="2605" extrusionOk="0">
                  <a:moveTo>
                    <a:pt x="2760" y="0"/>
                  </a:moveTo>
                  <a:lnTo>
                    <a:pt x="0" y="1341"/>
                  </a:lnTo>
                  <a:lnTo>
                    <a:pt x="2038" y="2605"/>
                  </a:lnTo>
                  <a:lnTo>
                    <a:pt x="4771" y="1238"/>
                  </a:lnTo>
                  <a:lnTo>
                    <a:pt x="27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2439;p74">
              <a:extLst>
                <a:ext uri="{FF2B5EF4-FFF2-40B4-BE49-F238E27FC236}">
                  <a16:creationId xmlns:a16="http://schemas.microsoft.com/office/drawing/2014/main" id="{08AF5DDD-7001-4325-B19D-D39EF0B0FBF2}"/>
                </a:ext>
              </a:extLst>
            </p:cNvPr>
            <p:cNvSpPr/>
            <p:nvPr/>
          </p:nvSpPr>
          <p:spPr>
            <a:xfrm>
              <a:off x="3090746" y="2493164"/>
              <a:ext cx="83994" cy="46982"/>
            </a:xfrm>
            <a:custGeom>
              <a:avLst/>
              <a:gdLst/>
              <a:ahLst/>
              <a:cxnLst/>
              <a:rect l="l" t="t" r="r" b="b"/>
              <a:pathLst>
                <a:path w="3690" h="2064" extrusionOk="0">
                  <a:moveTo>
                    <a:pt x="2038" y="0"/>
                  </a:moveTo>
                  <a:lnTo>
                    <a:pt x="1" y="1006"/>
                  </a:lnTo>
                  <a:lnTo>
                    <a:pt x="1703" y="2063"/>
                  </a:lnTo>
                  <a:lnTo>
                    <a:pt x="3689" y="1032"/>
                  </a:lnTo>
                  <a:lnTo>
                    <a:pt x="203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2440;p74">
              <a:extLst>
                <a:ext uri="{FF2B5EF4-FFF2-40B4-BE49-F238E27FC236}">
                  <a16:creationId xmlns:a16="http://schemas.microsoft.com/office/drawing/2014/main" id="{084DCBA5-EBA1-4EC2-B61A-184A7094DDD2}"/>
                </a:ext>
              </a:extLst>
            </p:cNvPr>
            <p:cNvSpPr/>
            <p:nvPr/>
          </p:nvSpPr>
          <p:spPr>
            <a:xfrm>
              <a:off x="3199374" y="2448525"/>
              <a:ext cx="66353" cy="36443"/>
            </a:xfrm>
            <a:custGeom>
              <a:avLst/>
              <a:gdLst/>
              <a:ahLst/>
              <a:cxnLst/>
              <a:rect l="l" t="t" r="r" b="b"/>
              <a:pathLst>
                <a:path w="2915" h="1601" extrusionOk="0">
                  <a:moveTo>
                    <a:pt x="1238" y="1"/>
                  </a:moveTo>
                  <a:lnTo>
                    <a:pt x="0" y="620"/>
                  </a:lnTo>
                  <a:lnTo>
                    <a:pt x="1573" y="1600"/>
                  </a:lnTo>
                  <a:lnTo>
                    <a:pt x="2915" y="904"/>
                  </a:lnTo>
                  <a:lnTo>
                    <a:pt x="12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2441;p74">
              <a:extLst>
                <a:ext uri="{FF2B5EF4-FFF2-40B4-BE49-F238E27FC236}">
                  <a16:creationId xmlns:a16="http://schemas.microsoft.com/office/drawing/2014/main" id="{7AB4EF88-A8F9-4983-8DE8-01D6A01B4DC8}"/>
                </a:ext>
              </a:extLst>
            </p:cNvPr>
            <p:cNvSpPr/>
            <p:nvPr/>
          </p:nvSpPr>
          <p:spPr>
            <a:xfrm>
              <a:off x="3145948" y="2466735"/>
              <a:ext cx="81035" cy="45229"/>
            </a:xfrm>
            <a:custGeom>
              <a:avLst/>
              <a:gdLst/>
              <a:ahLst/>
              <a:cxnLst/>
              <a:rect l="l" t="t" r="r" b="b"/>
              <a:pathLst>
                <a:path w="3560" h="1987" extrusionOk="0">
                  <a:moveTo>
                    <a:pt x="1960" y="0"/>
                  </a:moveTo>
                  <a:lnTo>
                    <a:pt x="0" y="981"/>
                  </a:lnTo>
                  <a:lnTo>
                    <a:pt x="1625" y="1986"/>
                  </a:lnTo>
                  <a:lnTo>
                    <a:pt x="3559" y="1006"/>
                  </a:lnTo>
                  <a:lnTo>
                    <a:pt x="19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2442;p74">
              <a:extLst>
                <a:ext uri="{FF2B5EF4-FFF2-40B4-BE49-F238E27FC236}">
                  <a16:creationId xmlns:a16="http://schemas.microsoft.com/office/drawing/2014/main" id="{86D4E8E2-FD26-4050-94E1-A52FECDAB1DB}"/>
                </a:ext>
              </a:extLst>
            </p:cNvPr>
            <p:cNvSpPr/>
            <p:nvPr/>
          </p:nvSpPr>
          <p:spPr>
            <a:xfrm>
              <a:off x="3039095" y="2520162"/>
              <a:ext cx="82218" cy="46390"/>
            </a:xfrm>
            <a:custGeom>
              <a:avLst/>
              <a:gdLst/>
              <a:ahLst/>
              <a:cxnLst/>
              <a:rect l="l" t="t" r="r" b="b"/>
              <a:pathLst>
                <a:path w="3612" h="2038" extrusionOk="0">
                  <a:moveTo>
                    <a:pt x="1909" y="0"/>
                  </a:moveTo>
                  <a:lnTo>
                    <a:pt x="0" y="955"/>
                  </a:lnTo>
                  <a:lnTo>
                    <a:pt x="1754" y="2038"/>
                  </a:lnTo>
                  <a:lnTo>
                    <a:pt x="3611" y="1084"/>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2443;p74">
              <a:extLst>
                <a:ext uri="{FF2B5EF4-FFF2-40B4-BE49-F238E27FC236}">
                  <a16:creationId xmlns:a16="http://schemas.microsoft.com/office/drawing/2014/main" id="{01E00C23-82B8-4CE9-B864-FDDB85ED2846}"/>
                </a:ext>
              </a:extLst>
            </p:cNvPr>
            <p:cNvSpPr/>
            <p:nvPr/>
          </p:nvSpPr>
          <p:spPr>
            <a:xfrm>
              <a:off x="3141828" y="2405683"/>
              <a:ext cx="87499" cy="46390"/>
            </a:xfrm>
            <a:custGeom>
              <a:avLst/>
              <a:gdLst/>
              <a:ahLst/>
              <a:cxnLst/>
              <a:rect l="l" t="t" r="r" b="b"/>
              <a:pathLst>
                <a:path w="3844" h="2038" extrusionOk="0">
                  <a:moveTo>
                    <a:pt x="1935" y="0"/>
                  </a:moveTo>
                  <a:lnTo>
                    <a:pt x="1" y="929"/>
                  </a:lnTo>
                  <a:lnTo>
                    <a:pt x="1780" y="2038"/>
                  </a:lnTo>
                  <a:lnTo>
                    <a:pt x="3844" y="1006"/>
                  </a:lnTo>
                  <a:lnTo>
                    <a:pt x="193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2444;p74">
              <a:extLst>
                <a:ext uri="{FF2B5EF4-FFF2-40B4-BE49-F238E27FC236}">
                  <a16:creationId xmlns:a16="http://schemas.microsoft.com/office/drawing/2014/main" id="{057BF7D9-4FA1-456E-91FE-120B73FE15BB}"/>
                </a:ext>
              </a:extLst>
            </p:cNvPr>
            <p:cNvSpPr/>
            <p:nvPr/>
          </p:nvSpPr>
          <p:spPr>
            <a:xfrm>
              <a:off x="2375671" y="2767921"/>
              <a:ext cx="112151" cy="61664"/>
            </a:xfrm>
            <a:custGeom>
              <a:avLst/>
              <a:gdLst/>
              <a:ahLst/>
              <a:cxnLst/>
              <a:rect l="l" t="t" r="r" b="b"/>
              <a:pathLst>
                <a:path w="4927" h="2709" extrusionOk="0">
                  <a:moveTo>
                    <a:pt x="2580" y="0"/>
                  </a:moveTo>
                  <a:lnTo>
                    <a:pt x="1" y="1238"/>
                  </a:lnTo>
                  <a:lnTo>
                    <a:pt x="2374" y="2708"/>
                  </a:lnTo>
                  <a:lnTo>
                    <a:pt x="4927" y="1444"/>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2445;p74">
              <a:extLst>
                <a:ext uri="{FF2B5EF4-FFF2-40B4-BE49-F238E27FC236}">
                  <a16:creationId xmlns:a16="http://schemas.microsoft.com/office/drawing/2014/main" id="{CF2DEA45-351C-428B-AB01-48E701117822}"/>
                </a:ext>
              </a:extLst>
            </p:cNvPr>
            <p:cNvSpPr/>
            <p:nvPr/>
          </p:nvSpPr>
          <p:spPr>
            <a:xfrm>
              <a:off x="2444372" y="2808418"/>
              <a:ext cx="108623" cy="59319"/>
            </a:xfrm>
            <a:custGeom>
              <a:avLst/>
              <a:gdLst/>
              <a:ahLst/>
              <a:cxnLst/>
              <a:rect l="l" t="t" r="r" b="b"/>
              <a:pathLst>
                <a:path w="4772" h="2606" extrusionOk="0">
                  <a:moveTo>
                    <a:pt x="2451" y="1"/>
                  </a:moveTo>
                  <a:lnTo>
                    <a:pt x="0" y="1187"/>
                  </a:lnTo>
                  <a:lnTo>
                    <a:pt x="2502" y="2606"/>
                  </a:lnTo>
                  <a:lnTo>
                    <a:pt x="4772" y="1419"/>
                  </a:lnTo>
                  <a:lnTo>
                    <a:pt x="2451" y="1"/>
                  </a:lnTo>
                  <a:close/>
                </a:path>
              </a:pathLst>
            </a:custGeom>
            <a:solidFill>
              <a:srgbClr val="4337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2446;p74">
              <a:extLst>
                <a:ext uri="{FF2B5EF4-FFF2-40B4-BE49-F238E27FC236}">
                  <a16:creationId xmlns:a16="http://schemas.microsoft.com/office/drawing/2014/main" id="{77A188BB-878E-468F-905F-170733373463}"/>
                </a:ext>
              </a:extLst>
            </p:cNvPr>
            <p:cNvSpPr/>
            <p:nvPr/>
          </p:nvSpPr>
          <p:spPr>
            <a:xfrm>
              <a:off x="2990358" y="2545999"/>
              <a:ext cx="80465" cy="45229"/>
            </a:xfrm>
            <a:custGeom>
              <a:avLst/>
              <a:gdLst/>
              <a:ahLst/>
              <a:cxnLst/>
              <a:rect l="l" t="t" r="r" b="b"/>
              <a:pathLst>
                <a:path w="3535" h="1987" extrusionOk="0">
                  <a:moveTo>
                    <a:pt x="1755" y="0"/>
                  </a:moveTo>
                  <a:lnTo>
                    <a:pt x="1" y="877"/>
                  </a:lnTo>
                  <a:lnTo>
                    <a:pt x="1806" y="1986"/>
                  </a:lnTo>
                  <a:lnTo>
                    <a:pt x="3534" y="1083"/>
                  </a:lnTo>
                  <a:lnTo>
                    <a:pt x="175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2447;p74">
              <a:extLst>
                <a:ext uri="{FF2B5EF4-FFF2-40B4-BE49-F238E27FC236}">
                  <a16:creationId xmlns:a16="http://schemas.microsoft.com/office/drawing/2014/main" id="{AFF8F6B8-0D8C-4517-9233-9103E757D322}"/>
                </a:ext>
              </a:extLst>
            </p:cNvPr>
            <p:cNvSpPr/>
            <p:nvPr/>
          </p:nvSpPr>
          <p:spPr>
            <a:xfrm>
              <a:off x="2326365" y="2736212"/>
              <a:ext cx="95716" cy="49918"/>
            </a:xfrm>
            <a:custGeom>
              <a:avLst/>
              <a:gdLst/>
              <a:ahLst/>
              <a:cxnLst/>
              <a:rect l="l" t="t" r="r" b="b"/>
              <a:pathLst>
                <a:path w="4205" h="2193" extrusionOk="0">
                  <a:moveTo>
                    <a:pt x="2528" y="0"/>
                  </a:moveTo>
                  <a:lnTo>
                    <a:pt x="0" y="1187"/>
                  </a:lnTo>
                  <a:lnTo>
                    <a:pt x="1832" y="2193"/>
                  </a:lnTo>
                  <a:lnTo>
                    <a:pt x="4204" y="1058"/>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2448;p74">
              <a:extLst>
                <a:ext uri="{FF2B5EF4-FFF2-40B4-BE49-F238E27FC236}">
                  <a16:creationId xmlns:a16="http://schemas.microsoft.com/office/drawing/2014/main" id="{CAB9292A-F298-4F7D-B934-4BA59758E5BE}"/>
                </a:ext>
              </a:extLst>
            </p:cNvPr>
            <p:cNvSpPr/>
            <p:nvPr/>
          </p:nvSpPr>
          <p:spPr>
            <a:xfrm>
              <a:off x="3101923" y="2383967"/>
              <a:ext cx="73978" cy="36420"/>
            </a:xfrm>
            <a:custGeom>
              <a:avLst/>
              <a:gdLst/>
              <a:ahLst/>
              <a:cxnLst/>
              <a:rect l="l" t="t" r="r" b="b"/>
              <a:pathLst>
                <a:path w="3250" h="1600" extrusionOk="0">
                  <a:moveTo>
                    <a:pt x="1702" y="0"/>
                  </a:moveTo>
                  <a:lnTo>
                    <a:pt x="0" y="800"/>
                  </a:lnTo>
                  <a:lnTo>
                    <a:pt x="1315" y="1599"/>
                  </a:lnTo>
                  <a:lnTo>
                    <a:pt x="3250" y="671"/>
                  </a:lnTo>
                  <a:lnTo>
                    <a:pt x="170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2449;p74">
              <a:extLst>
                <a:ext uri="{FF2B5EF4-FFF2-40B4-BE49-F238E27FC236}">
                  <a16:creationId xmlns:a16="http://schemas.microsoft.com/office/drawing/2014/main" id="{B6A23895-3DF4-48FC-8B34-81686DCD615E}"/>
                </a:ext>
              </a:extLst>
            </p:cNvPr>
            <p:cNvSpPr/>
            <p:nvPr/>
          </p:nvSpPr>
          <p:spPr>
            <a:xfrm>
              <a:off x="2393290" y="2703910"/>
              <a:ext cx="98061" cy="51694"/>
            </a:xfrm>
            <a:custGeom>
              <a:avLst/>
              <a:gdLst/>
              <a:ahLst/>
              <a:cxnLst/>
              <a:rect l="l" t="t" r="r" b="b"/>
              <a:pathLst>
                <a:path w="4308" h="2271" extrusionOk="0">
                  <a:moveTo>
                    <a:pt x="2657" y="1"/>
                  </a:moveTo>
                  <a:lnTo>
                    <a:pt x="1" y="1239"/>
                  </a:lnTo>
                  <a:lnTo>
                    <a:pt x="1677" y="2271"/>
                  </a:lnTo>
                  <a:lnTo>
                    <a:pt x="4308" y="1007"/>
                  </a:lnTo>
                  <a:lnTo>
                    <a:pt x="265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2450;p74">
              <a:extLst>
                <a:ext uri="{FF2B5EF4-FFF2-40B4-BE49-F238E27FC236}">
                  <a16:creationId xmlns:a16="http://schemas.microsoft.com/office/drawing/2014/main" id="{23425999-E4D5-40AE-B890-C23A8EE20A9D}"/>
                </a:ext>
              </a:extLst>
            </p:cNvPr>
            <p:cNvSpPr/>
            <p:nvPr/>
          </p:nvSpPr>
          <p:spPr>
            <a:xfrm>
              <a:off x="2463152" y="2672223"/>
              <a:ext cx="95124" cy="50510"/>
            </a:xfrm>
            <a:custGeom>
              <a:avLst/>
              <a:gdLst/>
              <a:ahLst/>
              <a:cxnLst/>
              <a:rect l="l" t="t" r="r" b="b"/>
              <a:pathLst>
                <a:path w="4179" h="2219" extrusionOk="0">
                  <a:moveTo>
                    <a:pt x="2580" y="0"/>
                  </a:moveTo>
                  <a:lnTo>
                    <a:pt x="1" y="1187"/>
                  </a:lnTo>
                  <a:lnTo>
                    <a:pt x="1651" y="2218"/>
                  </a:lnTo>
                  <a:lnTo>
                    <a:pt x="4179" y="1006"/>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2451;p74">
              <a:extLst>
                <a:ext uri="{FF2B5EF4-FFF2-40B4-BE49-F238E27FC236}">
                  <a16:creationId xmlns:a16="http://schemas.microsoft.com/office/drawing/2014/main" id="{B41190EA-67AB-4466-8864-DD4FA0695DE4}"/>
                </a:ext>
              </a:extLst>
            </p:cNvPr>
            <p:cNvSpPr/>
            <p:nvPr/>
          </p:nvSpPr>
          <p:spPr>
            <a:xfrm>
              <a:off x="2443780" y="2734459"/>
              <a:ext cx="112151" cy="61664"/>
            </a:xfrm>
            <a:custGeom>
              <a:avLst/>
              <a:gdLst/>
              <a:ahLst/>
              <a:cxnLst/>
              <a:rect l="l" t="t" r="r" b="b"/>
              <a:pathLst>
                <a:path w="4927" h="2709" extrusionOk="0">
                  <a:moveTo>
                    <a:pt x="2631" y="0"/>
                  </a:moveTo>
                  <a:lnTo>
                    <a:pt x="1" y="1264"/>
                  </a:lnTo>
                  <a:lnTo>
                    <a:pt x="2322" y="2708"/>
                  </a:lnTo>
                  <a:lnTo>
                    <a:pt x="4927" y="1419"/>
                  </a:lnTo>
                  <a:lnTo>
                    <a:pt x="263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2452;p74">
              <a:extLst>
                <a:ext uri="{FF2B5EF4-FFF2-40B4-BE49-F238E27FC236}">
                  <a16:creationId xmlns:a16="http://schemas.microsoft.com/office/drawing/2014/main" id="{6988ED53-CBA2-4A93-9F3A-3AD7BA526EDF}"/>
                </a:ext>
              </a:extLst>
            </p:cNvPr>
            <p:cNvSpPr/>
            <p:nvPr/>
          </p:nvSpPr>
          <p:spPr>
            <a:xfrm>
              <a:off x="2584095" y="2618797"/>
              <a:ext cx="86907" cy="46390"/>
            </a:xfrm>
            <a:custGeom>
              <a:avLst/>
              <a:gdLst/>
              <a:ahLst/>
              <a:cxnLst/>
              <a:rect l="l" t="t" r="r" b="b"/>
              <a:pathLst>
                <a:path w="3818" h="2038" extrusionOk="0">
                  <a:moveTo>
                    <a:pt x="2270" y="0"/>
                  </a:moveTo>
                  <a:lnTo>
                    <a:pt x="1" y="1058"/>
                  </a:lnTo>
                  <a:lnTo>
                    <a:pt x="1574" y="2038"/>
                  </a:lnTo>
                  <a:lnTo>
                    <a:pt x="3818" y="980"/>
                  </a:lnTo>
                  <a:lnTo>
                    <a:pt x="227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2453;p74">
              <a:extLst>
                <a:ext uri="{FF2B5EF4-FFF2-40B4-BE49-F238E27FC236}">
                  <a16:creationId xmlns:a16="http://schemas.microsoft.com/office/drawing/2014/main" id="{2FB8426C-E36E-45FE-A0FF-A38333D131AE}"/>
                </a:ext>
              </a:extLst>
            </p:cNvPr>
            <p:cNvSpPr/>
            <p:nvPr/>
          </p:nvSpPr>
          <p:spPr>
            <a:xfrm>
              <a:off x="2531261" y="2647570"/>
              <a:ext cx="79851" cy="42862"/>
            </a:xfrm>
            <a:custGeom>
              <a:avLst/>
              <a:gdLst/>
              <a:ahLst/>
              <a:cxnLst/>
              <a:rect l="l" t="t" r="r" b="b"/>
              <a:pathLst>
                <a:path w="3508" h="1883" extrusionOk="0">
                  <a:moveTo>
                    <a:pt x="1909" y="0"/>
                  </a:moveTo>
                  <a:lnTo>
                    <a:pt x="0" y="877"/>
                  </a:lnTo>
                  <a:lnTo>
                    <a:pt x="1599" y="1883"/>
                  </a:lnTo>
                  <a:lnTo>
                    <a:pt x="3508" y="980"/>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2454;p74">
              <a:extLst>
                <a:ext uri="{FF2B5EF4-FFF2-40B4-BE49-F238E27FC236}">
                  <a16:creationId xmlns:a16="http://schemas.microsoft.com/office/drawing/2014/main" id="{2164196E-44F0-434D-9DED-ABB8BD2AD0C0}"/>
                </a:ext>
              </a:extLst>
            </p:cNvPr>
            <p:cNvSpPr/>
            <p:nvPr/>
          </p:nvSpPr>
          <p:spPr>
            <a:xfrm>
              <a:off x="2508952" y="2774364"/>
              <a:ext cx="110398" cy="62255"/>
            </a:xfrm>
            <a:custGeom>
              <a:avLst/>
              <a:gdLst/>
              <a:ahLst/>
              <a:cxnLst/>
              <a:rect l="l" t="t" r="r" b="b"/>
              <a:pathLst>
                <a:path w="4850" h="2735" extrusionOk="0">
                  <a:moveTo>
                    <a:pt x="2605" y="1"/>
                  </a:moveTo>
                  <a:lnTo>
                    <a:pt x="0" y="1290"/>
                  </a:lnTo>
                  <a:lnTo>
                    <a:pt x="2296" y="2735"/>
                  </a:lnTo>
                  <a:lnTo>
                    <a:pt x="4849" y="1394"/>
                  </a:lnTo>
                  <a:lnTo>
                    <a:pt x="26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2455;p74">
              <a:extLst>
                <a:ext uri="{FF2B5EF4-FFF2-40B4-BE49-F238E27FC236}">
                  <a16:creationId xmlns:a16="http://schemas.microsoft.com/office/drawing/2014/main" id="{989818C3-D97E-415C-A5F5-FD412EC6D568}"/>
                </a:ext>
              </a:extLst>
            </p:cNvPr>
            <p:cNvSpPr/>
            <p:nvPr/>
          </p:nvSpPr>
          <p:spPr>
            <a:xfrm>
              <a:off x="2933426" y="2570060"/>
              <a:ext cx="89844" cy="50510"/>
            </a:xfrm>
            <a:custGeom>
              <a:avLst/>
              <a:gdLst/>
              <a:ahLst/>
              <a:cxnLst/>
              <a:rect l="l" t="t" r="r" b="b"/>
              <a:pathLst>
                <a:path w="3947" h="2219" extrusionOk="0">
                  <a:moveTo>
                    <a:pt x="2115" y="1"/>
                  </a:moveTo>
                  <a:lnTo>
                    <a:pt x="0" y="1058"/>
                  </a:lnTo>
                  <a:lnTo>
                    <a:pt x="1857" y="2219"/>
                  </a:lnTo>
                  <a:lnTo>
                    <a:pt x="3946" y="1135"/>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2456;p74">
              <a:extLst>
                <a:ext uri="{FF2B5EF4-FFF2-40B4-BE49-F238E27FC236}">
                  <a16:creationId xmlns:a16="http://schemas.microsoft.com/office/drawing/2014/main" id="{406D65EE-2E7E-48ED-845D-11FB6EF7A614}"/>
                </a:ext>
              </a:extLst>
            </p:cNvPr>
            <p:cNvSpPr/>
            <p:nvPr/>
          </p:nvSpPr>
          <p:spPr>
            <a:xfrm>
              <a:off x="2643395" y="2598241"/>
              <a:ext cx="324070" cy="170263"/>
            </a:xfrm>
            <a:custGeom>
              <a:avLst/>
              <a:gdLst/>
              <a:ahLst/>
              <a:cxnLst/>
              <a:rect l="l" t="t" r="r" b="b"/>
              <a:pathLst>
                <a:path w="14237" h="7480" extrusionOk="0">
                  <a:moveTo>
                    <a:pt x="12380" y="1"/>
                  </a:moveTo>
                  <a:lnTo>
                    <a:pt x="0" y="6113"/>
                  </a:lnTo>
                  <a:lnTo>
                    <a:pt x="2167" y="7480"/>
                  </a:lnTo>
                  <a:lnTo>
                    <a:pt x="14237" y="1161"/>
                  </a:lnTo>
                  <a:lnTo>
                    <a:pt x="123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2457;p74">
              <a:extLst>
                <a:ext uri="{FF2B5EF4-FFF2-40B4-BE49-F238E27FC236}">
                  <a16:creationId xmlns:a16="http://schemas.microsoft.com/office/drawing/2014/main" id="{9544234C-453D-4998-AB09-54FFC43141C6}"/>
                </a:ext>
              </a:extLst>
            </p:cNvPr>
            <p:cNvSpPr/>
            <p:nvPr/>
          </p:nvSpPr>
          <p:spPr>
            <a:xfrm>
              <a:off x="2577061" y="2742085"/>
              <a:ext cx="106847" cy="59911"/>
            </a:xfrm>
            <a:custGeom>
              <a:avLst/>
              <a:gdLst/>
              <a:ahLst/>
              <a:cxnLst/>
              <a:rect l="l" t="t" r="r" b="b"/>
              <a:pathLst>
                <a:path w="4694" h="2632" extrusionOk="0">
                  <a:moveTo>
                    <a:pt x="2528" y="0"/>
                  </a:moveTo>
                  <a:lnTo>
                    <a:pt x="0" y="1238"/>
                  </a:lnTo>
                  <a:lnTo>
                    <a:pt x="2244" y="2631"/>
                  </a:lnTo>
                  <a:lnTo>
                    <a:pt x="4694" y="1341"/>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2458;p74">
              <a:extLst>
                <a:ext uri="{FF2B5EF4-FFF2-40B4-BE49-F238E27FC236}">
                  <a16:creationId xmlns:a16="http://schemas.microsoft.com/office/drawing/2014/main" id="{DC01A0F6-8190-450B-A163-33F2106765F5}"/>
                </a:ext>
              </a:extLst>
            </p:cNvPr>
            <p:cNvSpPr/>
            <p:nvPr/>
          </p:nvSpPr>
          <p:spPr>
            <a:xfrm>
              <a:off x="2512481" y="2472609"/>
              <a:ext cx="769646" cy="402737"/>
            </a:xfrm>
            <a:custGeom>
              <a:avLst/>
              <a:gdLst/>
              <a:ahLst/>
              <a:cxnLst/>
              <a:rect l="l" t="t" r="r" b="b"/>
              <a:pathLst>
                <a:path w="33812" h="17693" fill="none" extrusionOk="0">
                  <a:moveTo>
                    <a:pt x="0" y="17693"/>
                  </a:moveTo>
                  <a:lnTo>
                    <a:pt x="33812" y="0"/>
                  </a:lnTo>
                </a:path>
              </a:pathLst>
            </a:custGeom>
            <a:noFill/>
            <a:ln w="38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2459;p74">
              <a:extLst>
                <a:ext uri="{FF2B5EF4-FFF2-40B4-BE49-F238E27FC236}">
                  <a16:creationId xmlns:a16="http://schemas.microsoft.com/office/drawing/2014/main" id="{71D04E31-0AAA-43BF-ACBF-04B9132EF7D6}"/>
                </a:ext>
              </a:extLst>
            </p:cNvPr>
            <p:cNvSpPr/>
            <p:nvPr/>
          </p:nvSpPr>
          <p:spPr>
            <a:xfrm>
              <a:off x="2348673" y="2197259"/>
              <a:ext cx="404512" cy="203155"/>
            </a:xfrm>
            <a:custGeom>
              <a:avLst/>
              <a:gdLst/>
              <a:ahLst/>
              <a:cxnLst/>
              <a:rect l="l" t="t" r="r" b="b"/>
              <a:pathLst>
                <a:path w="17771" h="8925" extrusionOk="0">
                  <a:moveTo>
                    <a:pt x="13334" y="1"/>
                  </a:moveTo>
                  <a:lnTo>
                    <a:pt x="1" y="5803"/>
                  </a:lnTo>
                  <a:lnTo>
                    <a:pt x="3637" y="8924"/>
                  </a:lnTo>
                  <a:lnTo>
                    <a:pt x="17770" y="2167"/>
                  </a:lnTo>
                  <a:lnTo>
                    <a:pt x="1333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2460;p74">
              <a:extLst>
                <a:ext uri="{FF2B5EF4-FFF2-40B4-BE49-F238E27FC236}">
                  <a16:creationId xmlns:a16="http://schemas.microsoft.com/office/drawing/2014/main" id="{470967D9-CF5C-4D1F-BC52-5BF54D5989D2}"/>
                </a:ext>
              </a:extLst>
            </p:cNvPr>
            <p:cNvSpPr/>
            <p:nvPr/>
          </p:nvSpPr>
          <p:spPr>
            <a:xfrm>
              <a:off x="2348673" y="2246565"/>
              <a:ext cx="411546" cy="167942"/>
            </a:xfrm>
            <a:custGeom>
              <a:avLst/>
              <a:gdLst/>
              <a:ahLst/>
              <a:cxnLst/>
              <a:rect l="l" t="t" r="r" b="b"/>
              <a:pathLst>
                <a:path w="18080" h="7378" extrusionOk="0">
                  <a:moveTo>
                    <a:pt x="17770" y="1"/>
                  </a:moveTo>
                  <a:lnTo>
                    <a:pt x="3637" y="6758"/>
                  </a:lnTo>
                  <a:lnTo>
                    <a:pt x="1" y="3637"/>
                  </a:lnTo>
                  <a:lnTo>
                    <a:pt x="1" y="3637"/>
                  </a:lnTo>
                  <a:lnTo>
                    <a:pt x="26" y="4514"/>
                  </a:lnTo>
                  <a:lnTo>
                    <a:pt x="3714" y="7377"/>
                  </a:lnTo>
                  <a:lnTo>
                    <a:pt x="18080" y="697"/>
                  </a:lnTo>
                  <a:lnTo>
                    <a:pt x="1777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2461;p74">
              <a:extLst>
                <a:ext uri="{FF2B5EF4-FFF2-40B4-BE49-F238E27FC236}">
                  <a16:creationId xmlns:a16="http://schemas.microsoft.com/office/drawing/2014/main" id="{A445698A-6E1A-48F0-A072-53D4B501D336}"/>
                </a:ext>
              </a:extLst>
            </p:cNvPr>
            <p:cNvSpPr/>
            <p:nvPr/>
          </p:nvSpPr>
          <p:spPr>
            <a:xfrm>
              <a:off x="2348673" y="2197259"/>
              <a:ext cx="403921" cy="203724"/>
            </a:xfrm>
            <a:custGeom>
              <a:avLst/>
              <a:gdLst/>
              <a:ahLst/>
              <a:cxnLst/>
              <a:rect l="l" t="t" r="r" b="b"/>
              <a:pathLst>
                <a:path w="17745" h="8950" extrusionOk="0">
                  <a:moveTo>
                    <a:pt x="13309" y="1"/>
                  </a:moveTo>
                  <a:lnTo>
                    <a:pt x="1" y="5829"/>
                  </a:lnTo>
                  <a:lnTo>
                    <a:pt x="3611" y="8950"/>
                  </a:lnTo>
                  <a:lnTo>
                    <a:pt x="3818" y="8821"/>
                  </a:lnTo>
                  <a:cubicBezTo>
                    <a:pt x="3792" y="8769"/>
                    <a:pt x="3792" y="8744"/>
                    <a:pt x="3818" y="8692"/>
                  </a:cubicBezTo>
                  <a:cubicBezTo>
                    <a:pt x="4359" y="7557"/>
                    <a:pt x="2631" y="6990"/>
                    <a:pt x="3044" y="5855"/>
                  </a:cubicBezTo>
                  <a:cubicBezTo>
                    <a:pt x="3328" y="5107"/>
                    <a:pt x="4952" y="3921"/>
                    <a:pt x="5674" y="3560"/>
                  </a:cubicBezTo>
                  <a:cubicBezTo>
                    <a:pt x="6474" y="3147"/>
                    <a:pt x="7377" y="2992"/>
                    <a:pt x="8202" y="2631"/>
                  </a:cubicBezTo>
                  <a:cubicBezTo>
                    <a:pt x="9311" y="2167"/>
                    <a:pt x="10394" y="1600"/>
                    <a:pt x="11581" y="1342"/>
                  </a:cubicBezTo>
                  <a:cubicBezTo>
                    <a:pt x="12082" y="1221"/>
                    <a:pt x="12575" y="1169"/>
                    <a:pt x="13062" y="1169"/>
                  </a:cubicBezTo>
                  <a:cubicBezTo>
                    <a:pt x="14653" y="1169"/>
                    <a:pt x="16178" y="1719"/>
                    <a:pt x="17719" y="2193"/>
                  </a:cubicBezTo>
                  <a:lnTo>
                    <a:pt x="17745" y="2193"/>
                  </a:lnTo>
                  <a:lnTo>
                    <a:pt x="1330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2462;p74">
              <a:extLst>
                <a:ext uri="{FF2B5EF4-FFF2-40B4-BE49-F238E27FC236}">
                  <a16:creationId xmlns:a16="http://schemas.microsoft.com/office/drawing/2014/main" id="{3FDCA7D6-E6AF-4DEF-B875-BFB022D8A1A9}"/>
                </a:ext>
              </a:extLst>
            </p:cNvPr>
            <p:cNvSpPr/>
            <p:nvPr/>
          </p:nvSpPr>
          <p:spPr>
            <a:xfrm>
              <a:off x="3491751" y="1983554"/>
              <a:ext cx="430917" cy="98061"/>
            </a:xfrm>
            <a:custGeom>
              <a:avLst/>
              <a:gdLst/>
              <a:ahLst/>
              <a:cxnLst/>
              <a:rect l="l" t="t" r="r" b="b"/>
              <a:pathLst>
                <a:path w="18931" h="4308" extrusionOk="0">
                  <a:moveTo>
                    <a:pt x="17125" y="1"/>
                  </a:moveTo>
                  <a:lnTo>
                    <a:pt x="825" y="826"/>
                  </a:lnTo>
                  <a:lnTo>
                    <a:pt x="0" y="4308"/>
                  </a:lnTo>
                  <a:lnTo>
                    <a:pt x="18930" y="3431"/>
                  </a:lnTo>
                  <a:lnTo>
                    <a:pt x="17125"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2463;p74">
              <a:extLst>
                <a:ext uri="{FF2B5EF4-FFF2-40B4-BE49-F238E27FC236}">
                  <a16:creationId xmlns:a16="http://schemas.microsoft.com/office/drawing/2014/main" id="{3D202BE8-2249-49C3-B816-82C9150BC964}"/>
                </a:ext>
              </a:extLst>
            </p:cNvPr>
            <p:cNvSpPr/>
            <p:nvPr/>
          </p:nvSpPr>
          <p:spPr>
            <a:xfrm>
              <a:off x="3491751" y="2061633"/>
              <a:ext cx="431509" cy="37604"/>
            </a:xfrm>
            <a:custGeom>
              <a:avLst/>
              <a:gdLst/>
              <a:ahLst/>
              <a:cxnLst/>
              <a:rect l="l" t="t" r="r" b="b"/>
              <a:pathLst>
                <a:path w="18957" h="1652" extrusionOk="0">
                  <a:moveTo>
                    <a:pt x="18930" y="1"/>
                  </a:moveTo>
                  <a:lnTo>
                    <a:pt x="0" y="878"/>
                  </a:lnTo>
                  <a:lnTo>
                    <a:pt x="0" y="1651"/>
                  </a:lnTo>
                  <a:lnTo>
                    <a:pt x="18956" y="671"/>
                  </a:lnTo>
                  <a:lnTo>
                    <a:pt x="18930" y="1"/>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2464;p74">
              <a:extLst>
                <a:ext uri="{FF2B5EF4-FFF2-40B4-BE49-F238E27FC236}">
                  <a16:creationId xmlns:a16="http://schemas.microsoft.com/office/drawing/2014/main" id="{38787071-83D0-45E1-9197-5A9909935DBA}"/>
                </a:ext>
              </a:extLst>
            </p:cNvPr>
            <p:cNvSpPr/>
            <p:nvPr/>
          </p:nvSpPr>
          <p:spPr>
            <a:xfrm>
              <a:off x="3491751" y="1990019"/>
              <a:ext cx="258901" cy="91596"/>
            </a:xfrm>
            <a:custGeom>
              <a:avLst/>
              <a:gdLst/>
              <a:ahLst/>
              <a:cxnLst/>
              <a:rect l="l" t="t" r="r" b="b"/>
              <a:pathLst>
                <a:path w="11374" h="4024" extrusionOk="0">
                  <a:moveTo>
                    <a:pt x="11374" y="0"/>
                  </a:moveTo>
                  <a:lnTo>
                    <a:pt x="825" y="542"/>
                  </a:lnTo>
                  <a:lnTo>
                    <a:pt x="0" y="4024"/>
                  </a:lnTo>
                  <a:lnTo>
                    <a:pt x="26" y="4024"/>
                  </a:lnTo>
                  <a:cubicBezTo>
                    <a:pt x="387" y="2889"/>
                    <a:pt x="1006" y="1857"/>
                    <a:pt x="2218" y="1522"/>
                  </a:cubicBezTo>
                  <a:cubicBezTo>
                    <a:pt x="3482" y="1161"/>
                    <a:pt x="4823" y="1342"/>
                    <a:pt x="6087" y="1032"/>
                  </a:cubicBezTo>
                  <a:cubicBezTo>
                    <a:pt x="7015" y="826"/>
                    <a:pt x="7892" y="465"/>
                    <a:pt x="8820" y="284"/>
                  </a:cubicBezTo>
                  <a:cubicBezTo>
                    <a:pt x="9672" y="129"/>
                    <a:pt x="10548" y="233"/>
                    <a:pt x="11374" y="0"/>
                  </a:cubicBez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2465;p74">
              <a:extLst>
                <a:ext uri="{FF2B5EF4-FFF2-40B4-BE49-F238E27FC236}">
                  <a16:creationId xmlns:a16="http://schemas.microsoft.com/office/drawing/2014/main" id="{F2BA08A7-1C39-4578-9347-9631375531C4}"/>
                </a:ext>
              </a:extLst>
            </p:cNvPr>
            <p:cNvSpPr/>
            <p:nvPr/>
          </p:nvSpPr>
          <p:spPr>
            <a:xfrm>
              <a:off x="1762168" y="1055958"/>
              <a:ext cx="2622422" cy="318197"/>
            </a:xfrm>
            <a:custGeom>
              <a:avLst/>
              <a:gdLst/>
              <a:ahLst/>
              <a:cxnLst/>
              <a:rect l="l" t="t" r="r" b="b"/>
              <a:pathLst>
                <a:path w="115208" h="13979" extrusionOk="0">
                  <a:moveTo>
                    <a:pt x="113144" y="0"/>
                  </a:moveTo>
                  <a:lnTo>
                    <a:pt x="55966" y="980"/>
                  </a:lnTo>
                  <a:lnTo>
                    <a:pt x="1" y="11580"/>
                  </a:lnTo>
                  <a:lnTo>
                    <a:pt x="1832" y="13979"/>
                  </a:lnTo>
                  <a:lnTo>
                    <a:pt x="55992" y="1857"/>
                  </a:lnTo>
                  <a:lnTo>
                    <a:pt x="115208" y="619"/>
                  </a:lnTo>
                  <a:lnTo>
                    <a:pt x="11314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2466;p74">
              <a:extLst>
                <a:ext uri="{FF2B5EF4-FFF2-40B4-BE49-F238E27FC236}">
                  <a16:creationId xmlns:a16="http://schemas.microsoft.com/office/drawing/2014/main" id="{4B00614D-6C59-4203-A830-B1F9D6283111}"/>
                </a:ext>
              </a:extLst>
            </p:cNvPr>
            <p:cNvSpPr/>
            <p:nvPr/>
          </p:nvSpPr>
          <p:spPr>
            <a:xfrm>
              <a:off x="1334757" y="2800200"/>
              <a:ext cx="466745" cy="325253"/>
            </a:xfrm>
            <a:custGeom>
              <a:avLst/>
              <a:gdLst/>
              <a:ahLst/>
              <a:cxnLst/>
              <a:rect l="l" t="t" r="r" b="b"/>
              <a:pathLst>
                <a:path w="20505" h="14289" extrusionOk="0">
                  <a:moveTo>
                    <a:pt x="12948" y="1"/>
                  </a:moveTo>
                  <a:lnTo>
                    <a:pt x="1" y="11426"/>
                  </a:lnTo>
                  <a:lnTo>
                    <a:pt x="6474" y="14289"/>
                  </a:lnTo>
                  <a:lnTo>
                    <a:pt x="20505" y="955"/>
                  </a:lnTo>
                  <a:lnTo>
                    <a:pt x="129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2467;p74">
              <a:extLst>
                <a:ext uri="{FF2B5EF4-FFF2-40B4-BE49-F238E27FC236}">
                  <a16:creationId xmlns:a16="http://schemas.microsoft.com/office/drawing/2014/main" id="{5F6DCFAD-FC44-46EF-BB06-64D210C037F6}"/>
                </a:ext>
              </a:extLst>
            </p:cNvPr>
            <p:cNvSpPr/>
            <p:nvPr/>
          </p:nvSpPr>
          <p:spPr>
            <a:xfrm>
              <a:off x="1334757" y="2821917"/>
              <a:ext cx="467337" cy="341119"/>
            </a:xfrm>
            <a:custGeom>
              <a:avLst/>
              <a:gdLst/>
              <a:ahLst/>
              <a:cxnLst/>
              <a:rect l="l" t="t" r="r" b="b"/>
              <a:pathLst>
                <a:path w="20531" h="14986" extrusionOk="0">
                  <a:moveTo>
                    <a:pt x="20505" y="1"/>
                  </a:moveTo>
                  <a:lnTo>
                    <a:pt x="6474" y="13335"/>
                  </a:lnTo>
                  <a:lnTo>
                    <a:pt x="1" y="10472"/>
                  </a:lnTo>
                  <a:lnTo>
                    <a:pt x="27" y="11555"/>
                  </a:lnTo>
                  <a:lnTo>
                    <a:pt x="6629" y="14985"/>
                  </a:lnTo>
                  <a:lnTo>
                    <a:pt x="20530" y="1007"/>
                  </a:lnTo>
                  <a:lnTo>
                    <a:pt x="205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2468;p74">
              <a:extLst>
                <a:ext uri="{FF2B5EF4-FFF2-40B4-BE49-F238E27FC236}">
                  <a16:creationId xmlns:a16="http://schemas.microsoft.com/office/drawing/2014/main" id="{116495CF-E70D-4204-BE36-537251D795E5}"/>
                </a:ext>
              </a:extLst>
            </p:cNvPr>
            <p:cNvSpPr/>
            <p:nvPr/>
          </p:nvSpPr>
          <p:spPr>
            <a:xfrm>
              <a:off x="1334757" y="2800200"/>
              <a:ext cx="419786" cy="323501"/>
            </a:xfrm>
            <a:custGeom>
              <a:avLst/>
              <a:gdLst/>
              <a:ahLst/>
              <a:cxnLst/>
              <a:rect l="l" t="t" r="r" b="b"/>
              <a:pathLst>
                <a:path w="18442" h="14212" extrusionOk="0">
                  <a:moveTo>
                    <a:pt x="12948" y="1"/>
                  </a:moveTo>
                  <a:lnTo>
                    <a:pt x="1" y="11426"/>
                  </a:lnTo>
                  <a:lnTo>
                    <a:pt x="6345" y="14211"/>
                  </a:lnTo>
                  <a:cubicBezTo>
                    <a:pt x="6345" y="14186"/>
                    <a:pt x="6371" y="14160"/>
                    <a:pt x="6397" y="14160"/>
                  </a:cubicBezTo>
                  <a:cubicBezTo>
                    <a:pt x="7480" y="13102"/>
                    <a:pt x="6629" y="11065"/>
                    <a:pt x="6191" y="9827"/>
                  </a:cubicBezTo>
                  <a:cubicBezTo>
                    <a:pt x="5984" y="9182"/>
                    <a:pt x="5520" y="8305"/>
                    <a:pt x="5804" y="7635"/>
                  </a:cubicBezTo>
                  <a:cubicBezTo>
                    <a:pt x="6139" y="6706"/>
                    <a:pt x="7068" y="6010"/>
                    <a:pt x="7790" y="5391"/>
                  </a:cubicBezTo>
                  <a:cubicBezTo>
                    <a:pt x="8950" y="4385"/>
                    <a:pt x="10240" y="3508"/>
                    <a:pt x="11607" y="2786"/>
                  </a:cubicBezTo>
                  <a:cubicBezTo>
                    <a:pt x="13567" y="1780"/>
                    <a:pt x="15656" y="1368"/>
                    <a:pt x="17797" y="852"/>
                  </a:cubicBezTo>
                  <a:lnTo>
                    <a:pt x="18441" y="697"/>
                  </a:lnTo>
                  <a:lnTo>
                    <a:pt x="12948"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2469;p74">
              <a:extLst>
                <a:ext uri="{FF2B5EF4-FFF2-40B4-BE49-F238E27FC236}">
                  <a16:creationId xmlns:a16="http://schemas.microsoft.com/office/drawing/2014/main" id="{C2FFEEAC-BA38-4EF9-A756-05DBAC1E9669}"/>
                </a:ext>
              </a:extLst>
            </p:cNvPr>
            <p:cNvSpPr/>
            <p:nvPr/>
          </p:nvSpPr>
          <p:spPr>
            <a:xfrm>
              <a:off x="1355313" y="2489044"/>
              <a:ext cx="252459" cy="554221"/>
            </a:xfrm>
            <a:custGeom>
              <a:avLst/>
              <a:gdLst/>
              <a:ahLst/>
              <a:cxnLst/>
              <a:rect l="l" t="t" r="r" b="b"/>
              <a:pathLst>
                <a:path w="11091" h="24348" extrusionOk="0">
                  <a:moveTo>
                    <a:pt x="8202" y="1"/>
                  </a:moveTo>
                  <a:lnTo>
                    <a:pt x="1" y="4050"/>
                  </a:lnTo>
                  <a:lnTo>
                    <a:pt x="5649" y="24347"/>
                  </a:lnTo>
                  <a:lnTo>
                    <a:pt x="11091" y="17487"/>
                  </a:lnTo>
                  <a:lnTo>
                    <a:pt x="820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2470;p74">
              <a:extLst>
                <a:ext uri="{FF2B5EF4-FFF2-40B4-BE49-F238E27FC236}">
                  <a16:creationId xmlns:a16="http://schemas.microsoft.com/office/drawing/2014/main" id="{7527F750-08AC-4E4A-B028-03148DD3C6EB}"/>
                </a:ext>
              </a:extLst>
            </p:cNvPr>
            <p:cNvSpPr/>
            <p:nvPr/>
          </p:nvSpPr>
          <p:spPr>
            <a:xfrm>
              <a:off x="2429689" y="1985899"/>
              <a:ext cx="181417" cy="344647"/>
            </a:xfrm>
            <a:custGeom>
              <a:avLst/>
              <a:gdLst/>
              <a:ahLst/>
              <a:cxnLst/>
              <a:rect l="l" t="t" r="r" b="b"/>
              <a:pathLst>
                <a:path w="7970" h="15141" extrusionOk="0">
                  <a:moveTo>
                    <a:pt x="7815" y="1"/>
                  </a:moveTo>
                  <a:lnTo>
                    <a:pt x="1" y="1858"/>
                  </a:lnTo>
                  <a:lnTo>
                    <a:pt x="929" y="15140"/>
                  </a:lnTo>
                  <a:lnTo>
                    <a:pt x="7970" y="11194"/>
                  </a:lnTo>
                  <a:lnTo>
                    <a:pt x="7815"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2471;p74">
              <a:extLst>
                <a:ext uri="{FF2B5EF4-FFF2-40B4-BE49-F238E27FC236}">
                  <a16:creationId xmlns:a16="http://schemas.microsoft.com/office/drawing/2014/main" id="{00711006-22AB-4D57-A248-CB1A4B6404E0}"/>
                </a:ext>
              </a:extLst>
            </p:cNvPr>
            <p:cNvSpPr/>
            <p:nvPr/>
          </p:nvSpPr>
          <p:spPr>
            <a:xfrm>
              <a:off x="3620320" y="1817402"/>
              <a:ext cx="143836" cy="203155"/>
            </a:xfrm>
            <a:custGeom>
              <a:avLst/>
              <a:gdLst/>
              <a:ahLst/>
              <a:cxnLst/>
              <a:rect l="l" t="t" r="r" b="b"/>
              <a:pathLst>
                <a:path w="6319" h="8925" extrusionOk="0">
                  <a:moveTo>
                    <a:pt x="6319" y="1"/>
                  </a:moveTo>
                  <a:lnTo>
                    <a:pt x="0" y="336"/>
                  </a:lnTo>
                  <a:lnTo>
                    <a:pt x="387" y="8925"/>
                  </a:lnTo>
                  <a:lnTo>
                    <a:pt x="6319" y="8925"/>
                  </a:lnTo>
                  <a:lnTo>
                    <a:pt x="631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2472;p74">
              <a:extLst>
                <a:ext uri="{FF2B5EF4-FFF2-40B4-BE49-F238E27FC236}">
                  <a16:creationId xmlns:a16="http://schemas.microsoft.com/office/drawing/2014/main" id="{A14ACD79-EDAB-4234-82F6-575CCFBFE84E}"/>
                </a:ext>
              </a:extLst>
            </p:cNvPr>
            <p:cNvSpPr/>
            <p:nvPr/>
          </p:nvSpPr>
          <p:spPr>
            <a:xfrm>
              <a:off x="3036751" y="1070048"/>
              <a:ext cx="1347904" cy="843032"/>
            </a:xfrm>
            <a:custGeom>
              <a:avLst/>
              <a:gdLst/>
              <a:ahLst/>
              <a:cxnLst/>
              <a:rect l="l" t="t" r="r" b="b"/>
              <a:pathLst>
                <a:path w="59216" h="37036" extrusionOk="0">
                  <a:moveTo>
                    <a:pt x="59216" y="0"/>
                  </a:moveTo>
                  <a:lnTo>
                    <a:pt x="0" y="1238"/>
                  </a:lnTo>
                  <a:lnTo>
                    <a:pt x="0" y="37036"/>
                  </a:lnTo>
                  <a:lnTo>
                    <a:pt x="55063" y="33631"/>
                  </a:lnTo>
                  <a:lnTo>
                    <a:pt x="59216"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2473;p74">
              <a:extLst>
                <a:ext uri="{FF2B5EF4-FFF2-40B4-BE49-F238E27FC236}">
                  <a16:creationId xmlns:a16="http://schemas.microsoft.com/office/drawing/2014/main" id="{A0A58AF7-6D29-4D32-B319-FCDE6CEB065C}"/>
                </a:ext>
              </a:extLst>
            </p:cNvPr>
            <p:cNvSpPr/>
            <p:nvPr/>
          </p:nvSpPr>
          <p:spPr>
            <a:xfrm>
              <a:off x="3083120" y="1120538"/>
              <a:ext cx="1255762" cy="760268"/>
            </a:xfrm>
            <a:custGeom>
              <a:avLst/>
              <a:gdLst/>
              <a:ahLst/>
              <a:cxnLst/>
              <a:rect l="l" t="t" r="r" b="b"/>
              <a:pathLst>
                <a:path w="55168" h="33400" extrusionOk="0">
                  <a:moveTo>
                    <a:pt x="55167" y="0"/>
                  </a:moveTo>
                  <a:lnTo>
                    <a:pt x="1" y="1006"/>
                  </a:lnTo>
                  <a:lnTo>
                    <a:pt x="1" y="33399"/>
                  </a:lnTo>
                  <a:lnTo>
                    <a:pt x="51092" y="29789"/>
                  </a:lnTo>
                  <a:lnTo>
                    <a:pt x="5516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2474;p74">
              <a:extLst>
                <a:ext uri="{FF2B5EF4-FFF2-40B4-BE49-F238E27FC236}">
                  <a16:creationId xmlns:a16="http://schemas.microsoft.com/office/drawing/2014/main" id="{9D02E0AE-ADB0-4702-9C04-4CD9A1D6AB0E}"/>
                </a:ext>
              </a:extLst>
            </p:cNvPr>
            <p:cNvSpPr/>
            <p:nvPr/>
          </p:nvSpPr>
          <p:spPr>
            <a:xfrm>
              <a:off x="1799751" y="1098230"/>
              <a:ext cx="1236960" cy="1318563"/>
            </a:xfrm>
            <a:custGeom>
              <a:avLst/>
              <a:gdLst/>
              <a:ahLst/>
              <a:cxnLst/>
              <a:rect l="l" t="t" r="r" b="b"/>
              <a:pathLst>
                <a:path w="54342" h="57927" extrusionOk="0">
                  <a:moveTo>
                    <a:pt x="54341" y="0"/>
                  </a:moveTo>
                  <a:lnTo>
                    <a:pt x="0" y="10059"/>
                  </a:lnTo>
                  <a:lnTo>
                    <a:pt x="3843" y="57926"/>
                  </a:lnTo>
                  <a:lnTo>
                    <a:pt x="54341" y="35798"/>
                  </a:lnTo>
                  <a:lnTo>
                    <a:pt x="5434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2475;p74">
              <a:extLst>
                <a:ext uri="{FF2B5EF4-FFF2-40B4-BE49-F238E27FC236}">
                  <a16:creationId xmlns:a16="http://schemas.microsoft.com/office/drawing/2014/main" id="{2C386F69-663E-45E7-B8D8-FF8C2433A6EF}"/>
                </a:ext>
              </a:extLst>
            </p:cNvPr>
            <p:cNvSpPr/>
            <p:nvPr/>
          </p:nvSpPr>
          <p:spPr>
            <a:xfrm>
              <a:off x="657857" y="1327187"/>
              <a:ext cx="1229312" cy="1919721"/>
            </a:xfrm>
            <a:custGeom>
              <a:avLst/>
              <a:gdLst/>
              <a:ahLst/>
              <a:cxnLst/>
              <a:rect l="l" t="t" r="r" b="b"/>
              <a:pathLst>
                <a:path w="54006" h="84337" extrusionOk="0">
                  <a:moveTo>
                    <a:pt x="50163" y="1"/>
                  </a:moveTo>
                  <a:lnTo>
                    <a:pt x="0" y="28628"/>
                  </a:lnTo>
                  <a:lnTo>
                    <a:pt x="10162" y="84336"/>
                  </a:lnTo>
                  <a:lnTo>
                    <a:pt x="54006" y="47868"/>
                  </a:lnTo>
                  <a:lnTo>
                    <a:pt x="5016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2476;p74">
              <a:extLst>
                <a:ext uri="{FF2B5EF4-FFF2-40B4-BE49-F238E27FC236}">
                  <a16:creationId xmlns:a16="http://schemas.microsoft.com/office/drawing/2014/main" id="{03855894-5724-42A5-8E96-EE44032DA12E}"/>
                </a:ext>
              </a:extLst>
            </p:cNvPr>
            <p:cNvSpPr/>
            <p:nvPr/>
          </p:nvSpPr>
          <p:spPr>
            <a:xfrm>
              <a:off x="560975" y="1978865"/>
              <a:ext cx="328190" cy="1268076"/>
            </a:xfrm>
            <a:custGeom>
              <a:avLst/>
              <a:gdLst/>
              <a:ahLst/>
              <a:cxnLst/>
              <a:rect l="l" t="t" r="r" b="b"/>
              <a:pathLst>
                <a:path w="14418" h="55709" extrusionOk="0">
                  <a:moveTo>
                    <a:pt x="4256" y="0"/>
                  </a:moveTo>
                  <a:lnTo>
                    <a:pt x="1" y="1625"/>
                  </a:lnTo>
                  <a:lnTo>
                    <a:pt x="11710" y="55193"/>
                  </a:lnTo>
                  <a:lnTo>
                    <a:pt x="14418" y="55708"/>
                  </a:lnTo>
                  <a:lnTo>
                    <a:pt x="14418" y="55708"/>
                  </a:lnTo>
                  <a:lnTo>
                    <a:pt x="425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2477;p74">
              <a:extLst>
                <a:ext uri="{FF2B5EF4-FFF2-40B4-BE49-F238E27FC236}">
                  <a16:creationId xmlns:a16="http://schemas.microsoft.com/office/drawing/2014/main" id="{07D2CF93-6AC1-435D-8F3C-8072DD74F86C}"/>
                </a:ext>
              </a:extLst>
            </p:cNvPr>
            <p:cNvSpPr/>
            <p:nvPr/>
          </p:nvSpPr>
          <p:spPr>
            <a:xfrm>
              <a:off x="560975" y="1319561"/>
              <a:ext cx="1238735" cy="696282"/>
            </a:xfrm>
            <a:custGeom>
              <a:avLst/>
              <a:gdLst/>
              <a:ahLst/>
              <a:cxnLst/>
              <a:rect l="l" t="t" r="r" b="b"/>
              <a:pathLst>
                <a:path w="54420" h="30589" extrusionOk="0">
                  <a:moveTo>
                    <a:pt x="52769" y="0"/>
                  </a:moveTo>
                  <a:lnTo>
                    <a:pt x="1" y="30588"/>
                  </a:lnTo>
                  <a:lnTo>
                    <a:pt x="1" y="30588"/>
                  </a:lnTo>
                  <a:lnTo>
                    <a:pt x="4256" y="28963"/>
                  </a:lnTo>
                  <a:lnTo>
                    <a:pt x="54419" y="336"/>
                  </a:lnTo>
                  <a:lnTo>
                    <a:pt x="5276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2478;p74">
              <a:extLst>
                <a:ext uri="{FF2B5EF4-FFF2-40B4-BE49-F238E27FC236}">
                  <a16:creationId xmlns:a16="http://schemas.microsoft.com/office/drawing/2014/main" id="{0AD86A50-1B20-4DF9-8131-DA53345C1C3E}"/>
                </a:ext>
              </a:extLst>
            </p:cNvPr>
            <p:cNvSpPr/>
            <p:nvPr/>
          </p:nvSpPr>
          <p:spPr>
            <a:xfrm>
              <a:off x="4108782" y="1162218"/>
              <a:ext cx="126241" cy="621143"/>
            </a:xfrm>
            <a:custGeom>
              <a:avLst/>
              <a:gdLst/>
              <a:ahLst/>
              <a:cxnLst/>
              <a:rect l="l" t="t" r="r" b="b"/>
              <a:pathLst>
                <a:path w="5546" h="27288" extrusionOk="0">
                  <a:moveTo>
                    <a:pt x="4127" y="0"/>
                  </a:moveTo>
                  <a:lnTo>
                    <a:pt x="0" y="27287"/>
                  </a:lnTo>
                  <a:lnTo>
                    <a:pt x="1883" y="27287"/>
                  </a:lnTo>
                  <a:lnTo>
                    <a:pt x="554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2479;p74">
              <a:extLst>
                <a:ext uri="{FF2B5EF4-FFF2-40B4-BE49-F238E27FC236}">
                  <a16:creationId xmlns:a16="http://schemas.microsoft.com/office/drawing/2014/main" id="{346C7E1F-4620-413E-9439-87B639D620AC}"/>
                </a:ext>
              </a:extLst>
            </p:cNvPr>
            <p:cNvSpPr/>
            <p:nvPr/>
          </p:nvSpPr>
          <p:spPr>
            <a:xfrm>
              <a:off x="4061798" y="1240890"/>
              <a:ext cx="99244" cy="363403"/>
            </a:xfrm>
            <a:custGeom>
              <a:avLst/>
              <a:gdLst/>
              <a:ahLst/>
              <a:cxnLst/>
              <a:rect l="l" t="t" r="r" b="b"/>
              <a:pathLst>
                <a:path w="4360" h="15965" extrusionOk="0">
                  <a:moveTo>
                    <a:pt x="4359" y="0"/>
                  </a:moveTo>
                  <a:lnTo>
                    <a:pt x="2993" y="78"/>
                  </a:lnTo>
                  <a:lnTo>
                    <a:pt x="1" y="15965"/>
                  </a:lnTo>
                  <a:lnTo>
                    <a:pt x="1" y="15965"/>
                  </a:lnTo>
                  <a:lnTo>
                    <a:pt x="1832" y="15836"/>
                  </a:lnTo>
                  <a:lnTo>
                    <a:pt x="435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2480;p74">
              <a:extLst>
                <a:ext uri="{FF2B5EF4-FFF2-40B4-BE49-F238E27FC236}">
                  <a16:creationId xmlns:a16="http://schemas.microsoft.com/office/drawing/2014/main" id="{47367E83-5A08-42B6-B6E6-097B849E214C}"/>
                </a:ext>
              </a:extLst>
            </p:cNvPr>
            <p:cNvSpPr/>
            <p:nvPr/>
          </p:nvSpPr>
          <p:spPr>
            <a:xfrm>
              <a:off x="3219338" y="1279042"/>
              <a:ext cx="42862" cy="315283"/>
            </a:xfrm>
            <a:custGeom>
              <a:avLst/>
              <a:gdLst/>
              <a:ahLst/>
              <a:cxnLst/>
              <a:rect l="l" t="t" r="r" b="b"/>
              <a:pathLst>
                <a:path w="1883" h="13851" extrusionOk="0">
                  <a:moveTo>
                    <a:pt x="0" y="1"/>
                  </a:moveTo>
                  <a:lnTo>
                    <a:pt x="671" y="13850"/>
                  </a:lnTo>
                  <a:lnTo>
                    <a:pt x="1883" y="13850"/>
                  </a:lnTo>
                  <a:lnTo>
                    <a:pt x="136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2481;p74">
              <a:extLst>
                <a:ext uri="{FF2B5EF4-FFF2-40B4-BE49-F238E27FC236}">
                  <a16:creationId xmlns:a16="http://schemas.microsoft.com/office/drawing/2014/main" id="{0747BBCA-E254-40AB-A86E-A8B8FD8BBEE1}"/>
                </a:ext>
              </a:extLst>
            </p:cNvPr>
            <p:cNvSpPr/>
            <p:nvPr/>
          </p:nvSpPr>
          <p:spPr>
            <a:xfrm>
              <a:off x="3135955" y="1279042"/>
              <a:ext cx="59911" cy="504895"/>
            </a:xfrm>
            <a:custGeom>
              <a:avLst/>
              <a:gdLst/>
              <a:ahLst/>
              <a:cxnLst/>
              <a:rect l="l" t="t" r="r" b="b"/>
              <a:pathLst>
                <a:path w="2632" h="22181" extrusionOk="0">
                  <a:moveTo>
                    <a:pt x="1" y="1"/>
                  </a:moveTo>
                  <a:lnTo>
                    <a:pt x="1136" y="22181"/>
                  </a:lnTo>
                  <a:lnTo>
                    <a:pt x="2632" y="22181"/>
                  </a:lnTo>
                  <a:lnTo>
                    <a:pt x="15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2482;p74">
              <a:extLst>
                <a:ext uri="{FF2B5EF4-FFF2-40B4-BE49-F238E27FC236}">
                  <a16:creationId xmlns:a16="http://schemas.microsoft.com/office/drawing/2014/main" id="{0B4BA350-62E9-4B1B-89D4-164D5CFF4513}"/>
                </a:ext>
              </a:extLst>
            </p:cNvPr>
            <p:cNvSpPr/>
            <p:nvPr/>
          </p:nvSpPr>
          <p:spPr>
            <a:xfrm>
              <a:off x="3508772" y="1287101"/>
              <a:ext cx="510783" cy="218046"/>
            </a:xfrm>
            <a:custGeom>
              <a:avLst/>
              <a:gdLst/>
              <a:ahLst/>
              <a:cxnLst/>
              <a:rect l="l" t="t" r="r" b="b"/>
              <a:pathLst>
                <a:path w="17281" h="7377" extrusionOk="0">
                  <a:moveTo>
                    <a:pt x="0" y="0"/>
                  </a:moveTo>
                  <a:lnTo>
                    <a:pt x="207" y="7377"/>
                  </a:lnTo>
                  <a:lnTo>
                    <a:pt x="16661" y="7377"/>
                  </a:lnTo>
                  <a:lnTo>
                    <a:pt x="172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2483;p74">
              <a:extLst>
                <a:ext uri="{FF2B5EF4-FFF2-40B4-BE49-F238E27FC236}">
                  <a16:creationId xmlns:a16="http://schemas.microsoft.com/office/drawing/2014/main" id="{0E192B3E-78EF-4F50-8EF4-42FFC8648DFC}"/>
                </a:ext>
              </a:extLst>
            </p:cNvPr>
            <p:cNvSpPr/>
            <p:nvPr/>
          </p:nvSpPr>
          <p:spPr>
            <a:xfrm>
              <a:off x="3334101" y="1565524"/>
              <a:ext cx="379256" cy="179617"/>
            </a:xfrm>
            <a:custGeom>
              <a:avLst/>
              <a:gdLst/>
              <a:ahLst/>
              <a:cxnLst/>
              <a:rect l="l" t="t" r="r" b="b"/>
              <a:pathLst>
                <a:path w="14598" h="6913" extrusionOk="0">
                  <a:moveTo>
                    <a:pt x="14598" y="0"/>
                  </a:moveTo>
                  <a:lnTo>
                    <a:pt x="0" y="258"/>
                  </a:lnTo>
                  <a:lnTo>
                    <a:pt x="0" y="6912"/>
                  </a:lnTo>
                  <a:lnTo>
                    <a:pt x="14598" y="6732"/>
                  </a:lnTo>
                  <a:lnTo>
                    <a:pt x="145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2484;p74">
              <a:extLst>
                <a:ext uri="{FF2B5EF4-FFF2-40B4-BE49-F238E27FC236}">
                  <a16:creationId xmlns:a16="http://schemas.microsoft.com/office/drawing/2014/main" id="{9E3AA725-D0EC-4CBB-9CBB-8F38130FEF90}"/>
                </a:ext>
              </a:extLst>
            </p:cNvPr>
            <p:cNvSpPr/>
            <p:nvPr/>
          </p:nvSpPr>
          <p:spPr>
            <a:xfrm>
              <a:off x="1870204" y="1173373"/>
              <a:ext cx="1124240" cy="1135985"/>
            </a:xfrm>
            <a:custGeom>
              <a:avLst/>
              <a:gdLst/>
              <a:ahLst/>
              <a:cxnLst/>
              <a:rect l="l" t="t" r="r" b="b"/>
              <a:pathLst>
                <a:path w="49390" h="49906" extrusionOk="0">
                  <a:moveTo>
                    <a:pt x="48873" y="0"/>
                  </a:moveTo>
                  <a:lnTo>
                    <a:pt x="0" y="9749"/>
                  </a:lnTo>
                  <a:lnTo>
                    <a:pt x="3611" y="49906"/>
                  </a:lnTo>
                  <a:lnTo>
                    <a:pt x="49389" y="31156"/>
                  </a:lnTo>
                  <a:lnTo>
                    <a:pt x="4887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2485;p74">
              <a:extLst>
                <a:ext uri="{FF2B5EF4-FFF2-40B4-BE49-F238E27FC236}">
                  <a16:creationId xmlns:a16="http://schemas.microsoft.com/office/drawing/2014/main" id="{08FE9C66-F392-4B76-AE9F-F2DF933B8D10}"/>
                </a:ext>
              </a:extLst>
            </p:cNvPr>
            <p:cNvSpPr/>
            <p:nvPr/>
          </p:nvSpPr>
          <p:spPr>
            <a:xfrm>
              <a:off x="1960599" y="1240298"/>
              <a:ext cx="978082" cy="963400"/>
            </a:xfrm>
            <a:custGeom>
              <a:avLst/>
              <a:gdLst/>
              <a:ahLst/>
              <a:cxnLst/>
              <a:rect l="l" t="t" r="r" b="b"/>
              <a:pathLst>
                <a:path w="42969" h="42324" extrusionOk="0">
                  <a:moveTo>
                    <a:pt x="42298" y="1"/>
                  </a:moveTo>
                  <a:lnTo>
                    <a:pt x="1" y="9517"/>
                  </a:lnTo>
                  <a:lnTo>
                    <a:pt x="2993" y="42323"/>
                  </a:lnTo>
                  <a:lnTo>
                    <a:pt x="42968" y="26152"/>
                  </a:lnTo>
                  <a:lnTo>
                    <a:pt x="42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2486;p74">
              <a:extLst>
                <a:ext uri="{FF2B5EF4-FFF2-40B4-BE49-F238E27FC236}">
                  <a16:creationId xmlns:a16="http://schemas.microsoft.com/office/drawing/2014/main" id="{8CB36214-5804-4ADD-A221-597C85D1779D}"/>
                </a:ext>
              </a:extLst>
            </p:cNvPr>
            <p:cNvSpPr/>
            <p:nvPr/>
          </p:nvSpPr>
          <p:spPr>
            <a:xfrm>
              <a:off x="2335766" y="1380021"/>
              <a:ext cx="110967" cy="214309"/>
            </a:xfrm>
            <a:custGeom>
              <a:avLst/>
              <a:gdLst/>
              <a:ahLst/>
              <a:cxnLst/>
              <a:rect l="l" t="t" r="r" b="b"/>
              <a:pathLst>
                <a:path w="4875" h="9415" extrusionOk="0">
                  <a:moveTo>
                    <a:pt x="4178" y="1"/>
                  </a:moveTo>
                  <a:lnTo>
                    <a:pt x="0" y="903"/>
                  </a:lnTo>
                  <a:lnTo>
                    <a:pt x="774" y="9414"/>
                  </a:lnTo>
                  <a:lnTo>
                    <a:pt x="4875" y="8202"/>
                  </a:lnTo>
                  <a:lnTo>
                    <a:pt x="4178"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2487;p74">
              <a:extLst>
                <a:ext uri="{FF2B5EF4-FFF2-40B4-BE49-F238E27FC236}">
                  <a16:creationId xmlns:a16="http://schemas.microsoft.com/office/drawing/2014/main" id="{B6DC0F67-4C2B-4FB7-988E-7B13FAFD2E7E}"/>
                </a:ext>
              </a:extLst>
            </p:cNvPr>
            <p:cNvSpPr/>
            <p:nvPr/>
          </p:nvSpPr>
          <p:spPr>
            <a:xfrm>
              <a:off x="2355138" y="1584917"/>
              <a:ext cx="103342" cy="138578"/>
            </a:xfrm>
            <a:custGeom>
              <a:avLst/>
              <a:gdLst/>
              <a:ahLst/>
              <a:cxnLst/>
              <a:rect l="l" t="t" r="r" b="b"/>
              <a:pathLst>
                <a:path w="4540" h="6088" fill="none" extrusionOk="0">
                  <a:moveTo>
                    <a:pt x="0" y="1187"/>
                  </a:moveTo>
                  <a:lnTo>
                    <a:pt x="464" y="6087"/>
                  </a:lnTo>
                  <a:lnTo>
                    <a:pt x="4539" y="4849"/>
                  </a:lnTo>
                  <a:lnTo>
                    <a:pt x="4101" y="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2488;p74">
              <a:extLst>
                <a:ext uri="{FF2B5EF4-FFF2-40B4-BE49-F238E27FC236}">
                  <a16:creationId xmlns:a16="http://schemas.microsoft.com/office/drawing/2014/main" id="{D55C910A-FA0A-4775-B27B-41D49D87B743}"/>
                </a:ext>
              </a:extLst>
            </p:cNvPr>
            <p:cNvSpPr/>
            <p:nvPr/>
          </p:nvSpPr>
          <p:spPr>
            <a:xfrm>
              <a:off x="2233011" y="1404105"/>
              <a:ext cx="105709" cy="220751"/>
            </a:xfrm>
            <a:custGeom>
              <a:avLst/>
              <a:gdLst/>
              <a:ahLst/>
              <a:cxnLst/>
              <a:rect l="l" t="t" r="r" b="b"/>
              <a:pathLst>
                <a:path w="4644" h="9698" extrusionOk="0">
                  <a:moveTo>
                    <a:pt x="3818" y="0"/>
                  </a:moveTo>
                  <a:lnTo>
                    <a:pt x="1" y="851"/>
                  </a:lnTo>
                  <a:lnTo>
                    <a:pt x="826" y="9698"/>
                  </a:lnTo>
                  <a:lnTo>
                    <a:pt x="4643" y="8563"/>
                  </a:lnTo>
                  <a:lnTo>
                    <a:pt x="381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2489;p74">
              <a:extLst>
                <a:ext uri="{FF2B5EF4-FFF2-40B4-BE49-F238E27FC236}">
                  <a16:creationId xmlns:a16="http://schemas.microsoft.com/office/drawing/2014/main" id="{C5D1F52F-55D4-4792-8C89-3E99F7F9BEBA}"/>
                </a:ext>
              </a:extLst>
            </p:cNvPr>
            <p:cNvSpPr/>
            <p:nvPr/>
          </p:nvSpPr>
          <p:spPr>
            <a:xfrm>
              <a:off x="2120877" y="1427005"/>
              <a:ext cx="116271" cy="231313"/>
            </a:xfrm>
            <a:custGeom>
              <a:avLst/>
              <a:gdLst/>
              <a:ahLst/>
              <a:cxnLst/>
              <a:rect l="l" t="t" r="r" b="b"/>
              <a:pathLst>
                <a:path w="5108" h="10162" extrusionOk="0">
                  <a:moveTo>
                    <a:pt x="4230" y="0"/>
                  </a:moveTo>
                  <a:lnTo>
                    <a:pt x="1" y="929"/>
                  </a:lnTo>
                  <a:lnTo>
                    <a:pt x="852" y="10162"/>
                  </a:lnTo>
                  <a:lnTo>
                    <a:pt x="5107" y="8898"/>
                  </a:lnTo>
                  <a:lnTo>
                    <a:pt x="423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2490;p74">
              <a:extLst>
                <a:ext uri="{FF2B5EF4-FFF2-40B4-BE49-F238E27FC236}">
                  <a16:creationId xmlns:a16="http://schemas.microsoft.com/office/drawing/2014/main" id="{06844CE0-05D8-497F-AB7B-E33ABAE5E028}"/>
                </a:ext>
              </a:extLst>
            </p:cNvPr>
            <p:cNvSpPr/>
            <p:nvPr/>
          </p:nvSpPr>
          <p:spPr>
            <a:xfrm>
              <a:off x="2035172" y="1809184"/>
              <a:ext cx="113312" cy="142106"/>
            </a:xfrm>
            <a:custGeom>
              <a:avLst/>
              <a:gdLst/>
              <a:ahLst/>
              <a:cxnLst/>
              <a:rect l="l" t="t" r="r" b="b"/>
              <a:pathLst>
                <a:path w="4978" h="6243" fill="none" extrusionOk="0">
                  <a:moveTo>
                    <a:pt x="4488" y="1"/>
                  </a:moveTo>
                  <a:lnTo>
                    <a:pt x="0" y="1316"/>
                  </a:lnTo>
                  <a:lnTo>
                    <a:pt x="516" y="6242"/>
                  </a:lnTo>
                  <a:lnTo>
                    <a:pt x="4978" y="490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2491;p74">
              <a:extLst>
                <a:ext uri="{FF2B5EF4-FFF2-40B4-BE49-F238E27FC236}">
                  <a16:creationId xmlns:a16="http://schemas.microsoft.com/office/drawing/2014/main" id="{E489B02F-76EC-462E-BE06-993DAE8C2291}"/>
                </a:ext>
              </a:extLst>
            </p:cNvPr>
            <p:cNvSpPr/>
            <p:nvPr/>
          </p:nvSpPr>
          <p:spPr>
            <a:xfrm>
              <a:off x="2253567" y="1616035"/>
              <a:ext cx="98061" cy="138578"/>
            </a:xfrm>
            <a:custGeom>
              <a:avLst/>
              <a:gdLst/>
              <a:ahLst/>
              <a:cxnLst/>
              <a:rect l="l" t="t" r="r" b="b"/>
              <a:pathLst>
                <a:path w="4308" h="6088" extrusionOk="0">
                  <a:moveTo>
                    <a:pt x="3817" y="1"/>
                  </a:moveTo>
                  <a:lnTo>
                    <a:pt x="0" y="1110"/>
                  </a:lnTo>
                  <a:lnTo>
                    <a:pt x="439" y="6087"/>
                  </a:lnTo>
                  <a:lnTo>
                    <a:pt x="4307" y="4927"/>
                  </a:lnTo>
                  <a:lnTo>
                    <a:pt x="381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2492;p74">
              <a:extLst>
                <a:ext uri="{FF2B5EF4-FFF2-40B4-BE49-F238E27FC236}">
                  <a16:creationId xmlns:a16="http://schemas.microsoft.com/office/drawing/2014/main" id="{524377AB-9846-408D-B1B5-B512EBF6D8A0}"/>
                </a:ext>
              </a:extLst>
            </p:cNvPr>
            <p:cNvSpPr/>
            <p:nvPr/>
          </p:nvSpPr>
          <p:spPr>
            <a:xfrm>
              <a:off x="2450837" y="1279042"/>
              <a:ext cx="452040" cy="698035"/>
            </a:xfrm>
            <a:custGeom>
              <a:avLst/>
              <a:gdLst/>
              <a:ahLst/>
              <a:cxnLst/>
              <a:rect l="l" t="t" r="r" b="b"/>
              <a:pathLst>
                <a:path w="19859" h="30666" extrusionOk="0">
                  <a:moveTo>
                    <a:pt x="19240" y="1"/>
                  </a:moveTo>
                  <a:lnTo>
                    <a:pt x="0" y="4230"/>
                  </a:lnTo>
                  <a:lnTo>
                    <a:pt x="2270" y="30666"/>
                  </a:lnTo>
                  <a:lnTo>
                    <a:pt x="19859" y="23677"/>
                  </a:lnTo>
                  <a:lnTo>
                    <a:pt x="1924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2493;p74">
              <a:extLst>
                <a:ext uri="{FF2B5EF4-FFF2-40B4-BE49-F238E27FC236}">
                  <a16:creationId xmlns:a16="http://schemas.microsoft.com/office/drawing/2014/main" id="{41FC1D33-DC8A-4AD9-97A3-8C827B1CC951}"/>
                </a:ext>
              </a:extLst>
            </p:cNvPr>
            <p:cNvSpPr/>
            <p:nvPr/>
          </p:nvSpPr>
          <p:spPr>
            <a:xfrm>
              <a:off x="2265313" y="1746971"/>
              <a:ext cx="98653" cy="134458"/>
            </a:xfrm>
            <a:custGeom>
              <a:avLst/>
              <a:gdLst/>
              <a:ahLst/>
              <a:cxnLst/>
              <a:rect l="l" t="t" r="r" b="b"/>
              <a:pathLst>
                <a:path w="4334" h="5907" extrusionOk="0">
                  <a:moveTo>
                    <a:pt x="3869" y="0"/>
                  </a:moveTo>
                  <a:lnTo>
                    <a:pt x="0" y="1109"/>
                  </a:lnTo>
                  <a:lnTo>
                    <a:pt x="439" y="5906"/>
                  </a:lnTo>
                  <a:lnTo>
                    <a:pt x="4333" y="4720"/>
                  </a:lnTo>
                  <a:lnTo>
                    <a:pt x="3869" y="0"/>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2494;p74">
              <a:extLst>
                <a:ext uri="{FF2B5EF4-FFF2-40B4-BE49-F238E27FC236}">
                  <a16:creationId xmlns:a16="http://schemas.microsoft.com/office/drawing/2014/main" id="{ED8BE407-A693-4B18-B012-CA5D03C7F102}"/>
                </a:ext>
              </a:extLst>
            </p:cNvPr>
            <p:cNvSpPr/>
            <p:nvPr/>
          </p:nvSpPr>
          <p:spPr>
            <a:xfrm>
              <a:off x="2367453" y="1715853"/>
              <a:ext cx="101589" cy="134458"/>
            </a:xfrm>
            <a:custGeom>
              <a:avLst/>
              <a:gdLst/>
              <a:ahLst/>
              <a:cxnLst/>
              <a:rect l="l" t="t" r="r" b="b"/>
              <a:pathLst>
                <a:path w="4463" h="5907" extrusionOk="0">
                  <a:moveTo>
                    <a:pt x="4076" y="0"/>
                  </a:moveTo>
                  <a:lnTo>
                    <a:pt x="1" y="1186"/>
                  </a:lnTo>
                  <a:lnTo>
                    <a:pt x="413" y="5906"/>
                  </a:lnTo>
                  <a:lnTo>
                    <a:pt x="4463" y="4668"/>
                  </a:lnTo>
                  <a:lnTo>
                    <a:pt x="407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2495;p74">
              <a:extLst>
                <a:ext uri="{FF2B5EF4-FFF2-40B4-BE49-F238E27FC236}">
                  <a16:creationId xmlns:a16="http://schemas.microsoft.com/office/drawing/2014/main" id="{D182A61B-992F-4BC8-A7CB-BD50C1C12C32}"/>
                </a:ext>
              </a:extLst>
            </p:cNvPr>
            <p:cNvSpPr/>
            <p:nvPr/>
          </p:nvSpPr>
          <p:spPr>
            <a:xfrm>
              <a:off x="1996429" y="1451658"/>
              <a:ext cx="129177" cy="238961"/>
            </a:xfrm>
            <a:custGeom>
              <a:avLst/>
              <a:gdLst/>
              <a:ahLst/>
              <a:cxnLst/>
              <a:rect l="l" t="t" r="r" b="b"/>
              <a:pathLst>
                <a:path w="5675" h="10498" extrusionOk="0">
                  <a:moveTo>
                    <a:pt x="4771" y="0"/>
                  </a:moveTo>
                  <a:lnTo>
                    <a:pt x="0" y="1032"/>
                  </a:lnTo>
                  <a:lnTo>
                    <a:pt x="1083" y="10497"/>
                  </a:lnTo>
                  <a:lnTo>
                    <a:pt x="5674" y="9285"/>
                  </a:lnTo>
                  <a:lnTo>
                    <a:pt x="47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2496;p74">
              <a:extLst>
                <a:ext uri="{FF2B5EF4-FFF2-40B4-BE49-F238E27FC236}">
                  <a16:creationId xmlns:a16="http://schemas.microsoft.com/office/drawing/2014/main" id="{8EA94FE7-6C65-4CCE-8B4E-04CA6890C5EA}"/>
                </a:ext>
              </a:extLst>
            </p:cNvPr>
            <p:cNvSpPr/>
            <p:nvPr/>
          </p:nvSpPr>
          <p:spPr>
            <a:xfrm>
              <a:off x="2380952" y="1859674"/>
              <a:ext cx="102181" cy="160885"/>
            </a:xfrm>
            <a:custGeom>
              <a:avLst/>
              <a:gdLst/>
              <a:ahLst/>
              <a:cxnLst/>
              <a:rect l="l" t="t" r="r" b="b"/>
              <a:pathLst>
                <a:path w="4489" h="7068" extrusionOk="0">
                  <a:moveTo>
                    <a:pt x="4024" y="1"/>
                  </a:moveTo>
                  <a:lnTo>
                    <a:pt x="1" y="1316"/>
                  </a:lnTo>
                  <a:lnTo>
                    <a:pt x="517" y="7068"/>
                  </a:lnTo>
                  <a:lnTo>
                    <a:pt x="4489" y="5494"/>
                  </a:lnTo>
                  <a:lnTo>
                    <a:pt x="402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2497;p74">
              <a:extLst>
                <a:ext uri="{FF2B5EF4-FFF2-40B4-BE49-F238E27FC236}">
                  <a16:creationId xmlns:a16="http://schemas.microsoft.com/office/drawing/2014/main" id="{B6933A4D-5E24-4A31-BB5F-4E8FDCC6A160}"/>
                </a:ext>
              </a:extLst>
            </p:cNvPr>
            <p:cNvSpPr/>
            <p:nvPr/>
          </p:nvSpPr>
          <p:spPr>
            <a:xfrm>
              <a:off x="2052200" y="1963021"/>
              <a:ext cx="117432" cy="186698"/>
            </a:xfrm>
            <a:custGeom>
              <a:avLst/>
              <a:gdLst/>
              <a:ahLst/>
              <a:cxnLst/>
              <a:rect l="l" t="t" r="r" b="b"/>
              <a:pathLst>
                <a:path w="5159" h="8202" extrusionOk="0">
                  <a:moveTo>
                    <a:pt x="4514" y="0"/>
                  </a:moveTo>
                  <a:lnTo>
                    <a:pt x="0" y="1496"/>
                  </a:lnTo>
                  <a:lnTo>
                    <a:pt x="697" y="8201"/>
                  </a:lnTo>
                  <a:lnTo>
                    <a:pt x="5158" y="6422"/>
                  </a:lnTo>
                  <a:lnTo>
                    <a:pt x="451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2498;p74">
              <a:extLst>
                <a:ext uri="{FF2B5EF4-FFF2-40B4-BE49-F238E27FC236}">
                  <a16:creationId xmlns:a16="http://schemas.microsoft.com/office/drawing/2014/main" id="{3A8C2CDD-ECBF-4C53-8688-FC995E9DB1B1}"/>
                </a:ext>
              </a:extLst>
            </p:cNvPr>
            <p:cNvSpPr/>
            <p:nvPr/>
          </p:nvSpPr>
          <p:spPr>
            <a:xfrm>
              <a:off x="2279404" y="1893729"/>
              <a:ext cx="101566" cy="166758"/>
            </a:xfrm>
            <a:custGeom>
              <a:avLst/>
              <a:gdLst/>
              <a:ahLst/>
              <a:cxnLst/>
              <a:rect l="l" t="t" r="r" b="b"/>
              <a:pathLst>
                <a:path w="4462" h="7326" extrusionOk="0">
                  <a:moveTo>
                    <a:pt x="3895" y="1"/>
                  </a:moveTo>
                  <a:lnTo>
                    <a:pt x="0" y="1264"/>
                  </a:lnTo>
                  <a:lnTo>
                    <a:pt x="542" y="7325"/>
                  </a:lnTo>
                  <a:lnTo>
                    <a:pt x="4462" y="5778"/>
                  </a:lnTo>
                  <a:lnTo>
                    <a:pt x="389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2499;p74">
              <a:extLst>
                <a:ext uri="{FF2B5EF4-FFF2-40B4-BE49-F238E27FC236}">
                  <a16:creationId xmlns:a16="http://schemas.microsoft.com/office/drawing/2014/main" id="{579A7CB7-2A64-4AD9-881D-57D70962CD30}"/>
                </a:ext>
              </a:extLst>
            </p:cNvPr>
            <p:cNvSpPr/>
            <p:nvPr/>
          </p:nvSpPr>
          <p:spPr>
            <a:xfrm>
              <a:off x="2142025" y="1645400"/>
              <a:ext cx="108031" cy="141492"/>
            </a:xfrm>
            <a:custGeom>
              <a:avLst/>
              <a:gdLst/>
              <a:ahLst/>
              <a:cxnLst/>
              <a:rect l="l" t="t" r="r" b="b"/>
              <a:pathLst>
                <a:path w="4746" h="6216" fill="none" extrusionOk="0">
                  <a:moveTo>
                    <a:pt x="4746" y="5004"/>
                  </a:moveTo>
                  <a:lnTo>
                    <a:pt x="4256" y="0"/>
                  </a:lnTo>
                  <a:lnTo>
                    <a:pt x="0" y="1238"/>
                  </a:lnTo>
                  <a:lnTo>
                    <a:pt x="516" y="6216"/>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2500;p74">
              <a:extLst>
                <a:ext uri="{FF2B5EF4-FFF2-40B4-BE49-F238E27FC236}">
                  <a16:creationId xmlns:a16="http://schemas.microsoft.com/office/drawing/2014/main" id="{8574EA52-ECE9-45F1-B83F-D176BE6356FF}"/>
                </a:ext>
              </a:extLst>
            </p:cNvPr>
            <p:cNvSpPr/>
            <p:nvPr/>
          </p:nvSpPr>
          <p:spPr>
            <a:xfrm>
              <a:off x="2167839" y="1926599"/>
              <a:ext cx="112151" cy="177912"/>
            </a:xfrm>
            <a:custGeom>
              <a:avLst/>
              <a:gdLst/>
              <a:ahLst/>
              <a:cxnLst/>
              <a:rect l="l" t="t" r="r" b="b"/>
              <a:pathLst>
                <a:path w="4927" h="7816" extrusionOk="0">
                  <a:moveTo>
                    <a:pt x="4334" y="1"/>
                  </a:moveTo>
                  <a:lnTo>
                    <a:pt x="1" y="1419"/>
                  </a:lnTo>
                  <a:lnTo>
                    <a:pt x="594" y="7816"/>
                  </a:lnTo>
                  <a:lnTo>
                    <a:pt x="4927" y="6088"/>
                  </a:lnTo>
                  <a:lnTo>
                    <a:pt x="433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2501;p74">
              <a:extLst>
                <a:ext uri="{FF2B5EF4-FFF2-40B4-BE49-F238E27FC236}">
                  <a16:creationId xmlns:a16="http://schemas.microsoft.com/office/drawing/2014/main" id="{874EB2D8-8870-441F-8096-A51C9AD6115F}"/>
                </a:ext>
              </a:extLst>
            </p:cNvPr>
            <p:cNvSpPr/>
            <p:nvPr/>
          </p:nvSpPr>
          <p:spPr>
            <a:xfrm>
              <a:off x="2021082" y="1677679"/>
              <a:ext cx="117432" cy="147387"/>
            </a:xfrm>
            <a:custGeom>
              <a:avLst/>
              <a:gdLst/>
              <a:ahLst/>
              <a:cxnLst/>
              <a:rect l="l" t="t" r="r" b="b"/>
              <a:pathLst>
                <a:path w="5159" h="6475" extrusionOk="0">
                  <a:moveTo>
                    <a:pt x="4643" y="1"/>
                  </a:moveTo>
                  <a:lnTo>
                    <a:pt x="0" y="1342"/>
                  </a:lnTo>
                  <a:lnTo>
                    <a:pt x="542" y="6474"/>
                  </a:lnTo>
                  <a:lnTo>
                    <a:pt x="5158" y="5081"/>
                  </a:lnTo>
                  <a:lnTo>
                    <a:pt x="464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2502;p74">
              <a:extLst>
                <a:ext uri="{FF2B5EF4-FFF2-40B4-BE49-F238E27FC236}">
                  <a16:creationId xmlns:a16="http://schemas.microsoft.com/office/drawing/2014/main" id="{CE9CBFB2-34CE-4888-A95F-12B5CA38F87A}"/>
                </a:ext>
              </a:extLst>
            </p:cNvPr>
            <p:cNvSpPr/>
            <p:nvPr/>
          </p:nvSpPr>
          <p:spPr>
            <a:xfrm>
              <a:off x="2153748" y="1776314"/>
              <a:ext cx="108645" cy="139147"/>
            </a:xfrm>
            <a:custGeom>
              <a:avLst/>
              <a:gdLst/>
              <a:ahLst/>
              <a:cxnLst/>
              <a:rect l="l" t="t" r="r" b="b"/>
              <a:pathLst>
                <a:path w="4773" h="6113" extrusionOk="0">
                  <a:moveTo>
                    <a:pt x="4282" y="1"/>
                  </a:moveTo>
                  <a:lnTo>
                    <a:pt x="1" y="1239"/>
                  </a:lnTo>
                  <a:lnTo>
                    <a:pt x="439" y="6113"/>
                  </a:lnTo>
                  <a:lnTo>
                    <a:pt x="4772" y="4798"/>
                  </a:lnTo>
                  <a:lnTo>
                    <a:pt x="428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2503;p74">
              <a:extLst>
                <a:ext uri="{FF2B5EF4-FFF2-40B4-BE49-F238E27FC236}">
                  <a16:creationId xmlns:a16="http://schemas.microsoft.com/office/drawing/2014/main" id="{D778F152-7630-4235-ADD2-74A74B390EA2}"/>
                </a:ext>
              </a:extLst>
            </p:cNvPr>
            <p:cNvSpPr/>
            <p:nvPr/>
          </p:nvSpPr>
          <p:spPr>
            <a:xfrm>
              <a:off x="2023426" y="1352432"/>
              <a:ext cx="460281" cy="220751"/>
            </a:xfrm>
            <a:custGeom>
              <a:avLst/>
              <a:gdLst/>
              <a:ahLst/>
              <a:cxnLst/>
              <a:rect l="l" t="t" r="r" b="b"/>
              <a:pathLst>
                <a:path w="20221" h="9698" extrusionOk="0">
                  <a:moveTo>
                    <a:pt x="19782" y="1"/>
                  </a:moveTo>
                  <a:lnTo>
                    <a:pt x="0" y="4540"/>
                  </a:lnTo>
                  <a:lnTo>
                    <a:pt x="516" y="9698"/>
                  </a:lnTo>
                  <a:lnTo>
                    <a:pt x="20220" y="4952"/>
                  </a:lnTo>
                  <a:lnTo>
                    <a:pt x="197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2504;p74">
              <a:extLst>
                <a:ext uri="{FF2B5EF4-FFF2-40B4-BE49-F238E27FC236}">
                  <a16:creationId xmlns:a16="http://schemas.microsoft.com/office/drawing/2014/main" id="{F757BCA2-55E3-4318-B177-72B322DB323D}"/>
                </a:ext>
              </a:extLst>
            </p:cNvPr>
            <p:cNvSpPr/>
            <p:nvPr/>
          </p:nvSpPr>
          <p:spPr>
            <a:xfrm>
              <a:off x="2495454" y="1424023"/>
              <a:ext cx="379246" cy="412183"/>
            </a:xfrm>
            <a:custGeom>
              <a:avLst/>
              <a:gdLst/>
              <a:ahLst/>
              <a:cxnLst/>
              <a:rect l="l" t="t" r="r" b="b"/>
              <a:pathLst>
                <a:path w="16661" h="18108" extrusionOk="0">
                  <a:moveTo>
                    <a:pt x="12380" y="7842"/>
                  </a:moveTo>
                  <a:lnTo>
                    <a:pt x="14469" y="10267"/>
                  </a:lnTo>
                  <a:cubicBezTo>
                    <a:pt x="14469" y="10267"/>
                    <a:pt x="13024" y="11608"/>
                    <a:pt x="12612" y="12253"/>
                  </a:cubicBezTo>
                  <a:lnTo>
                    <a:pt x="12586" y="12253"/>
                  </a:lnTo>
                  <a:cubicBezTo>
                    <a:pt x="12560" y="12304"/>
                    <a:pt x="12509" y="12382"/>
                    <a:pt x="12431" y="12459"/>
                  </a:cubicBezTo>
                  <a:lnTo>
                    <a:pt x="12251" y="11969"/>
                  </a:lnTo>
                  <a:cubicBezTo>
                    <a:pt x="12070" y="11376"/>
                    <a:pt x="11967" y="10783"/>
                    <a:pt x="11967" y="10189"/>
                  </a:cubicBezTo>
                  <a:cubicBezTo>
                    <a:pt x="12044" y="9545"/>
                    <a:pt x="12380" y="7842"/>
                    <a:pt x="12380" y="7842"/>
                  </a:cubicBezTo>
                  <a:close/>
                  <a:moveTo>
                    <a:pt x="10295" y="1"/>
                  </a:moveTo>
                  <a:cubicBezTo>
                    <a:pt x="10276" y="1"/>
                    <a:pt x="10258" y="1"/>
                    <a:pt x="10239" y="2"/>
                  </a:cubicBezTo>
                  <a:cubicBezTo>
                    <a:pt x="8356" y="79"/>
                    <a:pt x="7479" y="3045"/>
                    <a:pt x="8150" y="4206"/>
                  </a:cubicBezTo>
                  <a:cubicBezTo>
                    <a:pt x="7737" y="4361"/>
                    <a:pt x="7376" y="4567"/>
                    <a:pt x="7041" y="4825"/>
                  </a:cubicBezTo>
                  <a:cubicBezTo>
                    <a:pt x="6757" y="5031"/>
                    <a:pt x="6603" y="5702"/>
                    <a:pt x="6525" y="6656"/>
                  </a:cubicBezTo>
                  <a:cubicBezTo>
                    <a:pt x="6319" y="7791"/>
                    <a:pt x="5726" y="8848"/>
                    <a:pt x="4875" y="9622"/>
                  </a:cubicBezTo>
                  <a:cubicBezTo>
                    <a:pt x="4726" y="9765"/>
                    <a:pt x="4502" y="9820"/>
                    <a:pt x="4243" y="9820"/>
                  </a:cubicBezTo>
                  <a:cubicBezTo>
                    <a:pt x="3331" y="9820"/>
                    <a:pt x="1986" y="9132"/>
                    <a:pt x="1986" y="9132"/>
                  </a:cubicBezTo>
                  <a:cubicBezTo>
                    <a:pt x="1986" y="9132"/>
                    <a:pt x="1459" y="8341"/>
                    <a:pt x="830" y="8341"/>
                  </a:cubicBezTo>
                  <a:cubicBezTo>
                    <a:pt x="777" y="8341"/>
                    <a:pt x="724" y="8346"/>
                    <a:pt x="671" y="8358"/>
                  </a:cubicBezTo>
                  <a:cubicBezTo>
                    <a:pt x="0" y="8513"/>
                    <a:pt x="619" y="10060"/>
                    <a:pt x="671" y="10189"/>
                  </a:cubicBezTo>
                  <a:cubicBezTo>
                    <a:pt x="737" y="10322"/>
                    <a:pt x="3092" y="11741"/>
                    <a:pt x="5176" y="11741"/>
                  </a:cubicBezTo>
                  <a:cubicBezTo>
                    <a:pt x="5526" y="11741"/>
                    <a:pt x="5868" y="11701"/>
                    <a:pt x="6190" y="11608"/>
                  </a:cubicBezTo>
                  <a:cubicBezTo>
                    <a:pt x="6474" y="11531"/>
                    <a:pt x="6757" y="11402"/>
                    <a:pt x="6989" y="11195"/>
                  </a:cubicBezTo>
                  <a:lnTo>
                    <a:pt x="6989" y="11195"/>
                  </a:lnTo>
                  <a:cubicBezTo>
                    <a:pt x="7067" y="11685"/>
                    <a:pt x="6267" y="18107"/>
                    <a:pt x="6267" y="18107"/>
                  </a:cubicBezTo>
                  <a:lnTo>
                    <a:pt x="13643" y="15760"/>
                  </a:lnTo>
                  <a:lnTo>
                    <a:pt x="13257" y="14703"/>
                  </a:lnTo>
                  <a:cubicBezTo>
                    <a:pt x="13721" y="14110"/>
                    <a:pt x="14262" y="13594"/>
                    <a:pt x="14881" y="13181"/>
                  </a:cubicBezTo>
                  <a:cubicBezTo>
                    <a:pt x="15758" y="12614"/>
                    <a:pt x="16377" y="11324"/>
                    <a:pt x="16532" y="10834"/>
                  </a:cubicBezTo>
                  <a:cubicBezTo>
                    <a:pt x="16661" y="10318"/>
                    <a:pt x="15990" y="8487"/>
                    <a:pt x="14469" y="6295"/>
                  </a:cubicBezTo>
                  <a:cubicBezTo>
                    <a:pt x="12947" y="4129"/>
                    <a:pt x="13282" y="4851"/>
                    <a:pt x="12380" y="4361"/>
                  </a:cubicBezTo>
                  <a:cubicBezTo>
                    <a:pt x="11993" y="4154"/>
                    <a:pt x="11580" y="4000"/>
                    <a:pt x="11142" y="3896"/>
                  </a:cubicBezTo>
                  <a:lnTo>
                    <a:pt x="11039" y="2994"/>
                  </a:lnTo>
                  <a:cubicBezTo>
                    <a:pt x="11193" y="2762"/>
                    <a:pt x="11322" y="2530"/>
                    <a:pt x="11400" y="2272"/>
                  </a:cubicBezTo>
                  <a:cubicBezTo>
                    <a:pt x="11577" y="1385"/>
                    <a:pt x="11306" y="1"/>
                    <a:pt x="1029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2505;p74">
              <a:extLst>
                <a:ext uri="{FF2B5EF4-FFF2-40B4-BE49-F238E27FC236}">
                  <a16:creationId xmlns:a16="http://schemas.microsoft.com/office/drawing/2014/main" id="{68F90437-686C-429B-8CAF-A689E017B711}"/>
                </a:ext>
              </a:extLst>
            </p:cNvPr>
            <p:cNvSpPr/>
            <p:nvPr/>
          </p:nvSpPr>
          <p:spPr>
            <a:xfrm>
              <a:off x="2594088" y="1701763"/>
              <a:ext cx="236593" cy="104503"/>
            </a:xfrm>
            <a:custGeom>
              <a:avLst/>
              <a:gdLst/>
              <a:ahLst/>
              <a:cxnLst/>
              <a:rect l="l" t="t" r="r" b="b"/>
              <a:pathLst>
                <a:path w="10394" h="4591" extrusionOk="0">
                  <a:moveTo>
                    <a:pt x="10342" y="0"/>
                  </a:moveTo>
                  <a:lnTo>
                    <a:pt x="0" y="3430"/>
                  </a:lnTo>
                  <a:lnTo>
                    <a:pt x="0" y="4591"/>
                  </a:lnTo>
                  <a:lnTo>
                    <a:pt x="10394" y="1083"/>
                  </a:lnTo>
                  <a:lnTo>
                    <a:pt x="103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2506;p74">
              <a:extLst>
                <a:ext uri="{FF2B5EF4-FFF2-40B4-BE49-F238E27FC236}">
                  <a16:creationId xmlns:a16="http://schemas.microsoft.com/office/drawing/2014/main" id="{6CBAE799-2128-419C-A745-92F02CB94CF7}"/>
                </a:ext>
              </a:extLst>
            </p:cNvPr>
            <p:cNvSpPr/>
            <p:nvPr/>
          </p:nvSpPr>
          <p:spPr>
            <a:xfrm>
              <a:off x="2611093" y="1737570"/>
              <a:ext cx="219590" cy="98653"/>
            </a:xfrm>
            <a:custGeom>
              <a:avLst/>
              <a:gdLst/>
              <a:ahLst/>
              <a:cxnLst/>
              <a:rect l="l" t="t" r="r" b="b"/>
              <a:pathLst>
                <a:path w="9647" h="4334" extrusionOk="0">
                  <a:moveTo>
                    <a:pt x="9595" y="0"/>
                  </a:moveTo>
                  <a:lnTo>
                    <a:pt x="1" y="3353"/>
                  </a:lnTo>
                  <a:lnTo>
                    <a:pt x="1" y="4333"/>
                  </a:lnTo>
                  <a:lnTo>
                    <a:pt x="9647" y="1109"/>
                  </a:lnTo>
                  <a:lnTo>
                    <a:pt x="959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2507;p74">
              <a:extLst>
                <a:ext uri="{FF2B5EF4-FFF2-40B4-BE49-F238E27FC236}">
                  <a16:creationId xmlns:a16="http://schemas.microsoft.com/office/drawing/2014/main" id="{D93DD67E-54CF-4A60-9238-EB120C8ABB25}"/>
                </a:ext>
              </a:extLst>
            </p:cNvPr>
            <p:cNvSpPr/>
            <p:nvPr/>
          </p:nvSpPr>
          <p:spPr>
            <a:xfrm>
              <a:off x="2483116" y="1380021"/>
              <a:ext cx="95716" cy="193163"/>
            </a:xfrm>
            <a:custGeom>
              <a:avLst/>
              <a:gdLst/>
              <a:ahLst/>
              <a:cxnLst/>
              <a:rect l="l" t="t" r="r" b="b"/>
              <a:pathLst>
                <a:path w="4205" h="8486" fill="none" extrusionOk="0">
                  <a:moveTo>
                    <a:pt x="568" y="8486"/>
                  </a:moveTo>
                  <a:lnTo>
                    <a:pt x="1" y="929"/>
                  </a:lnTo>
                  <a:lnTo>
                    <a:pt x="420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2508;p74">
              <a:extLst>
                <a:ext uri="{FF2B5EF4-FFF2-40B4-BE49-F238E27FC236}">
                  <a16:creationId xmlns:a16="http://schemas.microsoft.com/office/drawing/2014/main" id="{7E2ACF78-C932-4FAD-8A07-1C155BD8E8BA}"/>
                </a:ext>
              </a:extLst>
            </p:cNvPr>
            <p:cNvSpPr/>
            <p:nvPr/>
          </p:nvSpPr>
          <p:spPr>
            <a:xfrm>
              <a:off x="2550633" y="1806248"/>
              <a:ext cx="321725" cy="120368"/>
            </a:xfrm>
            <a:custGeom>
              <a:avLst/>
              <a:gdLst/>
              <a:ahLst/>
              <a:cxnLst/>
              <a:rect l="l" t="t" r="r" b="b"/>
              <a:pathLst>
                <a:path w="14134" h="5288" fill="none" extrusionOk="0">
                  <a:moveTo>
                    <a:pt x="1" y="5288"/>
                  </a:moveTo>
                  <a:lnTo>
                    <a:pt x="1413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2509;p74">
              <a:extLst>
                <a:ext uri="{FF2B5EF4-FFF2-40B4-BE49-F238E27FC236}">
                  <a16:creationId xmlns:a16="http://schemas.microsoft.com/office/drawing/2014/main" id="{32485A4A-EA85-442D-B0E1-97ED62ED60ED}"/>
                </a:ext>
              </a:extLst>
            </p:cNvPr>
            <p:cNvSpPr/>
            <p:nvPr/>
          </p:nvSpPr>
          <p:spPr>
            <a:xfrm>
              <a:off x="2045143" y="1712917"/>
              <a:ext cx="72225" cy="89252"/>
            </a:xfrm>
            <a:custGeom>
              <a:avLst/>
              <a:gdLst/>
              <a:ahLst/>
              <a:cxnLst/>
              <a:rect l="l" t="t" r="r" b="b"/>
              <a:pathLst>
                <a:path w="3173" h="3921" fill="none" extrusionOk="0">
                  <a:moveTo>
                    <a:pt x="723" y="3920"/>
                  </a:moveTo>
                  <a:cubicBezTo>
                    <a:pt x="517" y="3585"/>
                    <a:pt x="336" y="3224"/>
                    <a:pt x="233" y="2837"/>
                  </a:cubicBezTo>
                  <a:cubicBezTo>
                    <a:pt x="78" y="2399"/>
                    <a:pt x="1" y="1960"/>
                    <a:pt x="26" y="1496"/>
                  </a:cubicBezTo>
                  <a:cubicBezTo>
                    <a:pt x="336" y="1651"/>
                    <a:pt x="491" y="2296"/>
                    <a:pt x="697" y="2605"/>
                  </a:cubicBezTo>
                  <a:cubicBezTo>
                    <a:pt x="645" y="2167"/>
                    <a:pt x="52" y="954"/>
                    <a:pt x="439" y="593"/>
                  </a:cubicBezTo>
                  <a:cubicBezTo>
                    <a:pt x="800" y="1006"/>
                    <a:pt x="878" y="1573"/>
                    <a:pt x="1032" y="2063"/>
                  </a:cubicBezTo>
                  <a:cubicBezTo>
                    <a:pt x="1058" y="1599"/>
                    <a:pt x="542" y="645"/>
                    <a:pt x="929" y="258"/>
                  </a:cubicBezTo>
                  <a:cubicBezTo>
                    <a:pt x="1213" y="748"/>
                    <a:pt x="1445" y="1264"/>
                    <a:pt x="1574" y="1806"/>
                  </a:cubicBezTo>
                  <a:cubicBezTo>
                    <a:pt x="1626" y="1315"/>
                    <a:pt x="1032" y="335"/>
                    <a:pt x="1522" y="0"/>
                  </a:cubicBezTo>
                  <a:cubicBezTo>
                    <a:pt x="1987" y="774"/>
                    <a:pt x="1961" y="1651"/>
                    <a:pt x="2296" y="2399"/>
                  </a:cubicBezTo>
                  <a:cubicBezTo>
                    <a:pt x="2477" y="2218"/>
                    <a:pt x="2657" y="1290"/>
                    <a:pt x="2967" y="1883"/>
                  </a:cubicBezTo>
                  <a:cubicBezTo>
                    <a:pt x="3173" y="2244"/>
                    <a:pt x="2863" y="3043"/>
                    <a:pt x="2863" y="3430"/>
                  </a:cubicBezTo>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2510;p74">
              <a:extLst>
                <a:ext uri="{FF2B5EF4-FFF2-40B4-BE49-F238E27FC236}">
                  <a16:creationId xmlns:a16="http://schemas.microsoft.com/office/drawing/2014/main" id="{295ED7C7-C6B1-4FE0-B845-B43C7CD92E54}"/>
                </a:ext>
              </a:extLst>
            </p:cNvPr>
            <p:cNvSpPr/>
            <p:nvPr/>
          </p:nvSpPr>
          <p:spPr>
            <a:xfrm>
              <a:off x="2279973" y="1781595"/>
              <a:ext cx="73409" cy="73409"/>
            </a:xfrm>
            <a:custGeom>
              <a:avLst/>
              <a:gdLst/>
              <a:ahLst/>
              <a:cxnLst/>
              <a:rect l="l" t="t" r="r" b="b"/>
              <a:pathLst>
                <a:path w="3225" h="3225" fill="none" extrusionOk="0">
                  <a:moveTo>
                    <a:pt x="2271" y="929"/>
                  </a:moveTo>
                  <a:cubicBezTo>
                    <a:pt x="2967" y="1625"/>
                    <a:pt x="3225" y="2477"/>
                    <a:pt x="2864" y="2863"/>
                  </a:cubicBezTo>
                  <a:cubicBezTo>
                    <a:pt x="2477" y="3225"/>
                    <a:pt x="1626" y="2967"/>
                    <a:pt x="929" y="2270"/>
                  </a:cubicBezTo>
                  <a:cubicBezTo>
                    <a:pt x="259" y="1600"/>
                    <a:pt x="1" y="749"/>
                    <a:pt x="362" y="362"/>
                  </a:cubicBezTo>
                  <a:cubicBezTo>
                    <a:pt x="723" y="1"/>
                    <a:pt x="1574" y="259"/>
                    <a:pt x="2271" y="929"/>
                  </a:cubicBez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2511;p74">
              <a:extLst>
                <a:ext uri="{FF2B5EF4-FFF2-40B4-BE49-F238E27FC236}">
                  <a16:creationId xmlns:a16="http://schemas.microsoft.com/office/drawing/2014/main" id="{02A1CACA-CCF0-4623-987B-D79F82582761}"/>
                </a:ext>
              </a:extLst>
            </p:cNvPr>
            <p:cNvSpPr/>
            <p:nvPr/>
          </p:nvSpPr>
          <p:spPr>
            <a:xfrm>
              <a:off x="795828" y="1451658"/>
              <a:ext cx="1047917" cy="1578033"/>
            </a:xfrm>
            <a:custGeom>
              <a:avLst/>
              <a:gdLst/>
              <a:ahLst/>
              <a:cxnLst/>
              <a:rect l="l" t="t" r="r" b="b"/>
              <a:pathLst>
                <a:path w="46037" h="69326" extrusionOk="0">
                  <a:moveTo>
                    <a:pt x="42219" y="0"/>
                  </a:moveTo>
                  <a:lnTo>
                    <a:pt x="0" y="24785"/>
                  </a:lnTo>
                  <a:lnTo>
                    <a:pt x="7608" y="69326"/>
                  </a:lnTo>
                  <a:lnTo>
                    <a:pt x="46036" y="38893"/>
                  </a:lnTo>
                  <a:lnTo>
                    <a:pt x="4221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2512;p74">
              <a:extLst>
                <a:ext uri="{FF2B5EF4-FFF2-40B4-BE49-F238E27FC236}">
                  <a16:creationId xmlns:a16="http://schemas.microsoft.com/office/drawing/2014/main" id="{328EFB0F-224D-4CBB-844E-E2E0BDB19607}"/>
                </a:ext>
              </a:extLst>
            </p:cNvPr>
            <p:cNvSpPr/>
            <p:nvPr/>
          </p:nvSpPr>
          <p:spPr>
            <a:xfrm>
              <a:off x="1306576" y="1699395"/>
              <a:ext cx="210212" cy="341119"/>
            </a:xfrm>
            <a:custGeom>
              <a:avLst/>
              <a:gdLst/>
              <a:ahLst/>
              <a:cxnLst/>
              <a:rect l="l" t="t" r="r" b="b"/>
              <a:pathLst>
                <a:path w="9235" h="14986" extrusionOk="0">
                  <a:moveTo>
                    <a:pt x="7841" y="1"/>
                  </a:moveTo>
                  <a:lnTo>
                    <a:pt x="1" y="4618"/>
                  </a:lnTo>
                  <a:lnTo>
                    <a:pt x="1600" y="14985"/>
                  </a:lnTo>
                  <a:lnTo>
                    <a:pt x="9234" y="10137"/>
                  </a:lnTo>
                  <a:lnTo>
                    <a:pt x="78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2513;p74">
              <a:extLst>
                <a:ext uri="{FF2B5EF4-FFF2-40B4-BE49-F238E27FC236}">
                  <a16:creationId xmlns:a16="http://schemas.microsoft.com/office/drawing/2014/main" id="{4316A0F8-557E-4D17-A5A9-F02784804626}"/>
                </a:ext>
              </a:extLst>
            </p:cNvPr>
            <p:cNvSpPr/>
            <p:nvPr/>
          </p:nvSpPr>
          <p:spPr>
            <a:xfrm>
              <a:off x="1190936" y="2375157"/>
              <a:ext cx="214286" cy="334062"/>
            </a:xfrm>
            <a:custGeom>
              <a:avLst/>
              <a:gdLst/>
              <a:ahLst/>
              <a:cxnLst/>
              <a:rect l="l" t="t" r="r" b="b"/>
              <a:pathLst>
                <a:path w="9414" h="14676" extrusionOk="0">
                  <a:moveTo>
                    <a:pt x="7995" y="0"/>
                  </a:moveTo>
                  <a:lnTo>
                    <a:pt x="0" y="5494"/>
                  </a:lnTo>
                  <a:lnTo>
                    <a:pt x="1419" y="14675"/>
                  </a:lnTo>
                  <a:lnTo>
                    <a:pt x="9414" y="8743"/>
                  </a:lnTo>
                  <a:lnTo>
                    <a:pt x="799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2514;p74">
              <a:extLst>
                <a:ext uri="{FF2B5EF4-FFF2-40B4-BE49-F238E27FC236}">
                  <a16:creationId xmlns:a16="http://schemas.microsoft.com/office/drawing/2014/main" id="{C630057A-DFBE-4DB2-B9EB-11D01E1548C9}"/>
                </a:ext>
              </a:extLst>
            </p:cNvPr>
            <p:cNvSpPr/>
            <p:nvPr/>
          </p:nvSpPr>
          <p:spPr>
            <a:xfrm>
              <a:off x="1147481" y="2100969"/>
              <a:ext cx="217837" cy="349336"/>
            </a:xfrm>
            <a:custGeom>
              <a:avLst/>
              <a:gdLst/>
              <a:ahLst/>
              <a:cxnLst/>
              <a:rect l="l" t="t" r="r" b="b"/>
              <a:pathLst>
                <a:path w="9570" h="15347" extrusionOk="0">
                  <a:moveTo>
                    <a:pt x="7996" y="1"/>
                  </a:moveTo>
                  <a:lnTo>
                    <a:pt x="1" y="5185"/>
                  </a:lnTo>
                  <a:lnTo>
                    <a:pt x="1574" y="15346"/>
                  </a:lnTo>
                  <a:lnTo>
                    <a:pt x="9569" y="9982"/>
                  </a:lnTo>
                  <a:lnTo>
                    <a:pt x="79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2515;p74">
              <a:extLst>
                <a:ext uri="{FF2B5EF4-FFF2-40B4-BE49-F238E27FC236}">
                  <a16:creationId xmlns:a16="http://schemas.microsoft.com/office/drawing/2014/main" id="{1CF870E9-232A-425E-82C6-364E604E7A03}"/>
                </a:ext>
              </a:extLst>
            </p:cNvPr>
            <p:cNvSpPr/>
            <p:nvPr/>
          </p:nvSpPr>
          <p:spPr>
            <a:xfrm>
              <a:off x="1392304" y="2246565"/>
              <a:ext cx="194915" cy="314122"/>
            </a:xfrm>
            <a:custGeom>
              <a:avLst/>
              <a:gdLst/>
              <a:ahLst/>
              <a:cxnLst/>
              <a:rect l="l" t="t" r="r" b="b"/>
              <a:pathLst>
                <a:path w="8563" h="13800" extrusionOk="0">
                  <a:moveTo>
                    <a:pt x="7402" y="1"/>
                  </a:moveTo>
                  <a:lnTo>
                    <a:pt x="0" y="5082"/>
                  </a:lnTo>
                  <a:lnTo>
                    <a:pt x="1342" y="13799"/>
                  </a:lnTo>
                  <a:lnTo>
                    <a:pt x="8563" y="8435"/>
                  </a:lnTo>
                  <a:lnTo>
                    <a:pt x="740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516;p74">
              <a:extLst>
                <a:ext uri="{FF2B5EF4-FFF2-40B4-BE49-F238E27FC236}">
                  <a16:creationId xmlns:a16="http://schemas.microsoft.com/office/drawing/2014/main" id="{D97E89ED-51DD-4C01-ABD6-C87A4BE0A768}"/>
                </a:ext>
              </a:extLst>
            </p:cNvPr>
            <p:cNvSpPr/>
            <p:nvPr/>
          </p:nvSpPr>
          <p:spPr>
            <a:xfrm>
              <a:off x="1102272" y="1817402"/>
              <a:ext cx="219590" cy="351089"/>
            </a:xfrm>
            <a:custGeom>
              <a:avLst/>
              <a:gdLst/>
              <a:ahLst/>
              <a:cxnLst/>
              <a:rect l="l" t="t" r="r" b="b"/>
              <a:pathLst>
                <a:path w="9647" h="15424" extrusionOk="0">
                  <a:moveTo>
                    <a:pt x="7970" y="1"/>
                  </a:moveTo>
                  <a:lnTo>
                    <a:pt x="1" y="4695"/>
                  </a:lnTo>
                  <a:lnTo>
                    <a:pt x="1651" y="15424"/>
                  </a:lnTo>
                  <a:lnTo>
                    <a:pt x="9647" y="10369"/>
                  </a:lnTo>
                  <a:lnTo>
                    <a:pt x="79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517;p74">
              <a:extLst>
                <a:ext uri="{FF2B5EF4-FFF2-40B4-BE49-F238E27FC236}">
                  <a16:creationId xmlns:a16="http://schemas.microsoft.com/office/drawing/2014/main" id="{EA61EB11-EE9B-4A51-8773-791F538FB77F}"/>
                </a:ext>
              </a:extLst>
            </p:cNvPr>
            <p:cNvSpPr/>
            <p:nvPr/>
          </p:nvSpPr>
          <p:spPr>
            <a:xfrm>
              <a:off x="929086" y="2232475"/>
              <a:ext cx="234272" cy="361082"/>
            </a:xfrm>
            <a:custGeom>
              <a:avLst/>
              <a:gdLst/>
              <a:ahLst/>
              <a:cxnLst/>
              <a:rect l="l" t="t" r="r" b="b"/>
              <a:pathLst>
                <a:path w="10292" h="15863" extrusionOk="0">
                  <a:moveTo>
                    <a:pt x="8666" y="1"/>
                  </a:moveTo>
                  <a:lnTo>
                    <a:pt x="1" y="5623"/>
                  </a:lnTo>
                  <a:lnTo>
                    <a:pt x="1754" y="15862"/>
                  </a:lnTo>
                  <a:lnTo>
                    <a:pt x="10291" y="10137"/>
                  </a:lnTo>
                  <a:lnTo>
                    <a:pt x="866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518;p74">
              <a:extLst>
                <a:ext uri="{FF2B5EF4-FFF2-40B4-BE49-F238E27FC236}">
                  <a16:creationId xmlns:a16="http://schemas.microsoft.com/office/drawing/2014/main" id="{6D06FA2E-38F7-4B2A-98CE-7C4C7DBE349E}"/>
                </a:ext>
              </a:extLst>
            </p:cNvPr>
            <p:cNvSpPr/>
            <p:nvPr/>
          </p:nvSpPr>
          <p:spPr>
            <a:xfrm>
              <a:off x="1350032" y="1975336"/>
              <a:ext cx="204316" cy="339343"/>
            </a:xfrm>
            <a:custGeom>
              <a:avLst/>
              <a:gdLst/>
              <a:ahLst/>
              <a:cxnLst/>
              <a:rect l="l" t="t" r="r" b="b"/>
              <a:pathLst>
                <a:path w="8976" h="14908" extrusionOk="0">
                  <a:moveTo>
                    <a:pt x="7609" y="1"/>
                  </a:moveTo>
                  <a:lnTo>
                    <a:pt x="0" y="4927"/>
                  </a:lnTo>
                  <a:lnTo>
                    <a:pt x="1548" y="14908"/>
                  </a:lnTo>
                  <a:lnTo>
                    <a:pt x="8976" y="9930"/>
                  </a:lnTo>
                  <a:lnTo>
                    <a:pt x="7609"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519;p74">
              <a:extLst>
                <a:ext uri="{FF2B5EF4-FFF2-40B4-BE49-F238E27FC236}">
                  <a16:creationId xmlns:a16="http://schemas.microsoft.com/office/drawing/2014/main" id="{824E8140-9AE6-4926-86B3-1C1D7E6F5D89}"/>
                </a:ext>
              </a:extLst>
            </p:cNvPr>
            <p:cNvSpPr/>
            <p:nvPr/>
          </p:nvSpPr>
          <p:spPr>
            <a:xfrm>
              <a:off x="1542020" y="1850296"/>
              <a:ext cx="197260" cy="339343"/>
            </a:xfrm>
            <a:custGeom>
              <a:avLst/>
              <a:gdLst/>
              <a:ahLst/>
              <a:cxnLst/>
              <a:rect l="l" t="t" r="r" b="b"/>
              <a:pathLst>
                <a:path w="8666" h="14908" extrusionOk="0">
                  <a:moveTo>
                    <a:pt x="7660" y="0"/>
                  </a:moveTo>
                  <a:lnTo>
                    <a:pt x="0" y="4978"/>
                  </a:lnTo>
                  <a:lnTo>
                    <a:pt x="1315" y="14907"/>
                  </a:lnTo>
                  <a:lnTo>
                    <a:pt x="8666" y="9981"/>
                  </a:lnTo>
                  <a:lnTo>
                    <a:pt x="766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520;p74">
              <a:extLst>
                <a:ext uri="{FF2B5EF4-FFF2-40B4-BE49-F238E27FC236}">
                  <a16:creationId xmlns:a16="http://schemas.microsoft.com/office/drawing/2014/main" id="{0198DD5D-6C9E-454F-858C-1CB5A14DB267}"/>
                </a:ext>
              </a:extLst>
            </p:cNvPr>
            <p:cNvSpPr/>
            <p:nvPr/>
          </p:nvSpPr>
          <p:spPr>
            <a:xfrm>
              <a:off x="977823" y="2513697"/>
              <a:ext cx="227215" cy="349928"/>
            </a:xfrm>
            <a:custGeom>
              <a:avLst/>
              <a:gdLst/>
              <a:ahLst/>
              <a:cxnLst/>
              <a:rect l="l" t="t" r="r" b="b"/>
              <a:pathLst>
                <a:path w="9982" h="15373" extrusionOk="0">
                  <a:moveTo>
                    <a:pt x="8511" y="1"/>
                  </a:moveTo>
                  <a:lnTo>
                    <a:pt x="0" y="5829"/>
                  </a:lnTo>
                  <a:lnTo>
                    <a:pt x="1625" y="15372"/>
                  </a:lnTo>
                  <a:lnTo>
                    <a:pt x="9981" y="9182"/>
                  </a:lnTo>
                  <a:lnTo>
                    <a:pt x="851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521;p74">
              <a:extLst>
                <a:ext uri="{FF2B5EF4-FFF2-40B4-BE49-F238E27FC236}">
                  <a16:creationId xmlns:a16="http://schemas.microsoft.com/office/drawing/2014/main" id="{CA34F95C-635A-4DA9-8CA7-A4E4B0A8269B}"/>
                </a:ext>
              </a:extLst>
            </p:cNvPr>
            <p:cNvSpPr/>
            <p:nvPr/>
          </p:nvSpPr>
          <p:spPr>
            <a:xfrm>
              <a:off x="1578419" y="2120933"/>
              <a:ext cx="184353" cy="305291"/>
            </a:xfrm>
            <a:custGeom>
              <a:avLst/>
              <a:gdLst/>
              <a:ahLst/>
              <a:cxnLst/>
              <a:rect l="l" t="t" r="r" b="b"/>
              <a:pathLst>
                <a:path w="8099" h="13412" extrusionOk="0">
                  <a:moveTo>
                    <a:pt x="7273" y="1"/>
                  </a:moveTo>
                  <a:lnTo>
                    <a:pt x="0" y="5004"/>
                  </a:lnTo>
                  <a:lnTo>
                    <a:pt x="1109" y="13412"/>
                  </a:lnTo>
                  <a:lnTo>
                    <a:pt x="8098" y="8228"/>
                  </a:lnTo>
                  <a:lnTo>
                    <a:pt x="727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522;p74">
              <a:extLst>
                <a:ext uri="{FF2B5EF4-FFF2-40B4-BE49-F238E27FC236}">
                  <a16:creationId xmlns:a16="http://schemas.microsoft.com/office/drawing/2014/main" id="{EA580F42-0557-47AE-922A-061FC065E0F6}"/>
                </a:ext>
              </a:extLst>
            </p:cNvPr>
            <p:cNvSpPr/>
            <p:nvPr/>
          </p:nvSpPr>
          <p:spPr>
            <a:xfrm>
              <a:off x="1505029" y="1579636"/>
              <a:ext cx="207253" cy="338752"/>
            </a:xfrm>
            <a:custGeom>
              <a:avLst/>
              <a:gdLst/>
              <a:ahLst/>
              <a:cxnLst/>
              <a:rect l="l" t="t" r="r" b="b"/>
              <a:pathLst>
                <a:path w="9105" h="14882" extrusionOk="0">
                  <a:moveTo>
                    <a:pt x="8099" y="1"/>
                  </a:moveTo>
                  <a:lnTo>
                    <a:pt x="0" y="4746"/>
                  </a:lnTo>
                  <a:lnTo>
                    <a:pt x="1367" y="14882"/>
                  </a:lnTo>
                  <a:lnTo>
                    <a:pt x="9104" y="10007"/>
                  </a:lnTo>
                  <a:lnTo>
                    <a:pt x="809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523;p74">
              <a:extLst>
                <a:ext uri="{FF2B5EF4-FFF2-40B4-BE49-F238E27FC236}">
                  <a16:creationId xmlns:a16="http://schemas.microsoft.com/office/drawing/2014/main" id="{633AB033-9666-4236-BF29-6D91D3389A59}"/>
                </a:ext>
              </a:extLst>
            </p:cNvPr>
            <p:cNvSpPr/>
            <p:nvPr/>
          </p:nvSpPr>
          <p:spPr>
            <a:xfrm>
              <a:off x="876844" y="1937776"/>
              <a:ext cx="241874" cy="369868"/>
            </a:xfrm>
            <a:custGeom>
              <a:avLst/>
              <a:gdLst/>
              <a:ahLst/>
              <a:cxnLst/>
              <a:rect l="l" t="t" r="r" b="b"/>
              <a:pathLst>
                <a:path w="10626" h="16249" extrusionOk="0">
                  <a:moveTo>
                    <a:pt x="8898" y="0"/>
                  </a:moveTo>
                  <a:lnTo>
                    <a:pt x="0" y="5210"/>
                  </a:lnTo>
                  <a:lnTo>
                    <a:pt x="1883" y="16248"/>
                  </a:lnTo>
                  <a:lnTo>
                    <a:pt x="10626" y="10729"/>
                  </a:lnTo>
                  <a:lnTo>
                    <a:pt x="88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524;p74">
              <a:extLst>
                <a:ext uri="{FF2B5EF4-FFF2-40B4-BE49-F238E27FC236}">
                  <a16:creationId xmlns:a16="http://schemas.microsoft.com/office/drawing/2014/main" id="{BAD48E8A-5495-4D96-AEC9-BE0713574D95}"/>
                </a:ext>
              </a:extLst>
            </p:cNvPr>
            <p:cNvSpPr/>
            <p:nvPr/>
          </p:nvSpPr>
          <p:spPr>
            <a:xfrm>
              <a:off x="944361" y="2046427"/>
              <a:ext cx="144428" cy="221297"/>
            </a:xfrm>
            <a:custGeom>
              <a:avLst/>
              <a:gdLst/>
              <a:ahLst/>
              <a:cxnLst/>
              <a:rect l="l" t="t" r="r" b="b"/>
              <a:pathLst>
                <a:path w="6345" h="9722" extrusionOk="0">
                  <a:moveTo>
                    <a:pt x="2199" y="0"/>
                  </a:moveTo>
                  <a:cubicBezTo>
                    <a:pt x="1612" y="0"/>
                    <a:pt x="959" y="291"/>
                    <a:pt x="671" y="669"/>
                  </a:cubicBezTo>
                  <a:cubicBezTo>
                    <a:pt x="0" y="1572"/>
                    <a:pt x="103" y="3248"/>
                    <a:pt x="464" y="4202"/>
                  </a:cubicBezTo>
                  <a:cubicBezTo>
                    <a:pt x="645" y="4692"/>
                    <a:pt x="1290" y="4666"/>
                    <a:pt x="1573" y="5105"/>
                  </a:cubicBezTo>
                  <a:cubicBezTo>
                    <a:pt x="1960" y="5724"/>
                    <a:pt x="1651" y="6549"/>
                    <a:pt x="1573" y="7271"/>
                  </a:cubicBezTo>
                  <a:cubicBezTo>
                    <a:pt x="1522" y="7864"/>
                    <a:pt x="1315" y="8587"/>
                    <a:pt x="1419" y="9206"/>
                  </a:cubicBezTo>
                  <a:cubicBezTo>
                    <a:pt x="1470" y="9515"/>
                    <a:pt x="1573" y="9670"/>
                    <a:pt x="1676" y="9721"/>
                  </a:cubicBezTo>
                  <a:lnTo>
                    <a:pt x="6345" y="6781"/>
                  </a:lnTo>
                  <a:cubicBezTo>
                    <a:pt x="6009" y="6085"/>
                    <a:pt x="5519" y="5518"/>
                    <a:pt x="4900" y="5079"/>
                  </a:cubicBezTo>
                  <a:cubicBezTo>
                    <a:pt x="3998" y="4409"/>
                    <a:pt x="4178" y="3790"/>
                    <a:pt x="4178" y="2655"/>
                  </a:cubicBezTo>
                  <a:cubicBezTo>
                    <a:pt x="4230" y="1649"/>
                    <a:pt x="3740" y="695"/>
                    <a:pt x="2889" y="179"/>
                  </a:cubicBezTo>
                  <a:cubicBezTo>
                    <a:pt x="2694" y="54"/>
                    <a:pt x="2453" y="0"/>
                    <a:pt x="219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525;p74">
              <a:extLst>
                <a:ext uri="{FF2B5EF4-FFF2-40B4-BE49-F238E27FC236}">
                  <a16:creationId xmlns:a16="http://schemas.microsoft.com/office/drawing/2014/main" id="{A4D717FD-2DC1-4FEC-802F-6002D74AF10B}"/>
                </a:ext>
              </a:extLst>
            </p:cNvPr>
            <p:cNvSpPr/>
            <p:nvPr/>
          </p:nvSpPr>
          <p:spPr>
            <a:xfrm>
              <a:off x="912378" y="2098624"/>
              <a:ext cx="57248" cy="57043"/>
            </a:xfrm>
            <a:custGeom>
              <a:avLst/>
              <a:gdLst/>
              <a:ahLst/>
              <a:cxnLst/>
              <a:rect l="l" t="t" r="r" b="b"/>
              <a:pathLst>
                <a:path w="2515" h="2506" extrusionOk="0">
                  <a:moveTo>
                    <a:pt x="1792" y="1"/>
                  </a:moveTo>
                  <a:cubicBezTo>
                    <a:pt x="1" y="569"/>
                    <a:pt x="485" y="2505"/>
                    <a:pt x="1756" y="2505"/>
                  </a:cubicBezTo>
                  <a:cubicBezTo>
                    <a:pt x="1986" y="2505"/>
                    <a:pt x="2242" y="2442"/>
                    <a:pt x="2514" y="2296"/>
                  </a:cubicBezTo>
                  <a:lnTo>
                    <a:pt x="17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526;p74">
              <a:extLst>
                <a:ext uri="{FF2B5EF4-FFF2-40B4-BE49-F238E27FC236}">
                  <a16:creationId xmlns:a16="http://schemas.microsoft.com/office/drawing/2014/main" id="{F7AD10C4-86ED-40BE-9214-03E599E99046}"/>
                </a:ext>
              </a:extLst>
            </p:cNvPr>
            <p:cNvSpPr/>
            <p:nvPr/>
          </p:nvSpPr>
          <p:spPr>
            <a:xfrm>
              <a:off x="927015" y="2025029"/>
              <a:ext cx="114222" cy="94760"/>
            </a:xfrm>
            <a:custGeom>
              <a:avLst/>
              <a:gdLst/>
              <a:ahLst/>
              <a:cxnLst/>
              <a:rect l="l" t="t" r="r" b="b"/>
              <a:pathLst>
                <a:path w="5018" h="4163" extrusionOk="0">
                  <a:moveTo>
                    <a:pt x="3004" y="1"/>
                  </a:moveTo>
                  <a:cubicBezTo>
                    <a:pt x="2618" y="1"/>
                    <a:pt x="2219" y="99"/>
                    <a:pt x="1845" y="294"/>
                  </a:cubicBezTo>
                  <a:cubicBezTo>
                    <a:pt x="549" y="965"/>
                    <a:pt x="1" y="2343"/>
                    <a:pt x="275" y="3700"/>
                  </a:cubicBezTo>
                  <a:lnTo>
                    <a:pt x="275" y="3700"/>
                  </a:lnTo>
                  <a:lnTo>
                    <a:pt x="246" y="3595"/>
                  </a:lnTo>
                  <a:lnTo>
                    <a:pt x="246" y="3595"/>
                  </a:lnTo>
                  <a:cubicBezTo>
                    <a:pt x="220" y="3801"/>
                    <a:pt x="272" y="3982"/>
                    <a:pt x="349" y="4162"/>
                  </a:cubicBezTo>
                  <a:lnTo>
                    <a:pt x="633" y="4162"/>
                  </a:lnTo>
                  <a:cubicBezTo>
                    <a:pt x="375" y="2795"/>
                    <a:pt x="375" y="1660"/>
                    <a:pt x="1639" y="809"/>
                  </a:cubicBezTo>
                  <a:cubicBezTo>
                    <a:pt x="2052" y="531"/>
                    <a:pt x="2449" y="403"/>
                    <a:pt x="2825" y="403"/>
                  </a:cubicBezTo>
                  <a:cubicBezTo>
                    <a:pt x="3527" y="403"/>
                    <a:pt x="4152" y="852"/>
                    <a:pt x="4657" y="1609"/>
                  </a:cubicBezTo>
                  <a:cubicBezTo>
                    <a:pt x="4708" y="1609"/>
                    <a:pt x="4817" y="1620"/>
                    <a:pt x="4907" y="1620"/>
                  </a:cubicBezTo>
                  <a:cubicBezTo>
                    <a:pt x="4952" y="1620"/>
                    <a:pt x="4992" y="1617"/>
                    <a:pt x="5018" y="1609"/>
                  </a:cubicBezTo>
                  <a:cubicBezTo>
                    <a:pt x="4729" y="528"/>
                    <a:pt x="3900" y="1"/>
                    <a:pt x="30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527;p74">
              <a:extLst>
                <a:ext uri="{FF2B5EF4-FFF2-40B4-BE49-F238E27FC236}">
                  <a16:creationId xmlns:a16="http://schemas.microsoft.com/office/drawing/2014/main" id="{93CF778E-F1E8-42C8-86FD-27EC9A35BA7E}"/>
                </a:ext>
              </a:extLst>
            </p:cNvPr>
            <p:cNvSpPr/>
            <p:nvPr/>
          </p:nvSpPr>
          <p:spPr>
            <a:xfrm>
              <a:off x="1018320" y="2052665"/>
              <a:ext cx="58022" cy="67468"/>
            </a:xfrm>
            <a:custGeom>
              <a:avLst/>
              <a:gdLst/>
              <a:ahLst/>
              <a:cxnLst/>
              <a:rect l="l" t="t" r="r" b="b"/>
              <a:pathLst>
                <a:path w="2549" h="2964" extrusionOk="0">
                  <a:moveTo>
                    <a:pt x="541" y="0"/>
                  </a:moveTo>
                  <a:cubicBezTo>
                    <a:pt x="360" y="0"/>
                    <a:pt x="176" y="87"/>
                    <a:pt x="1" y="292"/>
                  </a:cubicBezTo>
                  <a:lnTo>
                    <a:pt x="310" y="704"/>
                  </a:lnTo>
                  <a:cubicBezTo>
                    <a:pt x="465" y="1478"/>
                    <a:pt x="542" y="2174"/>
                    <a:pt x="723" y="2948"/>
                  </a:cubicBezTo>
                  <a:cubicBezTo>
                    <a:pt x="798" y="2959"/>
                    <a:pt x="870" y="2964"/>
                    <a:pt x="936" y="2964"/>
                  </a:cubicBezTo>
                  <a:cubicBezTo>
                    <a:pt x="2549" y="2964"/>
                    <a:pt x="1598" y="0"/>
                    <a:pt x="54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528;p74">
              <a:extLst>
                <a:ext uri="{FF2B5EF4-FFF2-40B4-BE49-F238E27FC236}">
                  <a16:creationId xmlns:a16="http://schemas.microsoft.com/office/drawing/2014/main" id="{3D903501-B22D-421E-94F7-4D42CC41FD77}"/>
                </a:ext>
              </a:extLst>
            </p:cNvPr>
            <p:cNvSpPr/>
            <p:nvPr/>
          </p:nvSpPr>
          <p:spPr>
            <a:xfrm>
              <a:off x="1583109" y="1977408"/>
              <a:ext cx="120960" cy="184649"/>
            </a:xfrm>
            <a:custGeom>
              <a:avLst/>
              <a:gdLst/>
              <a:ahLst/>
              <a:cxnLst/>
              <a:rect l="l" t="t" r="r" b="b"/>
              <a:pathLst>
                <a:path w="5314" h="8112" extrusionOk="0">
                  <a:moveTo>
                    <a:pt x="1865" y="0"/>
                  </a:moveTo>
                  <a:cubicBezTo>
                    <a:pt x="1374" y="0"/>
                    <a:pt x="830" y="245"/>
                    <a:pt x="594" y="554"/>
                  </a:cubicBezTo>
                  <a:cubicBezTo>
                    <a:pt x="0" y="1302"/>
                    <a:pt x="78" y="2721"/>
                    <a:pt x="387" y="3495"/>
                  </a:cubicBezTo>
                  <a:cubicBezTo>
                    <a:pt x="568" y="3933"/>
                    <a:pt x="1109" y="3881"/>
                    <a:pt x="1342" y="4268"/>
                  </a:cubicBezTo>
                  <a:cubicBezTo>
                    <a:pt x="1677" y="4758"/>
                    <a:pt x="1393" y="5455"/>
                    <a:pt x="1342" y="6048"/>
                  </a:cubicBezTo>
                  <a:cubicBezTo>
                    <a:pt x="1290" y="6564"/>
                    <a:pt x="1109" y="7183"/>
                    <a:pt x="1213" y="7673"/>
                  </a:cubicBezTo>
                  <a:cubicBezTo>
                    <a:pt x="1264" y="7931"/>
                    <a:pt x="1342" y="8060"/>
                    <a:pt x="1419" y="8111"/>
                  </a:cubicBezTo>
                  <a:lnTo>
                    <a:pt x="5313" y="5661"/>
                  </a:lnTo>
                  <a:cubicBezTo>
                    <a:pt x="5030" y="5094"/>
                    <a:pt x="4617" y="4604"/>
                    <a:pt x="4101" y="4242"/>
                  </a:cubicBezTo>
                  <a:cubicBezTo>
                    <a:pt x="3327" y="3675"/>
                    <a:pt x="3482" y="3159"/>
                    <a:pt x="3508" y="2205"/>
                  </a:cubicBezTo>
                  <a:cubicBezTo>
                    <a:pt x="3534" y="1380"/>
                    <a:pt x="3121" y="580"/>
                    <a:pt x="2425" y="142"/>
                  </a:cubicBezTo>
                  <a:cubicBezTo>
                    <a:pt x="2265" y="43"/>
                    <a:pt x="2070" y="0"/>
                    <a:pt x="18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529;p74">
              <a:extLst>
                <a:ext uri="{FF2B5EF4-FFF2-40B4-BE49-F238E27FC236}">
                  <a16:creationId xmlns:a16="http://schemas.microsoft.com/office/drawing/2014/main" id="{C71B0912-BED4-4134-B700-3406231E1E70}"/>
                </a:ext>
              </a:extLst>
            </p:cNvPr>
            <p:cNvSpPr/>
            <p:nvPr/>
          </p:nvSpPr>
          <p:spPr>
            <a:xfrm>
              <a:off x="1556248" y="2021137"/>
              <a:ext cx="48006" cy="47801"/>
            </a:xfrm>
            <a:custGeom>
              <a:avLst/>
              <a:gdLst/>
              <a:ahLst/>
              <a:cxnLst/>
              <a:rect l="l" t="t" r="r" b="b"/>
              <a:pathLst>
                <a:path w="2109" h="2100" extrusionOk="0">
                  <a:moveTo>
                    <a:pt x="1516" y="0"/>
                  </a:moveTo>
                  <a:cubicBezTo>
                    <a:pt x="1" y="461"/>
                    <a:pt x="430" y="2100"/>
                    <a:pt x="1497" y="2100"/>
                  </a:cubicBezTo>
                  <a:cubicBezTo>
                    <a:pt x="1684" y="2100"/>
                    <a:pt x="1890" y="2050"/>
                    <a:pt x="2109" y="1935"/>
                  </a:cubicBezTo>
                  <a:lnTo>
                    <a:pt x="151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530;p74">
              <a:extLst>
                <a:ext uri="{FF2B5EF4-FFF2-40B4-BE49-F238E27FC236}">
                  <a16:creationId xmlns:a16="http://schemas.microsoft.com/office/drawing/2014/main" id="{C3212127-13A0-4268-B684-E5DB3D8498E7}"/>
                </a:ext>
              </a:extLst>
            </p:cNvPr>
            <p:cNvSpPr/>
            <p:nvPr/>
          </p:nvSpPr>
          <p:spPr>
            <a:xfrm>
              <a:off x="1567925" y="1959834"/>
              <a:ext cx="96809" cy="78940"/>
            </a:xfrm>
            <a:custGeom>
              <a:avLst/>
              <a:gdLst/>
              <a:ahLst/>
              <a:cxnLst/>
              <a:rect l="l" t="t" r="r" b="b"/>
              <a:pathLst>
                <a:path w="4253" h="3468" extrusionOk="0">
                  <a:moveTo>
                    <a:pt x="2552" y="0"/>
                  </a:moveTo>
                  <a:cubicBezTo>
                    <a:pt x="2233" y="0"/>
                    <a:pt x="1904" y="81"/>
                    <a:pt x="1596" y="243"/>
                  </a:cubicBezTo>
                  <a:cubicBezTo>
                    <a:pt x="522" y="816"/>
                    <a:pt x="0" y="2028"/>
                    <a:pt x="316" y="3187"/>
                  </a:cubicBezTo>
                  <a:lnTo>
                    <a:pt x="316" y="3187"/>
                  </a:lnTo>
                  <a:lnTo>
                    <a:pt x="255" y="3003"/>
                  </a:lnTo>
                  <a:lnTo>
                    <a:pt x="255" y="3003"/>
                  </a:lnTo>
                  <a:cubicBezTo>
                    <a:pt x="255" y="3158"/>
                    <a:pt x="281" y="3338"/>
                    <a:pt x="332" y="3467"/>
                  </a:cubicBezTo>
                  <a:lnTo>
                    <a:pt x="564" y="3467"/>
                  </a:lnTo>
                  <a:cubicBezTo>
                    <a:pt x="358" y="2332"/>
                    <a:pt x="358" y="1378"/>
                    <a:pt x="1415" y="682"/>
                  </a:cubicBezTo>
                  <a:cubicBezTo>
                    <a:pt x="1767" y="447"/>
                    <a:pt x="2103" y="339"/>
                    <a:pt x="2418" y="339"/>
                  </a:cubicBezTo>
                  <a:cubicBezTo>
                    <a:pt x="3006" y="339"/>
                    <a:pt x="3523" y="715"/>
                    <a:pt x="3943" y="1352"/>
                  </a:cubicBezTo>
                  <a:cubicBezTo>
                    <a:pt x="3994" y="1352"/>
                    <a:pt x="4080" y="1364"/>
                    <a:pt x="4155" y="1364"/>
                  </a:cubicBezTo>
                  <a:cubicBezTo>
                    <a:pt x="4192" y="1364"/>
                    <a:pt x="4227" y="1361"/>
                    <a:pt x="4252" y="1352"/>
                  </a:cubicBezTo>
                  <a:cubicBezTo>
                    <a:pt x="3999" y="448"/>
                    <a:pt x="3302" y="0"/>
                    <a:pt x="255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531;p74">
              <a:extLst>
                <a:ext uri="{FF2B5EF4-FFF2-40B4-BE49-F238E27FC236}">
                  <a16:creationId xmlns:a16="http://schemas.microsoft.com/office/drawing/2014/main" id="{E349577C-8186-43E9-9761-DF287C1EDFE5}"/>
                </a:ext>
              </a:extLst>
            </p:cNvPr>
            <p:cNvSpPr/>
            <p:nvPr/>
          </p:nvSpPr>
          <p:spPr>
            <a:xfrm>
              <a:off x="1645345" y="1982644"/>
              <a:ext cx="48416" cy="56360"/>
            </a:xfrm>
            <a:custGeom>
              <a:avLst/>
              <a:gdLst/>
              <a:ahLst/>
              <a:cxnLst/>
              <a:rect l="l" t="t" r="r" b="b"/>
              <a:pathLst>
                <a:path w="2127" h="2476" extrusionOk="0">
                  <a:moveTo>
                    <a:pt x="455" y="0"/>
                  </a:moveTo>
                  <a:cubicBezTo>
                    <a:pt x="302" y="0"/>
                    <a:pt x="147" y="74"/>
                    <a:pt x="0" y="247"/>
                  </a:cubicBezTo>
                  <a:lnTo>
                    <a:pt x="284" y="582"/>
                  </a:lnTo>
                  <a:cubicBezTo>
                    <a:pt x="387" y="1227"/>
                    <a:pt x="464" y="1820"/>
                    <a:pt x="593" y="2465"/>
                  </a:cubicBezTo>
                  <a:cubicBezTo>
                    <a:pt x="651" y="2472"/>
                    <a:pt x="705" y="2476"/>
                    <a:pt x="756" y="2476"/>
                  </a:cubicBezTo>
                  <a:cubicBezTo>
                    <a:pt x="2127" y="2476"/>
                    <a:pt x="1337" y="0"/>
                    <a:pt x="4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532;p74">
              <a:extLst>
                <a:ext uri="{FF2B5EF4-FFF2-40B4-BE49-F238E27FC236}">
                  <a16:creationId xmlns:a16="http://schemas.microsoft.com/office/drawing/2014/main" id="{05ADF075-0ECE-4849-A59F-A8106CCEBF8B}"/>
                </a:ext>
              </a:extLst>
            </p:cNvPr>
            <p:cNvSpPr/>
            <p:nvPr/>
          </p:nvSpPr>
          <p:spPr>
            <a:xfrm>
              <a:off x="1193281" y="2198853"/>
              <a:ext cx="144428" cy="220933"/>
            </a:xfrm>
            <a:custGeom>
              <a:avLst/>
              <a:gdLst/>
              <a:ahLst/>
              <a:cxnLst/>
              <a:rect l="l" t="t" r="r" b="b"/>
              <a:pathLst>
                <a:path w="6345" h="9706" extrusionOk="0">
                  <a:moveTo>
                    <a:pt x="2206" y="1"/>
                  </a:moveTo>
                  <a:cubicBezTo>
                    <a:pt x="1620" y="1"/>
                    <a:pt x="964" y="294"/>
                    <a:pt x="671" y="678"/>
                  </a:cubicBezTo>
                  <a:cubicBezTo>
                    <a:pt x="0" y="1555"/>
                    <a:pt x="78" y="3258"/>
                    <a:pt x="439" y="4212"/>
                  </a:cubicBezTo>
                  <a:cubicBezTo>
                    <a:pt x="645" y="4702"/>
                    <a:pt x="1316" y="4676"/>
                    <a:pt x="1599" y="5114"/>
                  </a:cubicBezTo>
                  <a:cubicBezTo>
                    <a:pt x="1960" y="5733"/>
                    <a:pt x="1651" y="6559"/>
                    <a:pt x="1599" y="7255"/>
                  </a:cubicBezTo>
                  <a:cubicBezTo>
                    <a:pt x="1522" y="7874"/>
                    <a:pt x="1316" y="8596"/>
                    <a:pt x="1419" y="9189"/>
                  </a:cubicBezTo>
                  <a:cubicBezTo>
                    <a:pt x="1496" y="9525"/>
                    <a:pt x="1574" y="9654"/>
                    <a:pt x="1703" y="9705"/>
                  </a:cubicBezTo>
                  <a:lnTo>
                    <a:pt x="6345" y="6765"/>
                  </a:lnTo>
                  <a:cubicBezTo>
                    <a:pt x="6010" y="6095"/>
                    <a:pt x="5520" y="5527"/>
                    <a:pt x="4901" y="5089"/>
                  </a:cubicBezTo>
                  <a:cubicBezTo>
                    <a:pt x="3972" y="4418"/>
                    <a:pt x="4153" y="3799"/>
                    <a:pt x="4153" y="2664"/>
                  </a:cubicBezTo>
                  <a:cubicBezTo>
                    <a:pt x="4230" y="1659"/>
                    <a:pt x="3714" y="704"/>
                    <a:pt x="2863" y="163"/>
                  </a:cubicBezTo>
                  <a:cubicBezTo>
                    <a:pt x="2676" y="50"/>
                    <a:pt x="2447" y="1"/>
                    <a:pt x="220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2533;p74">
              <a:extLst>
                <a:ext uri="{FF2B5EF4-FFF2-40B4-BE49-F238E27FC236}">
                  <a16:creationId xmlns:a16="http://schemas.microsoft.com/office/drawing/2014/main" id="{F983B7E0-88D7-4785-AC7C-FF1FD4497EB9}"/>
                </a:ext>
              </a:extLst>
            </p:cNvPr>
            <p:cNvSpPr/>
            <p:nvPr/>
          </p:nvSpPr>
          <p:spPr>
            <a:xfrm>
              <a:off x="1160638" y="2251277"/>
              <a:ext cx="57316" cy="57384"/>
            </a:xfrm>
            <a:custGeom>
              <a:avLst/>
              <a:gdLst/>
              <a:ahLst/>
              <a:cxnLst/>
              <a:rect l="l" t="t" r="r" b="b"/>
              <a:pathLst>
                <a:path w="2518" h="2521" extrusionOk="0">
                  <a:moveTo>
                    <a:pt x="1821" y="0"/>
                  </a:moveTo>
                  <a:cubicBezTo>
                    <a:pt x="1" y="571"/>
                    <a:pt x="512" y="2521"/>
                    <a:pt x="1784" y="2521"/>
                  </a:cubicBezTo>
                  <a:cubicBezTo>
                    <a:pt x="2008" y="2521"/>
                    <a:pt x="2255" y="2460"/>
                    <a:pt x="2518" y="2321"/>
                  </a:cubicBezTo>
                  <a:lnTo>
                    <a:pt x="182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2534;p74">
              <a:extLst>
                <a:ext uri="{FF2B5EF4-FFF2-40B4-BE49-F238E27FC236}">
                  <a16:creationId xmlns:a16="http://schemas.microsoft.com/office/drawing/2014/main" id="{D18EFE0E-E868-40ED-8BAE-75DADFEE17C0}"/>
                </a:ext>
              </a:extLst>
            </p:cNvPr>
            <p:cNvSpPr/>
            <p:nvPr/>
          </p:nvSpPr>
          <p:spPr>
            <a:xfrm>
              <a:off x="1174660" y="2177227"/>
              <a:ext cx="115497" cy="95193"/>
            </a:xfrm>
            <a:custGeom>
              <a:avLst/>
              <a:gdLst/>
              <a:ahLst/>
              <a:cxnLst/>
              <a:rect l="l" t="t" r="r" b="b"/>
              <a:pathLst>
                <a:path w="5074" h="4182" extrusionOk="0">
                  <a:moveTo>
                    <a:pt x="3042" y="0"/>
                  </a:moveTo>
                  <a:cubicBezTo>
                    <a:pt x="2661" y="0"/>
                    <a:pt x="2269" y="96"/>
                    <a:pt x="1902" y="287"/>
                  </a:cubicBezTo>
                  <a:cubicBezTo>
                    <a:pt x="557" y="996"/>
                    <a:pt x="0" y="2494"/>
                    <a:pt x="408" y="3944"/>
                  </a:cubicBezTo>
                  <a:lnTo>
                    <a:pt x="408" y="3944"/>
                  </a:lnTo>
                  <a:lnTo>
                    <a:pt x="303" y="3614"/>
                  </a:lnTo>
                  <a:lnTo>
                    <a:pt x="303" y="3614"/>
                  </a:lnTo>
                  <a:cubicBezTo>
                    <a:pt x="277" y="3795"/>
                    <a:pt x="328" y="4001"/>
                    <a:pt x="406" y="4182"/>
                  </a:cubicBezTo>
                  <a:lnTo>
                    <a:pt x="689" y="4182"/>
                  </a:lnTo>
                  <a:cubicBezTo>
                    <a:pt x="432" y="2815"/>
                    <a:pt x="432" y="1680"/>
                    <a:pt x="1695" y="829"/>
                  </a:cubicBezTo>
                  <a:cubicBezTo>
                    <a:pt x="2108" y="542"/>
                    <a:pt x="2505" y="411"/>
                    <a:pt x="2880" y="411"/>
                  </a:cubicBezTo>
                  <a:cubicBezTo>
                    <a:pt x="3583" y="411"/>
                    <a:pt x="4208" y="872"/>
                    <a:pt x="4713" y="1628"/>
                  </a:cubicBezTo>
                  <a:cubicBezTo>
                    <a:pt x="4729" y="1623"/>
                    <a:pt x="4751" y="1621"/>
                    <a:pt x="4777" y="1621"/>
                  </a:cubicBezTo>
                  <a:cubicBezTo>
                    <a:pt x="4846" y="1621"/>
                    <a:pt x="4940" y="1636"/>
                    <a:pt x="5010" y="1636"/>
                  </a:cubicBezTo>
                  <a:cubicBezTo>
                    <a:pt x="5035" y="1636"/>
                    <a:pt x="5057" y="1634"/>
                    <a:pt x="5074" y="1628"/>
                  </a:cubicBezTo>
                  <a:cubicBezTo>
                    <a:pt x="4784" y="540"/>
                    <a:pt x="3945" y="0"/>
                    <a:pt x="304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2535;p74">
              <a:extLst>
                <a:ext uri="{FF2B5EF4-FFF2-40B4-BE49-F238E27FC236}">
                  <a16:creationId xmlns:a16="http://schemas.microsoft.com/office/drawing/2014/main" id="{FA431084-8C55-4D59-9F2B-8A0610607D7B}"/>
                </a:ext>
              </a:extLst>
            </p:cNvPr>
            <p:cNvSpPr/>
            <p:nvPr/>
          </p:nvSpPr>
          <p:spPr>
            <a:xfrm>
              <a:off x="1267240" y="2205272"/>
              <a:ext cx="58181" cy="67445"/>
            </a:xfrm>
            <a:custGeom>
              <a:avLst/>
              <a:gdLst/>
              <a:ahLst/>
              <a:cxnLst/>
              <a:rect l="l" t="t" r="r" b="b"/>
              <a:pathLst>
                <a:path w="2556" h="2963" extrusionOk="0">
                  <a:moveTo>
                    <a:pt x="552" y="1"/>
                  </a:moveTo>
                  <a:cubicBezTo>
                    <a:pt x="368" y="1"/>
                    <a:pt x="181" y="88"/>
                    <a:pt x="1" y="293"/>
                  </a:cubicBezTo>
                  <a:lnTo>
                    <a:pt x="336" y="706"/>
                  </a:lnTo>
                  <a:cubicBezTo>
                    <a:pt x="465" y="1480"/>
                    <a:pt x="543" y="2176"/>
                    <a:pt x="723" y="2950"/>
                  </a:cubicBezTo>
                  <a:cubicBezTo>
                    <a:pt x="793" y="2959"/>
                    <a:pt x="859" y="2963"/>
                    <a:pt x="921" y="2963"/>
                  </a:cubicBezTo>
                  <a:cubicBezTo>
                    <a:pt x="2555" y="2963"/>
                    <a:pt x="1622" y="1"/>
                    <a:pt x="5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2536;p74">
              <a:extLst>
                <a:ext uri="{FF2B5EF4-FFF2-40B4-BE49-F238E27FC236}">
                  <a16:creationId xmlns:a16="http://schemas.microsoft.com/office/drawing/2014/main" id="{34A87F3B-8EE3-4F64-86ED-85316E1935C0}"/>
                </a:ext>
              </a:extLst>
            </p:cNvPr>
            <p:cNvSpPr/>
            <p:nvPr/>
          </p:nvSpPr>
          <p:spPr>
            <a:xfrm>
              <a:off x="1044156" y="2617681"/>
              <a:ext cx="132114" cy="202495"/>
            </a:xfrm>
            <a:custGeom>
              <a:avLst/>
              <a:gdLst/>
              <a:ahLst/>
              <a:cxnLst/>
              <a:rect l="l" t="t" r="r" b="b"/>
              <a:pathLst>
                <a:path w="5804" h="8896" extrusionOk="0">
                  <a:moveTo>
                    <a:pt x="2025" y="1"/>
                  </a:moveTo>
                  <a:cubicBezTo>
                    <a:pt x="1490" y="1"/>
                    <a:pt x="893" y="270"/>
                    <a:pt x="620" y="617"/>
                  </a:cubicBezTo>
                  <a:cubicBezTo>
                    <a:pt x="1" y="1442"/>
                    <a:pt x="78" y="2989"/>
                    <a:pt x="413" y="3841"/>
                  </a:cubicBezTo>
                  <a:cubicBezTo>
                    <a:pt x="594" y="4305"/>
                    <a:pt x="1213" y="4279"/>
                    <a:pt x="1471" y="4692"/>
                  </a:cubicBezTo>
                  <a:cubicBezTo>
                    <a:pt x="1806" y="5233"/>
                    <a:pt x="1522" y="6007"/>
                    <a:pt x="1471" y="6652"/>
                  </a:cubicBezTo>
                  <a:cubicBezTo>
                    <a:pt x="1393" y="7193"/>
                    <a:pt x="1213" y="7864"/>
                    <a:pt x="1316" y="8406"/>
                  </a:cubicBezTo>
                  <a:cubicBezTo>
                    <a:pt x="1367" y="8715"/>
                    <a:pt x="1445" y="8844"/>
                    <a:pt x="1548" y="8896"/>
                  </a:cubicBezTo>
                  <a:lnTo>
                    <a:pt x="5803" y="6213"/>
                  </a:lnTo>
                  <a:cubicBezTo>
                    <a:pt x="5494" y="5569"/>
                    <a:pt x="5056" y="5053"/>
                    <a:pt x="4488" y="4666"/>
                  </a:cubicBezTo>
                  <a:cubicBezTo>
                    <a:pt x="3637" y="4047"/>
                    <a:pt x="3818" y="3479"/>
                    <a:pt x="3818" y="2448"/>
                  </a:cubicBezTo>
                  <a:cubicBezTo>
                    <a:pt x="3869" y="1519"/>
                    <a:pt x="3405" y="668"/>
                    <a:pt x="2631" y="152"/>
                  </a:cubicBezTo>
                  <a:cubicBezTo>
                    <a:pt x="2458" y="47"/>
                    <a:pt x="2247" y="1"/>
                    <a:pt x="20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2537;p74">
              <a:extLst>
                <a:ext uri="{FF2B5EF4-FFF2-40B4-BE49-F238E27FC236}">
                  <a16:creationId xmlns:a16="http://schemas.microsoft.com/office/drawing/2014/main" id="{54D55385-F949-4854-9B0B-7241A73A57C7}"/>
                </a:ext>
              </a:extLst>
            </p:cNvPr>
            <p:cNvSpPr/>
            <p:nvPr/>
          </p:nvSpPr>
          <p:spPr>
            <a:xfrm>
              <a:off x="1015087" y="2665758"/>
              <a:ext cx="51990" cy="51944"/>
            </a:xfrm>
            <a:custGeom>
              <a:avLst/>
              <a:gdLst/>
              <a:ahLst/>
              <a:cxnLst/>
              <a:rect l="l" t="t" r="r" b="b"/>
              <a:pathLst>
                <a:path w="2284" h="2282" extrusionOk="0">
                  <a:moveTo>
                    <a:pt x="1639" y="1"/>
                  </a:moveTo>
                  <a:cubicBezTo>
                    <a:pt x="0" y="503"/>
                    <a:pt x="434" y="2282"/>
                    <a:pt x="1592" y="2282"/>
                  </a:cubicBezTo>
                  <a:cubicBezTo>
                    <a:pt x="1802" y="2282"/>
                    <a:pt x="2035" y="2224"/>
                    <a:pt x="2283" y="2090"/>
                  </a:cubicBezTo>
                  <a:lnTo>
                    <a:pt x="163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538;p74">
              <a:extLst>
                <a:ext uri="{FF2B5EF4-FFF2-40B4-BE49-F238E27FC236}">
                  <a16:creationId xmlns:a16="http://schemas.microsoft.com/office/drawing/2014/main" id="{5D734DF0-8432-44DB-9951-C7884CEB1B07}"/>
                </a:ext>
              </a:extLst>
            </p:cNvPr>
            <p:cNvSpPr/>
            <p:nvPr/>
          </p:nvSpPr>
          <p:spPr>
            <a:xfrm>
              <a:off x="1028381" y="2598400"/>
              <a:ext cx="104434" cy="86748"/>
            </a:xfrm>
            <a:custGeom>
              <a:avLst/>
              <a:gdLst/>
              <a:ahLst/>
              <a:cxnLst/>
              <a:rect l="l" t="t" r="r" b="b"/>
              <a:pathLst>
                <a:path w="4588" h="3811" extrusionOk="0">
                  <a:moveTo>
                    <a:pt x="2729" y="1"/>
                  </a:moveTo>
                  <a:cubicBezTo>
                    <a:pt x="2386" y="1"/>
                    <a:pt x="2033" y="85"/>
                    <a:pt x="1699" y="252"/>
                  </a:cubicBezTo>
                  <a:cubicBezTo>
                    <a:pt x="556" y="869"/>
                    <a:pt x="1" y="2135"/>
                    <a:pt x="249" y="3349"/>
                  </a:cubicBezTo>
                  <a:lnTo>
                    <a:pt x="249" y="3349"/>
                  </a:lnTo>
                  <a:cubicBezTo>
                    <a:pt x="235" y="3511"/>
                    <a:pt x="263" y="3671"/>
                    <a:pt x="332" y="3811"/>
                  </a:cubicBezTo>
                  <a:lnTo>
                    <a:pt x="590" y="3811"/>
                  </a:lnTo>
                  <a:cubicBezTo>
                    <a:pt x="358" y="2573"/>
                    <a:pt x="358" y="1515"/>
                    <a:pt x="1519" y="742"/>
                  </a:cubicBezTo>
                  <a:cubicBezTo>
                    <a:pt x="1896" y="490"/>
                    <a:pt x="2257" y="373"/>
                    <a:pt x="2599" y="373"/>
                  </a:cubicBezTo>
                  <a:cubicBezTo>
                    <a:pt x="3238" y="373"/>
                    <a:pt x="3808" y="783"/>
                    <a:pt x="4278" y="1489"/>
                  </a:cubicBezTo>
                  <a:cubicBezTo>
                    <a:pt x="4289" y="1484"/>
                    <a:pt x="4306" y="1482"/>
                    <a:pt x="4326" y="1482"/>
                  </a:cubicBezTo>
                  <a:cubicBezTo>
                    <a:pt x="4381" y="1482"/>
                    <a:pt x="4463" y="1497"/>
                    <a:pt x="4527" y="1497"/>
                  </a:cubicBezTo>
                  <a:cubicBezTo>
                    <a:pt x="4551" y="1497"/>
                    <a:pt x="4572" y="1495"/>
                    <a:pt x="4588" y="1489"/>
                  </a:cubicBezTo>
                  <a:cubicBezTo>
                    <a:pt x="4315" y="488"/>
                    <a:pt x="3553" y="1"/>
                    <a:pt x="272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539;p74">
              <a:extLst>
                <a:ext uri="{FF2B5EF4-FFF2-40B4-BE49-F238E27FC236}">
                  <a16:creationId xmlns:a16="http://schemas.microsoft.com/office/drawing/2014/main" id="{3D217AE7-BFB1-4622-BC8E-7C6981BD6864}"/>
                </a:ext>
              </a:extLst>
            </p:cNvPr>
            <p:cNvSpPr/>
            <p:nvPr/>
          </p:nvSpPr>
          <p:spPr>
            <a:xfrm>
              <a:off x="1112265" y="2623691"/>
              <a:ext cx="52946" cy="61732"/>
            </a:xfrm>
            <a:custGeom>
              <a:avLst/>
              <a:gdLst/>
              <a:ahLst/>
              <a:cxnLst/>
              <a:rect l="l" t="t" r="r" b="b"/>
              <a:pathLst>
                <a:path w="2326" h="2712" extrusionOk="0">
                  <a:moveTo>
                    <a:pt x="503" y="1"/>
                  </a:moveTo>
                  <a:cubicBezTo>
                    <a:pt x="334" y="1"/>
                    <a:pt x="163" y="83"/>
                    <a:pt x="0" y="275"/>
                  </a:cubicBezTo>
                  <a:lnTo>
                    <a:pt x="284" y="636"/>
                  </a:lnTo>
                  <a:cubicBezTo>
                    <a:pt x="413" y="1359"/>
                    <a:pt x="490" y="2003"/>
                    <a:pt x="645" y="2700"/>
                  </a:cubicBezTo>
                  <a:cubicBezTo>
                    <a:pt x="709" y="2708"/>
                    <a:pt x="769" y="2712"/>
                    <a:pt x="825" y="2712"/>
                  </a:cubicBezTo>
                  <a:cubicBezTo>
                    <a:pt x="2325" y="2712"/>
                    <a:pt x="1469" y="1"/>
                    <a:pt x="50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540;p74">
              <a:extLst>
                <a:ext uri="{FF2B5EF4-FFF2-40B4-BE49-F238E27FC236}">
                  <a16:creationId xmlns:a16="http://schemas.microsoft.com/office/drawing/2014/main" id="{010E5C21-429F-48A9-874E-3B95835195DC}"/>
                </a:ext>
              </a:extLst>
            </p:cNvPr>
            <p:cNvSpPr/>
            <p:nvPr/>
          </p:nvSpPr>
          <p:spPr>
            <a:xfrm>
              <a:off x="1388775" y="2068849"/>
              <a:ext cx="145020" cy="221183"/>
            </a:xfrm>
            <a:custGeom>
              <a:avLst/>
              <a:gdLst/>
              <a:ahLst/>
              <a:cxnLst/>
              <a:rect l="l" t="t" r="r" b="b"/>
              <a:pathLst>
                <a:path w="6371" h="9717" extrusionOk="0">
                  <a:moveTo>
                    <a:pt x="2223" y="0"/>
                  </a:moveTo>
                  <a:cubicBezTo>
                    <a:pt x="1639" y="0"/>
                    <a:pt x="988" y="300"/>
                    <a:pt x="697" y="664"/>
                  </a:cubicBezTo>
                  <a:cubicBezTo>
                    <a:pt x="1" y="1567"/>
                    <a:pt x="104" y="3243"/>
                    <a:pt x="465" y="4197"/>
                  </a:cubicBezTo>
                  <a:cubicBezTo>
                    <a:pt x="671" y="4687"/>
                    <a:pt x="1316" y="4661"/>
                    <a:pt x="1600" y="5126"/>
                  </a:cubicBezTo>
                  <a:cubicBezTo>
                    <a:pt x="1987" y="5719"/>
                    <a:pt x="1677" y="6544"/>
                    <a:pt x="1600" y="7266"/>
                  </a:cubicBezTo>
                  <a:cubicBezTo>
                    <a:pt x="1548" y="7860"/>
                    <a:pt x="1342" y="8607"/>
                    <a:pt x="1445" y="9201"/>
                  </a:cubicBezTo>
                  <a:cubicBezTo>
                    <a:pt x="1497" y="9510"/>
                    <a:pt x="1574" y="9665"/>
                    <a:pt x="1703" y="9716"/>
                  </a:cubicBezTo>
                  <a:lnTo>
                    <a:pt x="6371" y="6776"/>
                  </a:lnTo>
                  <a:cubicBezTo>
                    <a:pt x="6036" y="6106"/>
                    <a:pt x="5520" y="5513"/>
                    <a:pt x="4901" y="5074"/>
                  </a:cubicBezTo>
                  <a:cubicBezTo>
                    <a:pt x="3998" y="4404"/>
                    <a:pt x="4179" y="3785"/>
                    <a:pt x="4179" y="2676"/>
                  </a:cubicBezTo>
                  <a:cubicBezTo>
                    <a:pt x="4230" y="1670"/>
                    <a:pt x="3740" y="715"/>
                    <a:pt x="2889" y="174"/>
                  </a:cubicBezTo>
                  <a:cubicBezTo>
                    <a:pt x="2699" y="52"/>
                    <a:pt x="2467" y="0"/>
                    <a:pt x="222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541;p74">
              <a:extLst>
                <a:ext uri="{FF2B5EF4-FFF2-40B4-BE49-F238E27FC236}">
                  <a16:creationId xmlns:a16="http://schemas.microsoft.com/office/drawing/2014/main" id="{B43D1ECC-1012-48FA-85A8-D01A9A1F6CC2}"/>
                </a:ext>
              </a:extLst>
            </p:cNvPr>
            <p:cNvSpPr/>
            <p:nvPr/>
          </p:nvSpPr>
          <p:spPr>
            <a:xfrm>
              <a:off x="1356815" y="2120933"/>
              <a:ext cx="57225" cy="57043"/>
            </a:xfrm>
            <a:custGeom>
              <a:avLst/>
              <a:gdLst/>
              <a:ahLst/>
              <a:cxnLst/>
              <a:rect l="l" t="t" r="r" b="b"/>
              <a:pathLst>
                <a:path w="2514" h="2506" extrusionOk="0">
                  <a:moveTo>
                    <a:pt x="1792" y="1"/>
                  </a:moveTo>
                  <a:cubicBezTo>
                    <a:pt x="0" y="569"/>
                    <a:pt x="503" y="2505"/>
                    <a:pt x="1764" y="2505"/>
                  </a:cubicBezTo>
                  <a:cubicBezTo>
                    <a:pt x="1992" y="2505"/>
                    <a:pt x="2245" y="2442"/>
                    <a:pt x="2514" y="2296"/>
                  </a:cubicBezTo>
                  <a:lnTo>
                    <a:pt x="179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542;p74">
              <a:extLst>
                <a:ext uri="{FF2B5EF4-FFF2-40B4-BE49-F238E27FC236}">
                  <a16:creationId xmlns:a16="http://schemas.microsoft.com/office/drawing/2014/main" id="{32D6252C-8960-48F2-839D-45B62D6C55F9}"/>
                </a:ext>
              </a:extLst>
            </p:cNvPr>
            <p:cNvSpPr/>
            <p:nvPr/>
          </p:nvSpPr>
          <p:spPr>
            <a:xfrm>
              <a:off x="1372021" y="2046883"/>
              <a:ext cx="114222" cy="95216"/>
            </a:xfrm>
            <a:custGeom>
              <a:avLst/>
              <a:gdLst/>
              <a:ahLst/>
              <a:cxnLst/>
              <a:rect l="l" t="t" r="r" b="b"/>
              <a:pathLst>
                <a:path w="5018" h="4183" extrusionOk="0">
                  <a:moveTo>
                    <a:pt x="2981" y="1"/>
                  </a:moveTo>
                  <a:cubicBezTo>
                    <a:pt x="2603" y="1"/>
                    <a:pt x="2213" y="97"/>
                    <a:pt x="1846" y="288"/>
                  </a:cubicBezTo>
                  <a:cubicBezTo>
                    <a:pt x="549" y="982"/>
                    <a:pt x="1" y="2363"/>
                    <a:pt x="275" y="3720"/>
                  </a:cubicBezTo>
                  <a:lnTo>
                    <a:pt x="275" y="3720"/>
                  </a:lnTo>
                  <a:lnTo>
                    <a:pt x="247" y="3615"/>
                  </a:lnTo>
                  <a:lnTo>
                    <a:pt x="247" y="3615"/>
                  </a:lnTo>
                  <a:cubicBezTo>
                    <a:pt x="221" y="3821"/>
                    <a:pt x="247" y="4002"/>
                    <a:pt x="324" y="4182"/>
                  </a:cubicBezTo>
                  <a:lnTo>
                    <a:pt x="608" y="4182"/>
                  </a:lnTo>
                  <a:cubicBezTo>
                    <a:pt x="350" y="2815"/>
                    <a:pt x="376" y="1680"/>
                    <a:pt x="1639" y="829"/>
                  </a:cubicBezTo>
                  <a:cubicBezTo>
                    <a:pt x="2052" y="551"/>
                    <a:pt x="2450" y="423"/>
                    <a:pt x="2825" y="423"/>
                  </a:cubicBezTo>
                  <a:cubicBezTo>
                    <a:pt x="3528" y="423"/>
                    <a:pt x="4153" y="872"/>
                    <a:pt x="4657" y="1629"/>
                  </a:cubicBezTo>
                  <a:cubicBezTo>
                    <a:pt x="4673" y="1623"/>
                    <a:pt x="4694" y="1621"/>
                    <a:pt x="4718" y="1621"/>
                  </a:cubicBezTo>
                  <a:cubicBezTo>
                    <a:pt x="4783" y="1621"/>
                    <a:pt x="4870" y="1636"/>
                    <a:pt x="4944" y="1636"/>
                  </a:cubicBezTo>
                  <a:cubicBezTo>
                    <a:pt x="4971" y="1636"/>
                    <a:pt x="4996" y="1634"/>
                    <a:pt x="5018" y="1629"/>
                  </a:cubicBezTo>
                  <a:cubicBezTo>
                    <a:pt x="4710" y="540"/>
                    <a:pt x="3878" y="1"/>
                    <a:pt x="298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543;p74">
              <a:extLst>
                <a:ext uri="{FF2B5EF4-FFF2-40B4-BE49-F238E27FC236}">
                  <a16:creationId xmlns:a16="http://schemas.microsoft.com/office/drawing/2014/main" id="{B0B1200A-C30A-46FD-820C-6BE80D73E63D}"/>
                </a:ext>
              </a:extLst>
            </p:cNvPr>
            <p:cNvSpPr/>
            <p:nvPr/>
          </p:nvSpPr>
          <p:spPr>
            <a:xfrm>
              <a:off x="1463349" y="2074950"/>
              <a:ext cx="58113" cy="67445"/>
            </a:xfrm>
            <a:custGeom>
              <a:avLst/>
              <a:gdLst/>
              <a:ahLst/>
              <a:cxnLst/>
              <a:rect l="l" t="t" r="r" b="b"/>
              <a:pathLst>
                <a:path w="2553" h="2963" extrusionOk="0">
                  <a:moveTo>
                    <a:pt x="543" y="0"/>
                  </a:moveTo>
                  <a:cubicBezTo>
                    <a:pt x="361" y="0"/>
                    <a:pt x="176" y="88"/>
                    <a:pt x="0" y="293"/>
                  </a:cubicBezTo>
                  <a:lnTo>
                    <a:pt x="310" y="705"/>
                  </a:lnTo>
                  <a:cubicBezTo>
                    <a:pt x="464" y="1479"/>
                    <a:pt x="542" y="2175"/>
                    <a:pt x="722" y="2949"/>
                  </a:cubicBezTo>
                  <a:cubicBezTo>
                    <a:pt x="792" y="2958"/>
                    <a:pt x="858" y="2962"/>
                    <a:pt x="920" y="2962"/>
                  </a:cubicBezTo>
                  <a:cubicBezTo>
                    <a:pt x="2553" y="2962"/>
                    <a:pt x="1602" y="0"/>
                    <a:pt x="54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544;p74">
              <a:extLst>
                <a:ext uri="{FF2B5EF4-FFF2-40B4-BE49-F238E27FC236}">
                  <a16:creationId xmlns:a16="http://schemas.microsoft.com/office/drawing/2014/main" id="{33D57D04-99D6-4C3A-A5A5-3751230FE1E2}"/>
                </a:ext>
              </a:extLst>
            </p:cNvPr>
            <p:cNvSpPr/>
            <p:nvPr/>
          </p:nvSpPr>
          <p:spPr>
            <a:xfrm>
              <a:off x="1455132" y="2347841"/>
              <a:ext cx="111559" cy="170582"/>
            </a:xfrm>
            <a:custGeom>
              <a:avLst/>
              <a:gdLst/>
              <a:ahLst/>
              <a:cxnLst/>
              <a:rect l="l" t="t" r="r" b="b"/>
              <a:pathLst>
                <a:path w="4901" h="7494" extrusionOk="0">
                  <a:moveTo>
                    <a:pt x="1713" y="0"/>
                  </a:moveTo>
                  <a:cubicBezTo>
                    <a:pt x="1257" y="0"/>
                    <a:pt x="759" y="240"/>
                    <a:pt x="542" y="530"/>
                  </a:cubicBezTo>
                  <a:cubicBezTo>
                    <a:pt x="0" y="1226"/>
                    <a:pt x="77" y="2515"/>
                    <a:pt x="361" y="3238"/>
                  </a:cubicBezTo>
                  <a:cubicBezTo>
                    <a:pt x="516" y="3624"/>
                    <a:pt x="1032" y="3599"/>
                    <a:pt x="1238" y="3934"/>
                  </a:cubicBezTo>
                  <a:cubicBezTo>
                    <a:pt x="1522" y="4398"/>
                    <a:pt x="1290" y="5043"/>
                    <a:pt x="1238" y="5585"/>
                  </a:cubicBezTo>
                  <a:cubicBezTo>
                    <a:pt x="1186" y="6049"/>
                    <a:pt x="1032" y="6616"/>
                    <a:pt x="1109" y="7080"/>
                  </a:cubicBezTo>
                  <a:cubicBezTo>
                    <a:pt x="1161" y="7313"/>
                    <a:pt x="1212" y="7442"/>
                    <a:pt x="1315" y="7493"/>
                  </a:cubicBezTo>
                  <a:lnTo>
                    <a:pt x="4900" y="5223"/>
                  </a:lnTo>
                  <a:cubicBezTo>
                    <a:pt x="4642" y="4708"/>
                    <a:pt x="4255" y="4269"/>
                    <a:pt x="3791" y="3934"/>
                  </a:cubicBezTo>
                  <a:cubicBezTo>
                    <a:pt x="3069" y="3418"/>
                    <a:pt x="3224" y="2954"/>
                    <a:pt x="3224" y="2077"/>
                  </a:cubicBezTo>
                  <a:cubicBezTo>
                    <a:pt x="3275" y="1303"/>
                    <a:pt x="2889" y="555"/>
                    <a:pt x="2244" y="143"/>
                  </a:cubicBezTo>
                  <a:cubicBezTo>
                    <a:pt x="2091" y="43"/>
                    <a:pt x="1906" y="0"/>
                    <a:pt x="171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545;p74">
              <a:extLst>
                <a:ext uri="{FF2B5EF4-FFF2-40B4-BE49-F238E27FC236}">
                  <a16:creationId xmlns:a16="http://schemas.microsoft.com/office/drawing/2014/main" id="{AB113870-BE1B-432A-AF29-CCE0A3B1BD5D}"/>
                </a:ext>
              </a:extLst>
            </p:cNvPr>
            <p:cNvSpPr/>
            <p:nvPr/>
          </p:nvSpPr>
          <p:spPr>
            <a:xfrm>
              <a:off x="1430752" y="2388064"/>
              <a:ext cx="43772" cy="44091"/>
            </a:xfrm>
            <a:custGeom>
              <a:avLst/>
              <a:gdLst/>
              <a:ahLst/>
              <a:cxnLst/>
              <a:rect l="l" t="t" r="r" b="b"/>
              <a:pathLst>
                <a:path w="1923" h="1937" extrusionOk="0">
                  <a:moveTo>
                    <a:pt x="1381" y="1"/>
                  </a:moveTo>
                  <a:cubicBezTo>
                    <a:pt x="1" y="439"/>
                    <a:pt x="388" y="1936"/>
                    <a:pt x="1357" y="1936"/>
                  </a:cubicBezTo>
                  <a:cubicBezTo>
                    <a:pt x="1529" y="1936"/>
                    <a:pt x="1720" y="1889"/>
                    <a:pt x="1922" y="1780"/>
                  </a:cubicBezTo>
                  <a:lnTo>
                    <a:pt x="13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546;p74">
              <a:extLst>
                <a:ext uri="{FF2B5EF4-FFF2-40B4-BE49-F238E27FC236}">
                  <a16:creationId xmlns:a16="http://schemas.microsoft.com/office/drawing/2014/main" id="{188A3CF9-3149-452C-8721-CFF5B5BFC4E2}"/>
                </a:ext>
              </a:extLst>
            </p:cNvPr>
            <p:cNvSpPr/>
            <p:nvPr/>
          </p:nvSpPr>
          <p:spPr>
            <a:xfrm>
              <a:off x="1441838" y="2331064"/>
              <a:ext cx="88455" cy="73455"/>
            </a:xfrm>
            <a:custGeom>
              <a:avLst/>
              <a:gdLst/>
              <a:ahLst/>
              <a:cxnLst/>
              <a:rect l="l" t="t" r="r" b="b"/>
              <a:pathLst>
                <a:path w="3886" h="3227" extrusionOk="0">
                  <a:moveTo>
                    <a:pt x="2331" y="0"/>
                  </a:moveTo>
                  <a:cubicBezTo>
                    <a:pt x="2032" y="0"/>
                    <a:pt x="1724" y="79"/>
                    <a:pt x="1435" y="235"/>
                  </a:cubicBezTo>
                  <a:cubicBezTo>
                    <a:pt x="474" y="738"/>
                    <a:pt x="0" y="1810"/>
                    <a:pt x="212" y="2838"/>
                  </a:cubicBezTo>
                  <a:lnTo>
                    <a:pt x="212" y="2838"/>
                  </a:lnTo>
                  <a:lnTo>
                    <a:pt x="197" y="2788"/>
                  </a:lnTo>
                  <a:lnTo>
                    <a:pt x="197" y="2788"/>
                  </a:lnTo>
                  <a:cubicBezTo>
                    <a:pt x="197" y="2917"/>
                    <a:pt x="223" y="3072"/>
                    <a:pt x="275" y="3201"/>
                  </a:cubicBezTo>
                  <a:lnTo>
                    <a:pt x="316" y="3201"/>
                  </a:lnTo>
                  <a:cubicBezTo>
                    <a:pt x="320" y="3209"/>
                    <a:pt x="323" y="3218"/>
                    <a:pt x="326" y="3227"/>
                  </a:cubicBezTo>
                  <a:lnTo>
                    <a:pt x="319" y="3201"/>
                  </a:lnTo>
                  <a:lnTo>
                    <a:pt x="507" y="3201"/>
                  </a:lnTo>
                  <a:cubicBezTo>
                    <a:pt x="300" y="2169"/>
                    <a:pt x="300" y="1267"/>
                    <a:pt x="1280" y="622"/>
                  </a:cubicBezTo>
                  <a:cubicBezTo>
                    <a:pt x="1595" y="406"/>
                    <a:pt x="1901" y="306"/>
                    <a:pt x="2191" y="306"/>
                  </a:cubicBezTo>
                  <a:cubicBezTo>
                    <a:pt x="2731" y="306"/>
                    <a:pt x="3215" y="653"/>
                    <a:pt x="3602" y="1241"/>
                  </a:cubicBezTo>
                  <a:cubicBezTo>
                    <a:pt x="3636" y="1241"/>
                    <a:pt x="3716" y="1252"/>
                    <a:pt x="3789" y="1252"/>
                  </a:cubicBezTo>
                  <a:cubicBezTo>
                    <a:pt x="3825" y="1252"/>
                    <a:pt x="3859" y="1249"/>
                    <a:pt x="3885" y="1241"/>
                  </a:cubicBezTo>
                  <a:cubicBezTo>
                    <a:pt x="3652" y="414"/>
                    <a:pt x="3017" y="0"/>
                    <a:pt x="233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547;p74">
              <a:extLst>
                <a:ext uri="{FF2B5EF4-FFF2-40B4-BE49-F238E27FC236}">
                  <a16:creationId xmlns:a16="http://schemas.microsoft.com/office/drawing/2014/main" id="{E42E5ABB-1BA5-4512-A72A-707ACCF08665}"/>
                </a:ext>
              </a:extLst>
            </p:cNvPr>
            <p:cNvSpPr/>
            <p:nvPr/>
          </p:nvSpPr>
          <p:spPr>
            <a:xfrm>
              <a:off x="1513247" y="2352439"/>
              <a:ext cx="44432" cy="52285"/>
            </a:xfrm>
            <a:custGeom>
              <a:avLst/>
              <a:gdLst/>
              <a:ahLst/>
              <a:cxnLst/>
              <a:rect l="l" t="t" r="r" b="b"/>
              <a:pathLst>
                <a:path w="1952" h="2297" extrusionOk="0">
                  <a:moveTo>
                    <a:pt x="416" y="0"/>
                  </a:moveTo>
                  <a:cubicBezTo>
                    <a:pt x="277" y="0"/>
                    <a:pt x="135" y="67"/>
                    <a:pt x="0" y="224"/>
                  </a:cubicBezTo>
                  <a:lnTo>
                    <a:pt x="232" y="534"/>
                  </a:lnTo>
                  <a:cubicBezTo>
                    <a:pt x="336" y="1153"/>
                    <a:pt x="387" y="1694"/>
                    <a:pt x="542" y="2288"/>
                  </a:cubicBezTo>
                  <a:cubicBezTo>
                    <a:pt x="593" y="2294"/>
                    <a:pt x="641" y="2297"/>
                    <a:pt x="686" y="2297"/>
                  </a:cubicBezTo>
                  <a:cubicBezTo>
                    <a:pt x="1951" y="2297"/>
                    <a:pt x="1231" y="0"/>
                    <a:pt x="41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548;p74">
              <a:extLst>
                <a:ext uri="{FF2B5EF4-FFF2-40B4-BE49-F238E27FC236}">
                  <a16:creationId xmlns:a16="http://schemas.microsoft.com/office/drawing/2014/main" id="{4E539CF3-84CD-498F-A145-EBC4FEF35DC9}"/>
                </a:ext>
              </a:extLst>
            </p:cNvPr>
            <p:cNvSpPr/>
            <p:nvPr/>
          </p:nvSpPr>
          <p:spPr>
            <a:xfrm>
              <a:off x="1151009" y="1934749"/>
              <a:ext cx="104525" cy="84631"/>
            </a:xfrm>
            <a:custGeom>
              <a:avLst/>
              <a:gdLst/>
              <a:ahLst/>
              <a:cxnLst/>
              <a:rect l="l" t="t" r="r" b="b"/>
              <a:pathLst>
                <a:path w="4592" h="3718" extrusionOk="0">
                  <a:moveTo>
                    <a:pt x="2452" y="0"/>
                  </a:moveTo>
                  <a:cubicBezTo>
                    <a:pt x="1215" y="0"/>
                    <a:pt x="126" y="1083"/>
                    <a:pt x="26" y="2480"/>
                  </a:cubicBezTo>
                  <a:cubicBezTo>
                    <a:pt x="0" y="2918"/>
                    <a:pt x="52" y="3331"/>
                    <a:pt x="207" y="3718"/>
                  </a:cubicBezTo>
                  <a:lnTo>
                    <a:pt x="671" y="3512"/>
                  </a:lnTo>
                  <a:cubicBezTo>
                    <a:pt x="490" y="3151"/>
                    <a:pt x="413" y="2738"/>
                    <a:pt x="439" y="2351"/>
                  </a:cubicBezTo>
                  <a:cubicBezTo>
                    <a:pt x="538" y="1187"/>
                    <a:pt x="1398" y="309"/>
                    <a:pt x="2424" y="309"/>
                  </a:cubicBezTo>
                  <a:cubicBezTo>
                    <a:pt x="2467" y="309"/>
                    <a:pt x="2510" y="310"/>
                    <a:pt x="2554" y="314"/>
                  </a:cubicBezTo>
                  <a:cubicBezTo>
                    <a:pt x="3379" y="391"/>
                    <a:pt x="4075" y="984"/>
                    <a:pt x="4256" y="1809"/>
                  </a:cubicBezTo>
                  <a:lnTo>
                    <a:pt x="4591" y="1655"/>
                  </a:lnTo>
                  <a:cubicBezTo>
                    <a:pt x="4307" y="752"/>
                    <a:pt x="3508" y="107"/>
                    <a:pt x="2580" y="4"/>
                  </a:cubicBezTo>
                  <a:cubicBezTo>
                    <a:pt x="2537" y="2"/>
                    <a:pt x="2495" y="0"/>
                    <a:pt x="2452"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549;p74">
              <a:extLst>
                <a:ext uri="{FF2B5EF4-FFF2-40B4-BE49-F238E27FC236}">
                  <a16:creationId xmlns:a16="http://schemas.microsoft.com/office/drawing/2014/main" id="{C444262E-2E30-4D90-87A5-9DA302BA2B87}"/>
                </a:ext>
              </a:extLst>
            </p:cNvPr>
            <p:cNvSpPr/>
            <p:nvPr/>
          </p:nvSpPr>
          <p:spPr>
            <a:xfrm>
              <a:off x="1135735" y="2009983"/>
              <a:ext cx="58158" cy="49395"/>
            </a:xfrm>
            <a:custGeom>
              <a:avLst/>
              <a:gdLst/>
              <a:ahLst/>
              <a:cxnLst/>
              <a:rect l="l" t="t" r="r" b="b"/>
              <a:pathLst>
                <a:path w="2555" h="2170" extrusionOk="0">
                  <a:moveTo>
                    <a:pt x="1445" y="0"/>
                  </a:moveTo>
                  <a:cubicBezTo>
                    <a:pt x="491" y="0"/>
                    <a:pt x="1" y="1109"/>
                    <a:pt x="620" y="1806"/>
                  </a:cubicBezTo>
                  <a:cubicBezTo>
                    <a:pt x="842" y="2056"/>
                    <a:pt x="1134" y="2169"/>
                    <a:pt x="1422" y="2169"/>
                  </a:cubicBezTo>
                  <a:cubicBezTo>
                    <a:pt x="1936" y="2169"/>
                    <a:pt x="2436" y="1807"/>
                    <a:pt x="2503" y="1212"/>
                  </a:cubicBezTo>
                  <a:cubicBezTo>
                    <a:pt x="2554" y="568"/>
                    <a:pt x="2064" y="26"/>
                    <a:pt x="1445"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550;p74">
              <a:extLst>
                <a:ext uri="{FF2B5EF4-FFF2-40B4-BE49-F238E27FC236}">
                  <a16:creationId xmlns:a16="http://schemas.microsoft.com/office/drawing/2014/main" id="{3B45B1DF-7913-4F47-8C02-6E0420F50526}"/>
                </a:ext>
              </a:extLst>
            </p:cNvPr>
            <p:cNvSpPr/>
            <p:nvPr/>
          </p:nvSpPr>
          <p:spPr>
            <a:xfrm>
              <a:off x="1222624" y="1967119"/>
              <a:ext cx="58158" cy="49395"/>
            </a:xfrm>
            <a:custGeom>
              <a:avLst/>
              <a:gdLst/>
              <a:ahLst/>
              <a:cxnLst/>
              <a:rect l="l" t="t" r="r" b="b"/>
              <a:pathLst>
                <a:path w="2555" h="2170" extrusionOk="0">
                  <a:moveTo>
                    <a:pt x="1445" y="1"/>
                  </a:moveTo>
                  <a:cubicBezTo>
                    <a:pt x="517" y="1"/>
                    <a:pt x="1" y="1110"/>
                    <a:pt x="646" y="1806"/>
                  </a:cubicBezTo>
                  <a:cubicBezTo>
                    <a:pt x="868" y="2056"/>
                    <a:pt x="1160" y="2170"/>
                    <a:pt x="1448" y="2170"/>
                  </a:cubicBezTo>
                  <a:cubicBezTo>
                    <a:pt x="1962" y="2170"/>
                    <a:pt x="2462" y="1808"/>
                    <a:pt x="2528" y="1213"/>
                  </a:cubicBezTo>
                  <a:cubicBezTo>
                    <a:pt x="2554" y="568"/>
                    <a:pt x="2064" y="26"/>
                    <a:pt x="1445" y="1"/>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551;p74">
              <a:extLst>
                <a:ext uri="{FF2B5EF4-FFF2-40B4-BE49-F238E27FC236}">
                  <a16:creationId xmlns:a16="http://schemas.microsoft.com/office/drawing/2014/main" id="{9CB4AA1E-5EF8-454E-9F7F-35AC465D5FEA}"/>
                </a:ext>
              </a:extLst>
            </p:cNvPr>
            <p:cNvSpPr/>
            <p:nvPr/>
          </p:nvSpPr>
          <p:spPr>
            <a:xfrm>
              <a:off x="1369995" y="1814966"/>
              <a:ext cx="105094" cy="84654"/>
            </a:xfrm>
            <a:custGeom>
              <a:avLst/>
              <a:gdLst/>
              <a:ahLst/>
              <a:cxnLst/>
              <a:rect l="l" t="t" r="r" b="b"/>
              <a:pathLst>
                <a:path w="4617" h="3719" extrusionOk="0">
                  <a:moveTo>
                    <a:pt x="2452" y="1"/>
                  </a:moveTo>
                  <a:cubicBezTo>
                    <a:pt x="1216" y="1"/>
                    <a:pt x="152" y="1084"/>
                    <a:pt x="52" y="2481"/>
                  </a:cubicBezTo>
                  <a:cubicBezTo>
                    <a:pt x="0" y="2919"/>
                    <a:pt x="78" y="3332"/>
                    <a:pt x="232" y="3719"/>
                  </a:cubicBezTo>
                  <a:lnTo>
                    <a:pt x="671" y="3512"/>
                  </a:lnTo>
                  <a:cubicBezTo>
                    <a:pt x="516" y="3151"/>
                    <a:pt x="439" y="2739"/>
                    <a:pt x="465" y="2352"/>
                  </a:cubicBezTo>
                  <a:cubicBezTo>
                    <a:pt x="564" y="1188"/>
                    <a:pt x="1423" y="310"/>
                    <a:pt x="2450" y="310"/>
                  </a:cubicBezTo>
                  <a:cubicBezTo>
                    <a:pt x="2493" y="310"/>
                    <a:pt x="2536" y="311"/>
                    <a:pt x="2579" y="314"/>
                  </a:cubicBezTo>
                  <a:cubicBezTo>
                    <a:pt x="3405" y="392"/>
                    <a:pt x="4101" y="985"/>
                    <a:pt x="4282" y="1810"/>
                  </a:cubicBezTo>
                  <a:lnTo>
                    <a:pt x="4617" y="1655"/>
                  </a:lnTo>
                  <a:cubicBezTo>
                    <a:pt x="4333" y="753"/>
                    <a:pt x="3534" y="108"/>
                    <a:pt x="2579" y="5"/>
                  </a:cubicBezTo>
                  <a:cubicBezTo>
                    <a:pt x="2537" y="2"/>
                    <a:pt x="2495" y="1"/>
                    <a:pt x="24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552;p74">
              <a:extLst>
                <a:ext uri="{FF2B5EF4-FFF2-40B4-BE49-F238E27FC236}">
                  <a16:creationId xmlns:a16="http://schemas.microsoft.com/office/drawing/2014/main" id="{E5085B45-8657-4F6A-A80D-FA1A53A40255}"/>
                </a:ext>
              </a:extLst>
            </p:cNvPr>
            <p:cNvSpPr/>
            <p:nvPr/>
          </p:nvSpPr>
          <p:spPr>
            <a:xfrm>
              <a:off x="1355313" y="1890200"/>
              <a:ext cx="57566" cy="49417"/>
            </a:xfrm>
            <a:custGeom>
              <a:avLst/>
              <a:gdLst/>
              <a:ahLst/>
              <a:cxnLst/>
              <a:rect l="l" t="t" r="r" b="b"/>
              <a:pathLst>
                <a:path w="2529" h="2171" extrusionOk="0">
                  <a:moveTo>
                    <a:pt x="1419" y="1"/>
                  </a:moveTo>
                  <a:cubicBezTo>
                    <a:pt x="491" y="1"/>
                    <a:pt x="1" y="1110"/>
                    <a:pt x="620" y="1806"/>
                  </a:cubicBezTo>
                  <a:cubicBezTo>
                    <a:pt x="842" y="2056"/>
                    <a:pt x="1134" y="2170"/>
                    <a:pt x="1422" y="2170"/>
                  </a:cubicBezTo>
                  <a:cubicBezTo>
                    <a:pt x="1936" y="2170"/>
                    <a:pt x="2436" y="1808"/>
                    <a:pt x="2502" y="1213"/>
                  </a:cubicBezTo>
                  <a:cubicBezTo>
                    <a:pt x="2528" y="568"/>
                    <a:pt x="2064" y="27"/>
                    <a:pt x="141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553;p74">
              <a:extLst>
                <a:ext uri="{FF2B5EF4-FFF2-40B4-BE49-F238E27FC236}">
                  <a16:creationId xmlns:a16="http://schemas.microsoft.com/office/drawing/2014/main" id="{FC4CBA8F-93E7-4F9C-A2CA-589B3AFF97F8}"/>
                </a:ext>
              </a:extLst>
            </p:cNvPr>
            <p:cNvSpPr/>
            <p:nvPr/>
          </p:nvSpPr>
          <p:spPr>
            <a:xfrm>
              <a:off x="1442202" y="1847951"/>
              <a:ext cx="58135" cy="49213"/>
            </a:xfrm>
            <a:custGeom>
              <a:avLst/>
              <a:gdLst/>
              <a:ahLst/>
              <a:cxnLst/>
              <a:rect l="l" t="t" r="r" b="b"/>
              <a:pathLst>
                <a:path w="2554" h="2162" extrusionOk="0">
                  <a:moveTo>
                    <a:pt x="1445" y="0"/>
                  </a:moveTo>
                  <a:cubicBezTo>
                    <a:pt x="491" y="0"/>
                    <a:pt x="1" y="1109"/>
                    <a:pt x="620" y="1805"/>
                  </a:cubicBezTo>
                  <a:cubicBezTo>
                    <a:pt x="847" y="2051"/>
                    <a:pt x="1138" y="2162"/>
                    <a:pt x="1425" y="2162"/>
                  </a:cubicBezTo>
                  <a:cubicBezTo>
                    <a:pt x="1951" y="2162"/>
                    <a:pt x="2461" y="1788"/>
                    <a:pt x="2528" y="1186"/>
                  </a:cubicBezTo>
                  <a:cubicBezTo>
                    <a:pt x="2554" y="567"/>
                    <a:pt x="2064" y="26"/>
                    <a:pt x="14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554;p74">
              <a:extLst>
                <a:ext uri="{FF2B5EF4-FFF2-40B4-BE49-F238E27FC236}">
                  <a16:creationId xmlns:a16="http://schemas.microsoft.com/office/drawing/2014/main" id="{28D8C9B5-B2DB-4BC8-968F-667D9099E6EB}"/>
                </a:ext>
              </a:extLst>
            </p:cNvPr>
            <p:cNvSpPr/>
            <p:nvPr/>
          </p:nvSpPr>
          <p:spPr>
            <a:xfrm>
              <a:off x="1629478" y="2228286"/>
              <a:ext cx="94555" cy="76436"/>
            </a:xfrm>
            <a:custGeom>
              <a:avLst/>
              <a:gdLst/>
              <a:ahLst/>
              <a:cxnLst/>
              <a:rect l="l" t="t" r="r" b="b"/>
              <a:pathLst>
                <a:path w="4154" h="3358" extrusionOk="0">
                  <a:moveTo>
                    <a:pt x="2217" y="0"/>
                  </a:moveTo>
                  <a:cubicBezTo>
                    <a:pt x="1086" y="0"/>
                    <a:pt x="126" y="956"/>
                    <a:pt x="27" y="2222"/>
                  </a:cubicBezTo>
                  <a:cubicBezTo>
                    <a:pt x="1" y="2609"/>
                    <a:pt x="52" y="2996"/>
                    <a:pt x="207" y="3357"/>
                  </a:cubicBezTo>
                  <a:lnTo>
                    <a:pt x="620" y="3151"/>
                  </a:lnTo>
                  <a:cubicBezTo>
                    <a:pt x="465" y="2841"/>
                    <a:pt x="388" y="2480"/>
                    <a:pt x="414" y="2119"/>
                  </a:cubicBezTo>
                  <a:cubicBezTo>
                    <a:pt x="488" y="1082"/>
                    <a:pt x="1271" y="257"/>
                    <a:pt x="2198" y="257"/>
                  </a:cubicBezTo>
                  <a:cubicBezTo>
                    <a:pt x="2239" y="257"/>
                    <a:pt x="2281" y="259"/>
                    <a:pt x="2322" y="262"/>
                  </a:cubicBezTo>
                  <a:cubicBezTo>
                    <a:pt x="3070" y="340"/>
                    <a:pt x="3689" y="881"/>
                    <a:pt x="3869" y="1603"/>
                  </a:cubicBezTo>
                  <a:lnTo>
                    <a:pt x="4153" y="1475"/>
                  </a:lnTo>
                  <a:cubicBezTo>
                    <a:pt x="3895" y="675"/>
                    <a:pt x="3173" y="82"/>
                    <a:pt x="2348" y="4"/>
                  </a:cubicBezTo>
                  <a:cubicBezTo>
                    <a:pt x="2304" y="2"/>
                    <a:pt x="2260" y="0"/>
                    <a:pt x="2217"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555;p74">
              <a:extLst>
                <a:ext uri="{FF2B5EF4-FFF2-40B4-BE49-F238E27FC236}">
                  <a16:creationId xmlns:a16="http://schemas.microsoft.com/office/drawing/2014/main" id="{607FC76D-A464-402C-AEF4-AD55B600E312}"/>
                </a:ext>
              </a:extLst>
            </p:cNvPr>
            <p:cNvSpPr/>
            <p:nvPr/>
          </p:nvSpPr>
          <p:spPr>
            <a:xfrm>
              <a:off x="1616571" y="2295894"/>
              <a:ext cx="51694" cy="43863"/>
            </a:xfrm>
            <a:custGeom>
              <a:avLst/>
              <a:gdLst/>
              <a:ahLst/>
              <a:cxnLst/>
              <a:rect l="l" t="t" r="r" b="b"/>
              <a:pathLst>
                <a:path w="2271" h="1927" extrusionOk="0">
                  <a:moveTo>
                    <a:pt x="1264" y="0"/>
                  </a:moveTo>
                  <a:cubicBezTo>
                    <a:pt x="439" y="0"/>
                    <a:pt x="0" y="980"/>
                    <a:pt x="568" y="1599"/>
                  </a:cubicBezTo>
                  <a:cubicBezTo>
                    <a:pt x="764" y="1824"/>
                    <a:pt x="1025" y="1926"/>
                    <a:pt x="1283" y="1926"/>
                  </a:cubicBezTo>
                  <a:cubicBezTo>
                    <a:pt x="1735" y="1926"/>
                    <a:pt x="2179" y="1610"/>
                    <a:pt x="2244" y="1084"/>
                  </a:cubicBezTo>
                  <a:cubicBezTo>
                    <a:pt x="2270" y="516"/>
                    <a:pt x="1832" y="26"/>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556;p74">
              <a:extLst>
                <a:ext uri="{FF2B5EF4-FFF2-40B4-BE49-F238E27FC236}">
                  <a16:creationId xmlns:a16="http://schemas.microsoft.com/office/drawing/2014/main" id="{C31C6CDA-0F6A-4802-B7EB-BDE5548EFB7C}"/>
                </a:ext>
              </a:extLst>
            </p:cNvPr>
            <p:cNvSpPr/>
            <p:nvPr/>
          </p:nvSpPr>
          <p:spPr>
            <a:xfrm>
              <a:off x="1695834" y="2257150"/>
              <a:ext cx="51102" cy="44432"/>
            </a:xfrm>
            <a:custGeom>
              <a:avLst/>
              <a:gdLst/>
              <a:ahLst/>
              <a:cxnLst/>
              <a:rect l="l" t="t" r="r" b="b"/>
              <a:pathLst>
                <a:path w="2245" h="1952" extrusionOk="0">
                  <a:moveTo>
                    <a:pt x="1264" y="0"/>
                  </a:moveTo>
                  <a:cubicBezTo>
                    <a:pt x="413" y="26"/>
                    <a:pt x="0" y="1006"/>
                    <a:pt x="542" y="1625"/>
                  </a:cubicBezTo>
                  <a:cubicBezTo>
                    <a:pt x="738" y="1849"/>
                    <a:pt x="999" y="1952"/>
                    <a:pt x="1257" y="1952"/>
                  </a:cubicBezTo>
                  <a:cubicBezTo>
                    <a:pt x="1709" y="1952"/>
                    <a:pt x="2152" y="1635"/>
                    <a:pt x="2218" y="1109"/>
                  </a:cubicBezTo>
                  <a:cubicBezTo>
                    <a:pt x="2244" y="542"/>
                    <a:pt x="1831" y="52"/>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557;p74">
              <a:extLst>
                <a:ext uri="{FF2B5EF4-FFF2-40B4-BE49-F238E27FC236}">
                  <a16:creationId xmlns:a16="http://schemas.microsoft.com/office/drawing/2014/main" id="{4D3B7F6E-6709-4E7A-8211-13D5B9F4E5B0}"/>
                </a:ext>
              </a:extLst>
            </p:cNvPr>
            <p:cNvSpPr/>
            <p:nvPr/>
          </p:nvSpPr>
          <p:spPr>
            <a:xfrm>
              <a:off x="998356" y="2349753"/>
              <a:ext cx="104525" cy="84699"/>
            </a:xfrm>
            <a:custGeom>
              <a:avLst/>
              <a:gdLst/>
              <a:ahLst/>
              <a:cxnLst/>
              <a:rect l="l" t="t" r="r" b="b"/>
              <a:pathLst>
                <a:path w="4592" h="3721" extrusionOk="0">
                  <a:moveTo>
                    <a:pt x="2414" y="0"/>
                  </a:moveTo>
                  <a:cubicBezTo>
                    <a:pt x="1192" y="0"/>
                    <a:pt x="125" y="1076"/>
                    <a:pt x="27" y="2483"/>
                  </a:cubicBezTo>
                  <a:cubicBezTo>
                    <a:pt x="1" y="2896"/>
                    <a:pt x="52" y="3308"/>
                    <a:pt x="207" y="3721"/>
                  </a:cubicBezTo>
                  <a:lnTo>
                    <a:pt x="671" y="3489"/>
                  </a:lnTo>
                  <a:cubicBezTo>
                    <a:pt x="491" y="3128"/>
                    <a:pt x="414" y="2741"/>
                    <a:pt x="465" y="2328"/>
                  </a:cubicBezTo>
                  <a:cubicBezTo>
                    <a:pt x="539" y="1188"/>
                    <a:pt x="1400" y="286"/>
                    <a:pt x="2428" y="286"/>
                  </a:cubicBezTo>
                  <a:cubicBezTo>
                    <a:pt x="2470" y="286"/>
                    <a:pt x="2512" y="288"/>
                    <a:pt x="2554" y="291"/>
                  </a:cubicBezTo>
                  <a:cubicBezTo>
                    <a:pt x="3379" y="368"/>
                    <a:pt x="4076" y="987"/>
                    <a:pt x="4256" y="1787"/>
                  </a:cubicBezTo>
                  <a:lnTo>
                    <a:pt x="4592" y="1632"/>
                  </a:lnTo>
                  <a:cubicBezTo>
                    <a:pt x="4308" y="729"/>
                    <a:pt x="3508" y="85"/>
                    <a:pt x="2580" y="7"/>
                  </a:cubicBezTo>
                  <a:cubicBezTo>
                    <a:pt x="2524" y="3"/>
                    <a:pt x="2469" y="0"/>
                    <a:pt x="241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558;p74">
              <a:extLst>
                <a:ext uri="{FF2B5EF4-FFF2-40B4-BE49-F238E27FC236}">
                  <a16:creationId xmlns:a16="http://schemas.microsoft.com/office/drawing/2014/main" id="{D4D3ED07-78EA-47C0-B33C-6F0240CF80BA}"/>
                </a:ext>
              </a:extLst>
            </p:cNvPr>
            <p:cNvSpPr/>
            <p:nvPr/>
          </p:nvSpPr>
          <p:spPr>
            <a:xfrm>
              <a:off x="983104" y="2424463"/>
              <a:ext cx="58135" cy="49395"/>
            </a:xfrm>
            <a:custGeom>
              <a:avLst/>
              <a:gdLst/>
              <a:ahLst/>
              <a:cxnLst/>
              <a:rect l="l" t="t" r="r" b="b"/>
              <a:pathLst>
                <a:path w="2554" h="2170" extrusionOk="0">
                  <a:moveTo>
                    <a:pt x="1445" y="1"/>
                  </a:moveTo>
                  <a:cubicBezTo>
                    <a:pt x="490" y="1"/>
                    <a:pt x="0" y="1110"/>
                    <a:pt x="619" y="1806"/>
                  </a:cubicBezTo>
                  <a:cubicBezTo>
                    <a:pt x="842" y="2056"/>
                    <a:pt x="1134" y="2170"/>
                    <a:pt x="1422" y="2170"/>
                  </a:cubicBezTo>
                  <a:cubicBezTo>
                    <a:pt x="1936" y="2170"/>
                    <a:pt x="2436" y="1808"/>
                    <a:pt x="2502" y="1213"/>
                  </a:cubicBezTo>
                  <a:cubicBezTo>
                    <a:pt x="2554" y="568"/>
                    <a:pt x="2064" y="26"/>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559;p74">
              <a:extLst>
                <a:ext uri="{FF2B5EF4-FFF2-40B4-BE49-F238E27FC236}">
                  <a16:creationId xmlns:a16="http://schemas.microsoft.com/office/drawing/2014/main" id="{EEF2E225-CC60-4CC7-9AB4-2808E748972E}"/>
                </a:ext>
              </a:extLst>
            </p:cNvPr>
            <p:cNvSpPr/>
            <p:nvPr/>
          </p:nvSpPr>
          <p:spPr>
            <a:xfrm>
              <a:off x="1069993" y="2381599"/>
              <a:ext cx="58135" cy="49827"/>
            </a:xfrm>
            <a:custGeom>
              <a:avLst/>
              <a:gdLst/>
              <a:ahLst/>
              <a:cxnLst/>
              <a:rect l="l" t="t" r="r" b="b"/>
              <a:pathLst>
                <a:path w="2554" h="2189" extrusionOk="0">
                  <a:moveTo>
                    <a:pt x="1445" y="1"/>
                  </a:moveTo>
                  <a:cubicBezTo>
                    <a:pt x="516" y="1"/>
                    <a:pt x="0" y="1110"/>
                    <a:pt x="645" y="1832"/>
                  </a:cubicBezTo>
                  <a:cubicBezTo>
                    <a:pt x="863" y="2077"/>
                    <a:pt x="1149" y="2188"/>
                    <a:pt x="1431" y="2188"/>
                  </a:cubicBezTo>
                  <a:cubicBezTo>
                    <a:pt x="1951" y="2188"/>
                    <a:pt x="2461" y="1814"/>
                    <a:pt x="2528" y="1213"/>
                  </a:cubicBezTo>
                  <a:cubicBezTo>
                    <a:pt x="2554" y="594"/>
                    <a:pt x="2064" y="52"/>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560;p74">
              <a:extLst>
                <a:ext uri="{FF2B5EF4-FFF2-40B4-BE49-F238E27FC236}">
                  <a16:creationId xmlns:a16="http://schemas.microsoft.com/office/drawing/2014/main" id="{E5EA1276-A440-4DF2-91E8-D007AB94B32B}"/>
                </a:ext>
              </a:extLst>
            </p:cNvPr>
            <p:cNvSpPr/>
            <p:nvPr/>
          </p:nvSpPr>
          <p:spPr>
            <a:xfrm>
              <a:off x="1557864" y="1705132"/>
              <a:ext cx="104525" cy="84699"/>
            </a:xfrm>
            <a:custGeom>
              <a:avLst/>
              <a:gdLst/>
              <a:ahLst/>
              <a:cxnLst/>
              <a:rect l="l" t="t" r="r" b="b"/>
              <a:pathLst>
                <a:path w="4592" h="3721" extrusionOk="0">
                  <a:moveTo>
                    <a:pt x="2413" y="0"/>
                  </a:moveTo>
                  <a:cubicBezTo>
                    <a:pt x="1192" y="0"/>
                    <a:pt x="125" y="1076"/>
                    <a:pt x="26" y="2483"/>
                  </a:cubicBezTo>
                  <a:cubicBezTo>
                    <a:pt x="0" y="2895"/>
                    <a:pt x="52" y="3308"/>
                    <a:pt x="207" y="3721"/>
                  </a:cubicBezTo>
                  <a:lnTo>
                    <a:pt x="671" y="3514"/>
                  </a:lnTo>
                  <a:cubicBezTo>
                    <a:pt x="490" y="3128"/>
                    <a:pt x="413" y="2741"/>
                    <a:pt x="465" y="2354"/>
                  </a:cubicBezTo>
                  <a:cubicBezTo>
                    <a:pt x="539" y="1189"/>
                    <a:pt x="1399" y="286"/>
                    <a:pt x="2428" y="286"/>
                  </a:cubicBezTo>
                  <a:cubicBezTo>
                    <a:pt x="2469" y="286"/>
                    <a:pt x="2511" y="288"/>
                    <a:pt x="2554" y="291"/>
                  </a:cubicBezTo>
                  <a:cubicBezTo>
                    <a:pt x="3379" y="394"/>
                    <a:pt x="4075" y="987"/>
                    <a:pt x="4256" y="1786"/>
                  </a:cubicBezTo>
                  <a:lnTo>
                    <a:pt x="4591" y="1632"/>
                  </a:lnTo>
                  <a:cubicBezTo>
                    <a:pt x="4307" y="729"/>
                    <a:pt x="3508" y="84"/>
                    <a:pt x="2579" y="7"/>
                  </a:cubicBezTo>
                  <a:cubicBezTo>
                    <a:pt x="2524" y="2"/>
                    <a:pt x="2468" y="0"/>
                    <a:pt x="241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561;p74">
              <a:extLst>
                <a:ext uri="{FF2B5EF4-FFF2-40B4-BE49-F238E27FC236}">
                  <a16:creationId xmlns:a16="http://schemas.microsoft.com/office/drawing/2014/main" id="{193520B4-BDD4-4886-AA3D-AA69FC2508B4}"/>
                </a:ext>
              </a:extLst>
            </p:cNvPr>
            <p:cNvSpPr/>
            <p:nvPr/>
          </p:nvSpPr>
          <p:spPr>
            <a:xfrm>
              <a:off x="1542590" y="1779842"/>
              <a:ext cx="58158" cy="49645"/>
            </a:xfrm>
            <a:custGeom>
              <a:avLst/>
              <a:gdLst/>
              <a:ahLst/>
              <a:cxnLst/>
              <a:rect l="l" t="t" r="r" b="b"/>
              <a:pathLst>
                <a:path w="2555" h="2181" extrusionOk="0">
                  <a:moveTo>
                    <a:pt x="1445" y="0"/>
                  </a:moveTo>
                  <a:cubicBezTo>
                    <a:pt x="491" y="0"/>
                    <a:pt x="1" y="1109"/>
                    <a:pt x="620" y="1806"/>
                  </a:cubicBezTo>
                  <a:cubicBezTo>
                    <a:pt x="842" y="2065"/>
                    <a:pt x="1133" y="2181"/>
                    <a:pt x="1422" y="2181"/>
                  </a:cubicBezTo>
                  <a:cubicBezTo>
                    <a:pt x="1938" y="2181"/>
                    <a:pt x="2446" y="1808"/>
                    <a:pt x="2528" y="1212"/>
                  </a:cubicBezTo>
                  <a:cubicBezTo>
                    <a:pt x="2554" y="593"/>
                    <a:pt x="2064" y="52"/>
                    <a:pt x="14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562;p74">
              <a:extLst>
                <a:ext uri="{FF2B5EF4-FFF2-40B4-BE49-F238E27FC236}">
                  <a16:creationId xmlns:a16="http://schemas.microsoft.com/office/drawing/2014/main" id="{C0A57570-6EAE-459B-A02F-CA9FEC1C7230}"/>
                </a:ext>
              </a:extLst>
            </p:cNvPr>
            <p:cNvSpPr/>
            <p:nvPr/>
          </p:nvSpPr>
          <p:spPr>
            <a:xfrm>
              <a:off x="1630070" y="1737570"/>
              <a:ext cx="57566" cy="49395"/>
            </a:xfrm>
            <a:custGeom>
              <a:avLst/>
              <a:gdLst/>
              <a:ahLst/>
              <a:cxnLst/>
              <a:rect l="l" t="t" r="r" b="b"/>
              <a:pathLst>
                <a:path w="2529" h="2170" extrusionOk="0">
                  <a:moveTo>
                    <a:pt x="1419" y="0"/>
                  </a:moveTo>
                  <a:cubicBezTo>
                    <a:pt x="491" y="0"/>
                    <a:pt x="1" y="1109"/>
                    <a:pt x="620" y="1806"/>
                  </a:cubicBezTo>
                  <a:cubicBezTo>
                    <a:pt x="842" y="2056"/>
                    <a:pt x="1134" y="2170"/>
                    <a:pt x="1422" y="2170"/>
                  </a:cubicBezTo>
                  <a:cubicBezTo>
                    <a:pt x="1936" y="2170"/>
                    <a:pt x="2436" y="1808"/>
                    <a:pt x="2502" y="1213"/>
                  </a:cubicBezTo>
                  <a:cubicBezTo>
                    <a:pt x="2528" y="568"/>
                    <a:pt x="2064" y="26"/>
                    <a:pt x="141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563;p74">
              <a:extLst>
                <a:ext uri="{FF2B5EF4-FFF2-40B4-BE49-F238E27FC236}">
                  <a16:creationId xmlns:a16="http://schemas.microsoft.com/office/drawing/2014/main" id="{4453EDD3-9104-473E-953C-895F0AC8B62D}"/>
                </a:ext>
              </a:extLst>
            </p:cNvPr>
            <p:cNvSpPr/>
            <p:nvPr/>
          </p:nvSpPr>
          <p:spPr>
            <a:xfrm>
              <a:off x="1245524" y="2477207"/>
              <a:ext cx="104525" cy="84654"/>
            </a:xfrm>
            <a:custGeom>
              <a:avLst/>
              <a:gdLst/>
              <a:ahLst/>
              <a:cxnLst/>
              <a:rect l="l" t="t" r="r" b="b"/>
              <a:pathLst>
                <a:path w="4592" h="3719" extrusionOk="0">
                  <a:moveTo>
                    <a:pt x="2453" y="1"/>
                  </a:moveTo>
                  <a:cubicBezTo>
                    <a:pt x="1215" y="1"/>
                    <a:pt x="126" y="1084"/>
                    <a:pt x="27" y="2481"/>
                  </a:cubicBezTo>
                  <a:cubicBezTo>
                    <a:pt x="1" y="2893"/>
                    <a:pt x="52" y="3332"/>
                    <a:pt x="207" y="3719"/>
                  </a:cubicBezTo>
                  <a:lnTo>
                    <a:pt x="671" y="3512"/>
                  </a:lnTo>
                  <a:cubicBezTo>
                    <a:pt x="491" y="3151"/>
                    <a:pt x="439" y="2739"/>
                    <a:pt x="465" y="2352"/>
                  </a:cubicBezTo>
                  <a:cubicBezTo>
                    <a:pt x="539" y="1188"/>
                    <a:pt x="1422" y="310"/>
                    <a:pt x="2428" y="310"/>
                  </a:cubicBezTo>
                  <a:cubicBezTo>
                    <a:pt x="2470" y="310"/>
                    <a:pt x="2512" y="311"/>
                    <a:pt x="2554" y="314"/>
                  </a:cubicBezTo>
                  <a:cubicBezTo>
                    <a:pt x="3379" y="392"/>
                    <a:pt x="4076" y="985"/>
                    <a:pt x="4282" y="1784"/>
                  </a:cubicBezTo>
                  <a:lnTo>
                    <a:pt x="4591" y="1630"/>
                  </a:lnTo>
                  <a:cubicBezTo>
                    <a:pt x="4308" y="753"/>
                    <a:pt x="3508" y="108"/>
                    <a:pt x="2580" y="5"/>
                  </a:cubicBezTo>
                  <a:cubicBezTo>
                    <a:pt x="2537" y="2"/>
                    <a:pt x="2495" y="1"/>
                    <a:pt x="245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564;p74">
              <a:extLst>
                <a:ext uri="{FF2B5EF4-FFF2-40B4-BE49-F238E27FC236}">
                  <a16:creationId xmlns:a16="http://schemas.microsoft.com/office/drawing/2014/main" id="{850979A7-DEE3-451A-88EE-6688402CCCE8}"/>
                </a:ext>
              </a:extLst>
            </p:cNvPr>
            <p:cNvSpPr/>
            <p:nvPr/>
          </p:nvSpPr>
          <p:spPr>
            <a:xfrm>
              <a:off x="1230272" y="2552441"/>
              <a:ext cx="58135" cy="49372"/>
            </a:xfrm>
            <a:custGeom>
              <a:avLst/>
              <a:gdLst/>
              <a:ahLst/>
              <a:cxnLst/>
              <a:rect l="l" t="t" r="r" b="b"/>
              <a:pathLst>
                <a:path w="2554" h="2169" extrusionOk="0">
                  <a:moveTo>
                    <a:pt x="1444" y="1"/>
                  </a:moveTo>
                  <a:cubicBezTo>
                    <a:pt x="490" y="1"/>
                    <a:pt x="0" y="1110"/>
                    <a:pt x="619" y="1806"/>
                  </a:cubicBezTo>
                  <a:cubicBezTo>
                    <a:pt x="850" y="2055"/>
                    <a:pt x="1146" y="2169"/>
                    <a:pt x="1436" y="2169"/>
                  </a:cubicBezTo>
                  <a:cubicBezTo>
                    <a:pt x="1958" y="2169"/>
                    <a:pt x="2461" y="1801"/>
                    <a:pt x="2528" y="1187"/>
                  </a:cubicBezTo>
                  <a:cubicBezTo>
                    <a:pt x="2553" y="568"/>
                    <a:pt x="2063" y="27"/>
                    <a:pt x="14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565;p74">
              <a:extLst>
                <a:ext uri="{FF2B5EF4-FFF2-40B4-BE49-F238E27FC236}">
                  <a16:creationId xmlns:a16="http://schemas.microsoft.com/office/drawing/2014/main" id="{C918BC73-3D6A-42D4-9A71-3CC84BEB21C1}"/>
                </a:ext>
              </a:extLst>
            </p:cNvPr>
            <p:cNvSpPr/>
            <p:nvPr/>
          </p:nvSpPr>
          <p:spPr>
            <a:xfrm>
              <a:off x="1317753" y="2509599"/>
              <a:ext cx="57544" cy="49395"/>
            </a:xfrm>
            <a:custGeom>
              <a:avLst/>
              <a:gdLst/>
              <a:ahLst/>
              <a:cxnLst/>
              <a:rect l="l" t="t" r="r" b="b"/>
              <a:pathLst>
                <a:path w="2528" h="2170" extrusionOk="0">
                  <a:moveTo>
                    <a:pt x="1418" y="0"/>
                  </a:moveTo>
                  <a:cubicBezTo>
                    <a:pt x="490" y="0"/>
                    <a:pt x="0" y="1109"/>
                    <a:pt x="619" y="1806"/>
                  </a:cubicBezTo>
                  <a:cubicBezTo>
                    <a:pt x="841" y="2056"/>
                    <a:pt x="1133" y="2169"/>
                    <a:pt x="1421" y="2169"/>
                  </a:cubicBezTo>
                  <a:cubicBezTo>
                    <a:pt x="1935" y="2169"/>
                    <a:pt x="2436" y="1807"/>
                    <a:pt x="2502" y="1212"/>
                  </a:cubicBezTo>
                  <a:cubicBezTo>
                    <a:pt x="2527" y="568"/>
                    <a:pt x="2063" y="26"/>
                    <a:pt x="141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2499180" y="437906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5</a:t>
            </a: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126342" y="4257630"/>
            <a:ext cx="4250400"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Project Stages</a:t>
            </a: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flipH="1">
            <a:off x="4708020" y="4830419"/>
            <a:ext cx="758558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566720" y="47710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5135940" y="4822791"/>
            <a:ext cx="4075800" cy="97174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1" i="0" u="none" strike="noStrike" kern="0" cap="none" spc="0" normalizeH="0" baseline="0" noProof="0" dirty="0">
                <a:ln>
                  <a:noFill/>
                </a:ln>
                <a:solidFill>
                  <a:srgbClr val="D5FA68"/>
                </a:solidFill>
                <a:effectLst/>
                <a:uLnTx/>
                <a:uFillTx/>
                <a:latin typeface="Sora"/>
                <a:cs typeface="Sora"/>
                <a:sym typeface="Sora"/>
              </a:rPr>
              <a:t>Unveil of budling stag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i="0" u="none" strike="noStrike" kern="0" cap="none" spc="0" normalizeH="0" baseline="0" noProof="0" dirty="0">
                <a:ln>
                  <a:noFill/>
                </a:ln>
                <a:solidFill>
                  <a:srgbClr val="FFFFFF"/>
                </a:solidFill>
                <a:effectLst/>
                <a:uLnTx/>
                <a:uFillTx/>
                <a:latin typeface="Sora"/>
                <a:cs typeface="Sora"/>
                <a:sym typeface="Sora"/>
              </a:rPr>
              <a:t>Research</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rPr>
              <a:t>Develop</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i="0" u="none" strike="noStrike" kern="0" cap="none" spc="0" normalizeH="0" baseline="0" noProof="0" dirty="0">
                <a:ln>
                  <a:noFill/>
                </a:ln>
                <a:solidFill>
                  <a:srgbClr val="FFFFFF"/>
                </a:solidFill>
                <a:effectLst/>
                <a:uLnTx/>
                <a:uFillTx/>
                <a:latin typeface="Sora"/>
                <a:cs typeface="Sora"/>
                <a:sym typeface="Sora"/>
              </a:rPr>
              <a:t>Evolution / Iteration Build</a:t>
            </a:r>
          </a:p>
        </p:txBody>
      </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766774" y="3954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7855374">
            <a:off x="2175791" y="295172"/>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10493759" y="2934904"/>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10976443" y="403626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8775616" y="-951003"/>
            <a:ext cx="4396029" cy="4929411"/>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105;p69">
            <a:extLst>
              <a:ext uri="{FF2B5EF4-FFF2-40B4-BE49-F238E27FC236}">
                <a16:creationId xmlns:a16="http://schemas.microsoft.com/office/drawing/2014/main" id="{BFC94E45-B122-4A66-878F-4F3F2878CF60}"/>
              </a:ext>
            </a:extLst>
          </p:cNvPr>
          <p:cNvSpPr/>
          <p:nvPr/>
        </p:nvSpPr>
        <p:spPr>
          <a:xfrm>
            <a:off x="1519972" y="52420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105;p69">
            <a:extLst>
              <a:ext uri="{FF2B5EF4-FFF2-40B4-BE49-F238E27FC236}">
                <a16:creationId xmlns:a16="http://schemas.microsoft.com/office/drawing/2014/main" id="{ED928CF5-8875-488D-8533-0839D1B70A78}"/>
              </a:ext>
            </a:extLst>
          </p:cNvPr>
          <p:cNvSpPr/>
          <p:nvPr/>
        </p:nvSpPr>
        <p:spPr>
          <a:xfrm>
            <a:off x="2624054" y="48646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4" name="Group 253">
            <a:extLst>
              <a:ext uri="{FF2B5EF4-FFF2-40B4-BE49-F238E27FC236}">
                <a16:creationId xmlns:a16="http://schemas.microsoft.com/office/drawing/2014/main" id="{05690477-3F01-4E1F-85BC-5CF3D27D3C55}"/>
              </a:ext>
            </a:extLst>
          </p:cNvPr>
          <p:cNvGrpSpPr/>
          <p:nvPr/>
        </p:nvGrpSpPr>
        <p:grpSpPr>
          <a:xfrm>
            <a:off x="7836976" y="3977437"/>
            <a:ext cx="547271" cy="455226"/>
            <a:chOff x="5105762" y="4198067"/>
            <a:chExt cx="547271" cy="455226"/>
          </a:xfrm>
        </p:grpSpPr>
        <p:grpSp>
          <p:nvGrpSpPr>
            <p:cNvPr id="255" name="Group 254">
              <a:extLst>
                <a:ext uri="{FF2B5EF4-FFF2-40B4-BE49-F238E27FC236}">
                  <a16:creationId xmlns:a16="http://schemas.microsoft.com/office/drawing/2014/main" id="{EB842C59-9ED7-41A8-A006-ED5EFC9D584B}"/>
                </a:ext>
              </a:extLst>
            </p:cNvPr>
            <p:cNvGrpSpPr/>
            <p:nvPr/>
          </p:nvGrpSpPr>
          <p:grpSpPr>
            <a:xfrm>
              <a:off x="5241585" y="4198067"/>
              <a:ext cx="411448" cy="357384"/>
              <a:chOff x="5241585" y="4198067"/>
              <a:chExt cx="411448" cy="357384"/>
            </a:xfrm>
          </p:grpSpPr>
          <p:sp>
            <p:nvSpPr>
              <p:cNvPr id="257" name="Google Shape;658;p48">
                <a:extLst>
                  <a:ext uri="{FF2B5EF4-FFF2-40B4-BE49-F238E27FC236}">
                    <a16:creationId xmlns:a16="http://schemas.microsoft.com/office/drawing/2014/main" id="{E9C3BC82-C98B-4B4D-83F1-8AEE5F2E9DFA}"/>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59;p48">
                <a:extLst>
                  <a:ext uri="{FF2B5EF4-FFF2-40B4-BE49-F238E27FC236}">
                    <a16:creationId xmlns:a16="http://schemas.microsoft.com/office/drawing/2014/main" id="{BB8DD75A-D011-47A8-BC49-CE3D710592A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60;p48">
                <a:extLst>
                  <a:ext uri="{FF2B5EF4-FFF2-40B4-BE49-F238E27FC236}">
                    <a16:creationId xmlns:a16="http://schemas.microsoft.com/office/drawing/2014/main" id="{C23D944A-B9EC-413F-841A-781574C9982D}"/>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6" name="Google Shape;661;p48">
              <a:extLst>
                <a:ext uri="{FF2B5EF4-FFF2-40B4-BE49-F238E27FC236}">
                  <a16:creationId xmlns:a16="http://schemas.microsoft.com/office/drawing/2014/main" id="{B75D1144-13FB-4FA4-9851-EC135CE85A9B}"/>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9185113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a:ln>
                  <a:noFill/>
                </a:ln>
                <a:solidFill>
                  <a:srgbClr val="FFFFFF"/>
                </a:solidFill>
                <a:effectLst/>
                <a:uLnTx/>
                <a:uFillTx/>
                <a:latin typeface="Saira SemiCondensed ExtraBold"/>
                <a:sym typeface="Saira SemiCondensed ExtraBold"/>
              </a:rPr>
              <a:t>What are we working on?</a:t>
            </a:r>
            <a:endPar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1686917"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Metaverse</a:t>
            </a: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356048" y="4689880"/>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5349;p86">
            <a:extLst>
              <a:ext uri="{FF2B5EF4-FFF2-40B4-BE49-F238E27FC236}">
                <a16:creationId xmlns:a16="http://schemas.microsoft.com/office/drawing/2014/main" id="{D2AC13D4-9D1B-4B77-AE9C-EAF75C833D35}"/>
              </a:ext>
            </a:extLst>
          </p:cNvPr>
          <p:cNvSpPr/>
          <p:nvPr/>
        </p:nvSpPr>
        <p:spPr>
          <a:xfrm>
            <a:off x="1780788" y="2487074"/>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5201;p86">
            <a:extLst>
              <a:ext uri="{FF2B5EF4-FFF2-40B4-BE49-F238E27FC236}">
                <a16:creationId xmlns:a16="http://schemas.microsoft.com/office/drawing/2014/main" id="{DEE8D9E8-329C-472B-A37E-EDC3585CF1E2}"/>
              </a:ext>
            </a:extLst>
          </p:cNvPr>
          <p:cNvGrpSpPr/>
          <p:nvPr/>
        </p:nvGrpSpPr>
        <p:grpSpPr>
          <a:xfrm>
            <a:off x="7632319" y="2588184"/>
            <a:ext cx="479963" cy="389629"/>
            <a:chOff x="1190625" y="728300"/>
            <a:chExt cx="5228350" cy="4244325"/>
          </a:xfrm>
        </p:grpSpPr>
        <p:sp>
          <p:nvSpPr>
            <p:cNvPr id="46" name="Google Shape;5202;p86">
              <a:extLst>
                <a:ext uri="{FF2B5EF4-FFF2-40B4-BE49-F238E27FC236}">
                  <a16:creationId xmlns:a16="http://schemas.microsoft.com/office/drawing/2014/main" id="{29CBC86C-AB6F-4B68-8928-C980B771F154}"/>
                </a:ext>
              </a:extLst>
            </p:cNvPr>
            <p:cNvSpPr/>
            <p:nvPr/>
          </p:nvSpPr>
          <p:spPr>
            <a:xfrm>
              <a:off x="1803325" y="4173600"/>
              <a:ext cx="185675" cy="186300"/>
            </a:xfrm>
            <a:custGeom>
              <a:avLst/>
              <a:gdLst/>
              <a:ahLst/>
              <a:cxnLst/>
              <a:rect l="l" t="t" r="r" b="b"/>
              <a:pathLst>
                <a:path w="7427" h="7452" extrusionOk="0">
                  <a:moveTo>
                    <a:pt x="3726" y="1"/>
                  </a:moveTo>
                  <a:cubicBezTo>
                    <a:pt x="1667" y="1"/>
                    <a:pt x="1" y="1667"/>
                    <a:pt x="1" y="3726"/>
                  </a:cubicBezTo>
                  <a:cubicBezTo>
                    <a:pt x="1"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5203;p86">
              <a:extLst>
                <a:ext uri="{FF2B5EF4-FFF2-40B4-BE49-F238E27FC236}">
                  <a16:creationId xmlns:a16="http://schemas.microsoft.com/office/drawing/2014/main" id="{8BDF94FB-DF38-4F7B-AE02-31094B564C5C}"/>
                </a:ext>
              </a:extLst>
            </p:cNvPr>
            <p:cNvSpPr/>
            <p:nvPr/>
          </p:nvSpPr>
          <p:spPr>
            <a:xfrm>
              <a:off x="1190625" y="728300"/>
              <a:ext cx="1783025" cy="4244325"/>
            </a:xfrm>
            <a:custGeom>
              <a:avLst/>
              <a:gdLst/>
              <a:ahLst/>
              <a:cxnLst/>
              <a:rect l="l" t="t" r="r" b="b"/>
              <a:pathLst>
                <a:path w="71321" h="169773" extrusionOk="0">
                  <a:moveTo>
                    <a:pt x="18382" y="105878"/>
                  </a:moveTo>
                  <a:cubicBezTo>
                    <a:pt x="21764" y="105878"/>
                    <a:pt x="24509" y="108623"/>
                    <a:pt x="24509" y="112005"/>
                  </a:cubicBezTo>
                  <a:cubicBezTo>
                    <a:pt x="24509" y="115387"/>
                    <a:pt x="21764" y="118132"/>
                    <a:pt x="18382" y="118132"/>
                  </a:cubicBezTo>
                  <a:cubicBezTo>
                    <a:pt x="14999" y="118132"/>
                    <a:pt x="12254" y="115387"/>
                    <a:pt x="12254" y="112005"/>
                  </a:cubicBezTo>
                  <a:cubicBezTo>
                    <a:pt x="12254" y="108623"/>
                    <a:pt x="14999" y="105878"/>
                    <a:pt x="18382" y="105878"/>
                  </a:cubicBezTo>
                  <a:close/>
                  <a:moveTo>
                    <a:pt x="28234" y="125558"/>
                  </a:moveTo>
                  <a:cubicBezTo>
                    <a:pt x="37033" y="125558"/>
                    <a:pt x="44189" y="132740"/>
                    <a:pt x="44189" y="141538"/>
                  </a:cubicBezTo>
                  <a:cubicBezTo>
                    <a:pt x="44189" y="150337"/>
                    <a:pt x="37033" y="157518"/>
                    <a:pt x="28234" y="157518"/>
                  </a:cubicBezTo>
                  <a:cubicBezTo>
                    <a:pt x="19411" y="157518"/>
                    <a:pt x="12254" y="150337"/>
                    <a:pt x="12254" y="141538"/>
                  </a:cubicBezTo>
                  <a:cubicBezTo>
                    <a:pt x="12254" y="132740"/>
                    <a:pt x="19411" y="125558"/>
                    <a:pt x="28234" y="125558"/>
                  </a:cubicBezTo>
                  <a:close/>
                  <a:moveTo>
                    <a:pt x="6127" y="0"/>
                  </a:moveTo>
                  <a:cubicBezTo>
                    <a:pt x="2745" y="0"/>
                    <a:pt x="0" y="2745"/>
                    <a:pt x="0" y="6127"/>
                  </a:cubicBezTo>
                  <a:lnTo>
                    <a:pt x="0" y="163645"/>
                  </a:lnTo>
                  <a:cubicBezTo>
                    <a:pt x="0" y="167027"/>
                    <a:pt x="2745" y="169772"/>
                    <a:pt x="6127" y="169772"/>
                  </a:cubicBezTo>
                  <a:lnTo>
                    <a:pt x="65193" y="169772"/>
                  </a:lnTo>
                  <a:cubicBezTo>
                    <a:pt x="68576" y="169772"/>
                    <a:pt x="71321" y="167027"/>
                    <a:pt x="71321" y="163645"/>
                  </a:cubicBezTo>
                  <a:lnTo>
                    <a:pt x="71321" y="147469"/>
                  </a:lnTo>
                  <a:cubicBezTo>
                    <a:pt x="48944" y="135534"/>
                    <a:pt x="33675" y="111956"/>
                    <a:pt x="33675" y="84874"/>
                  </a:cubicBezTo>
                  <a:cubicBezTo>
                    <a:pt x="33675" y="57816"/>
                    <a:pt x="48944" y="34239"/>
                    <a:pt x="71321" y="22303"/>
                  </a:cubicBezTo>
                  <a:lnTo>
                    <a:pt x="71321" y="6127"/>
                  </a:lnTo>
                  <a:cubicBezTo>
                    <a:pt x="71321" y="2745"/>
                    <a:pt x="68576" y="0"/>
                    <a:pt x="6519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04;p86">
              <a:extLst>
                <a:ext uri="{FF2B5EF4-FFF2-40B4-BE49-F238E27FC236}">
                  <a16:creationId xmlns:a16="http://schemas.microsoft.com/office/drawing/2014/main" id="{C4A8EBB2-FAE5-4645-9F25-4DBE24E88334}"/>
                </a:ext>
              </a:extLst>
            </p:cNvPr>
            <p:cNvSpPr/>
            <p:nvPr/>
          </p:nvSpPr>
          <p:spPr>
            <a:xfrm>
              <a:off x="4635925" y="728300"/>
              <a:ext cx="1783050" cy="4244325"/>
            </a:xfrm>
            <a:custGeom>
              <a:avLst/>
              <a:gdLst/>
              <a:ahLst/>
              <a:cxnLst/>
              <a:rect l="l" t="t" r="r" b="b"/>
              <a:pathLst>
                <a:path w="71322" h="169773" extrusionOk="0">
                  <a:moveTo>
                    <a:pt x="43112" y="125558"/>
                  </a:moveTo>
                  <a:cubicBezTo>
                    <a:pt x="51910" y="125558"/>
                    <a:pt x="59067" y="132740"/>
                    <a:pt x="59067" y="141538"/>
                  </a:cubicBezTo>
                  <a:cubicBezTo>
                    <a:pt x="59067" y="150337"/>
                    <a:pt x="51910" y="157518"/>
                    <a:pt x="43112" y="157518"/>
                  </a:cubicBezTo>
                  <a:cubicBezTo>
                    <a:pt x="34289" y="157518"/>
                    <a:pt x="27132" y="150337"/>
                    <a:pt x="27132" y="141538"/>
                  </a:cubicBezTo>
                  <a:cubicBezTo>
                    <a:pt x="27132" y="132740"/>
                    <a:pt x="34289" y="125558"/>
                    <a:pt x="43112" y="125558"/>
                  </a:cubicBezTo>
                  <a:close/>
                  <a:moveTo>
                    <a:pt x="6128" y="0"/>
                  </a:moveTo>
                  <a:cubicBezTo>
                    <a:pt x="2746" y="0"/>
                    <a:pt x="1" y="2745"/>
                    <a:pt x="1" y="6127"/>
                  </a:cubicBezTo>
                  <a:lnTo>
                    <a:pt x="1" y="22303"/>
                  </a:lnTo>
                  <a:cubicBezTo>
                    <a:pt x="22377" y="34239"/>
                    <a:pt x="37646" y="57816"/>
                    <a:pt x="37646" y="84874"/>
                  </a:cubicBezTo>
                  <a:cubicBezTo>
                    <a:pt x="37646" y="111956"/>
                    <a:pt x="22377" y="135534"/>
                    <a:pt x="1" y="147469"/>
                  </a:cubicBezTo>
                  <a:lnTo>
                    <a:pt x="1" y="163645"/>
                  </a:lnTo>
                  <a:cubicBezTo>
                    <a:pt x="1" y="167027"/>
                    <a:pt x="2746" y="169772"/>
                    <a:pt x="6128" y="169772"/>
                  </a:cubicBezTo>
                  <a:lnTo>
                    <a:pt x="65194" y="169772"/>
                  </a:lnTo>
                  <a:cubicBezTo>
                    <a:pt x="68576" y="169772"/>
                    <a:pt x="71321" y="167027"/>
                    <a:pt x="71321" y="163645"/>
                  </a:cubicBezTo>
                  <a:lnTo>
                    <a:pt x="71321" y="6127"/>
                  </a:lnTo>
                  <a:cubicBezTo>
                    <a:pt x="71321" y="2745"/>
                    <a:pt x="68576" y="0"/>
                    <a:pt x="6519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05;p86">
              <a:extLst>
                <a:ext uri="{FF2B5EF4-FFF2-40B4-BE49-F238E27FC236}">
                  <a16:creationId xmlns:a16="http://schemas.microsoft.com/office/drawing/2014/main" id="{8345D510-E473-43B2-9DF0-ACE157E7D1B5}"/>
                </a:ext>
              </a:extLst>
            </p:cNvPr>
            <p:cNvSpPr/>
            <p:nvPr/>
          </p:nvSpPr>
          <p:spPr>
            <a:xfrm>
              <a:off x="5620575" y="4173600"/>
              <a:ext cx="185675" cy="186300"/>
            </a:xfrm>
            <a:custGeom>
              <a:avLst/>
              <a:gdLst/>
              <a:ahLst/>
              <a:cxnLst/>
              <a:rect l="l" t="t" r="r" b="b"/>
              <a:pathLst>
                <a:path w="7427" h="7452" extrusionOk="0">
                  <a:moveTo>
                    <a:pt x="3726" y="1"/>
                  </a:moveTo>
                  <a:cubicBezTo>
                    <a:pt x="1667" y="1"/>
                    <a:pt x="0" y="1667"/>
                    <a:pt x="0" y="3726"/>
                  </a:cubicBezTo>
                  <a:cubicBezTo>
                    <a:pt x="0"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06;p86">
              <a:extLst>
                <a:ext uri="{FF2B5EF4-FFF2-40B4-BE49-F238E27FC236}">
                  <a16:creationId xmlns:a16="http://schemas.microsoft.com/office/drawing/2014/main" id="{9DDF1062-C104-44F6-AC59-0B2A5C6A6B12}"/>
                </a:ext>
              </a:extLst>
            </p:cNvPr>
            <p:cNvSpPr/>
            <p:nvPr/>
          </p:nvSpPr>
          <p:spPr>
            <a:xfrm>
              <a:off x="2338850" y="1384500"/>
              <a:ext cx="2931875" cy="2931900"/>
            </a:xfrm>
            <a:custGeom>
              <a:avLst/>
              <a:gdLst/>
              <a:ahLst/>
              <a:cxnLst/>
              <a:rect l="l" t="t" r="r" b="b"/>
              <a:pathLst>
                <a:path w="117275" h="117276" extrusionOk="0">
                  <a:moveTo>
                    <a:pt x="65194" y="22966"/>
                  </a:moveTo>
                  <a:cubicBezTo>
                    <a:pt x="68600" y="22966"/>
                    <a:pt x="71321" y="25711"/>
                    <a:pt x="71321" y="29093"/>
                  </a:cubicBezTo>
                  <a:cubicBezTo>
                    <a:pt x="71321" y="32475"/>
                    <a:pt x="68600" y="35220"/>
                    <a:pt x="65194" y="35220"/>
                  </a:cubicBezTo>
                  <a:lnTo>
                    <a:pt x="52082" y="35220"/>
                  </a:lnTo>
                  <a:cubicBezTo>
                    <a:pt x="48699" y="35220"/>
                    <a:pt x="45954" y="32475"/>
                    <a:pt x="45954" y="29093"/>
                  </a:cubicBezTo>
                  <a:cubicBezTo>
                    <a:pt x="45954" y="25711"/>
                    <a:pt x="48699" y="22966"/>
                    <a:pt x="52082" y="22966"/>
                  </a:cubicBezTo>
                  <a:close/>
                  <a:moveTo>
                    <a:pt x="71762" y="78748"/>
                  </a:moveTo>
                  <a:cubicBezTo>
                    <a:pt x="75144" y="78748"/>
                    <a:pt x="77889" y="81493"/>
                    <a:pt x="77889" y="84875"/>
                  </a:cubicBezTo>
                  <a:cubicBezTo>
                    <a:pt x="77889" y="88282"/>
                    <a:pt x="75144" y="91002"/>
                    <a:pt x="71762" y="91002"/>
                  </a:cubicBezTo>
                  <a:lnTo>
                    <a:pt x="45513" y="91002"/>
                  </a:lnTo>
                  <a:cubicBezTo>
                    <a:pt x="42131" y="91002"/>
                    <a:pt x="39386" y="88282"/>
                    <a:pt x="39386" y="84875"/>
                  </a:cubicBezTo>
                  <a:cubicBezTo>
                    <a:pt x="39386" y="81493"/>
                    <a:pt x="42131" y="78748"/>
                    <a:pt x="45513" y="78748"/>
                  </a:cubicBezTo>
                  <a:close/>
                  <a:moveTo>
                    <a:pt x="58650" y="1"/>
                  </a:moveTo>
                  <a:cubicBezTo>
                    <a:pt x="26323" y="1"/>
                    <a:pt x="0" y="26299"/>
                    <a:pt x="0" y="58626"/>
                  </a:cubicBezTo>
                  <a:cubicBezTo>
                    <a:pt x="0" y="90953"/>
                    <a:pt x="26323" y="117275"/>
                    <a:pt x="58650" y="117275"/>
                  </a:cubicBezTo>
                  <a:cubicBezTo>
                    <a:pt x="90977" y="117275"/>
                    <a:pt x="117275" y="90953"/>
                    <a:pt x="117275" y="58626"/>
                  </a:cubicBezTo>
                  <a:cubicBezTo>
                    <a:pt x="117275" y="26299"/>
                    <a:pt x="90977" y="1"/>
                    <a:pt x="586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07;p86">
              <a:extLst>
                <a:ext uri="{FF2B5EF4-FFF2-40B4-BE49-F238E27FC236}">
                  <a16:creationId xmlns:a16="http://schemas.microsoft.com/office/drawing/2014/main" id="{89655945-6E69-451F-92AA-62CDBBEA78C5}"/>
                </a:ext>
              </a:extLst>
            </p:cNvPr>
            <p:cNvSpPr/>
            <p:nvPr/>
          </p:nvSpPr>
          <p:spPr>
            <a:xfrm>
              <a:off x="3279975" y="892500"/>
              <a:ext cx="1049625" cy="265325"/>
            </a:xfrm>
            <a:custGeom>
              <a:avLst/>
              <a:gdLst/>
              <a:ahLst/>
              <a:cxnLst/>
              <a:rect l="l" t="t" r="r" b="b"/>
              <a:pathLst>
                <a:path w="41985" h="10613" extrusionOk="0">
                  <a:moveTo>
                    <a:pt x="1" y="0"/>
                  </a:moveTo>
                  <a:lnTo>
                    <a:pt x="1" y="10613"/>
                  </a:lnTo>
                  <a:cubicBezTo>
                    <a:pt x="6643" y="8529"/>
                    <a:pt x="13701" y="7427"/>
                    <a:pt x="21005" y="7427"/>
                  </a:cubicBezTo>
                  <a:cubicBezTo>
                    <a:pt x="28309" y="7427"/>
                    <a:pt x="35367" y="8529"/>
                    <a:pt x="41984" y="10613"/>
                  </a:cubicBezTo>
                  <a:lnTo>
                    <a:pt x="4198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08;p86">
              <a:extLst>
                <a:ext uri="{FF2B5EF4-FFF2-40B4-BE49-F238E27FC236}">
                  <a16:creationId xmlns:a16="http://schemas.microsoft.com/office/drawing/2014/main" id="{268DF141-E921-4747-943B-B91E81CB5A22}"/>
                </a:ext>
              </a:extLst>
            </p:cNvPr>
            <p:cNvSpPr/>
            <p:nvPr/>
          </p:nvSpPr>
          <p:spPr>
            <a:xfrm>
              <a:off x="3279975" y="4543075"/>
              <a:ext cx="1049625" cy="265325"/>
            </a:xfrm>
            <a:custGeom>
              <a:avLst/>
              <a:gdLst/>
              <a:ahLst/>
              <a:cxnLst/>
              <a:rect l="l" t="t" r="r" b="b"/>
              <a:pathLst>
                <a:path w="41985" h="10613" extrusionOk="0">
                  <a:moveTo>
                    <a:pt x="1" y="1"/>
                  </a:moveTo>
                  <a:lnTo>
                    <a:pt x="1" y="10613"/>
                  </a:lnTo>
                  <a:lnTo>
                    <a:pt x="41984" y="10613"/>
                  </a:lnTo>
                  <a:lnTo>
                    <a:pt x="41984" y="1"/>
                  </a:lnTo>
                  <a:cubicBezTo>
                    <a:pt x="35367" y="2059"/>
                    <a:pt x="28309" y="3187"/>
                    <a:pt x="21005" y="3187"/>
                  </a:cubicBezTo>
                  <a:cubicBezTo>
                    <a:pt x="13701" y="3187"/>
                    <a:pt x="6643" y="2059"/>
                    <a:pt x="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291;p86">
            <a:extLst>
              <a:ext uri="{FF2B5EF4-FFF2-40B4-BE49-F238E27FC236}">
                <a16:creationId xmlns:a16="http://schemas.microsoft.com/office/drawing/2014/main" id="{03B83B92-5DC8-4E96-B5BA-2A584B18A77D}"/>
              </a:ext>
            </a:extLst>
          </p:cNvPr>
          <p:cNvGrpSpPr/>
          <p:nvPr/>
        </p:nvGrpSpPr>
        <p:grpSpPr>
          <a:xfrm>
            <a:off x="4766254" y="2498085"/>
            <a:ext cx="479963" cy="479963"/>
            <a:chOff x="1190625" y="238125"/>
            <a:chExt cx="5228350" cy="5228350"/>
          </a:xfrm>
        </p:grpSpPr>
        <p:sp>
          <p:nvSpPr>
            <p:cNvPr id="54" name="Google Shape;5292;p86">
              <a:extLst>
                <a:ext uri="{FF2B5EF4-FFF2-40B4-BE49-F238E27FC236}">
                  <a16:creationId xmlns:a16="http://schemas.microsoft.com/office/drawing/2014/main" id="{88BC8764-7B82-44B0-B55B-3AC15EC654CE}"/>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3;p86">
              <a:extLst>
                <a:ext uri="{FF2B5EF4-FFF2-40B4-BE49-F238E27FC236}">
                  <a16:creationId xmlns:a16="http://schemas.microsoft.com/office/drawing/2014/main" id="{2C00A6A2-A05C-484D-A496-4A61486EACE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294;p86">
              <a:extLst>
                <a:ext uri="{FF2B5EF4-FFF2-40B4-BE49-F238E27FC236}">
                  <a16:creationId xmlns:a16="http://schemas.microsoft.com/office/drawing/2014/main" id="{D5A92EE8-BB6C-4DBC-A624-85C316CBAB9B}"/>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295;p86">
              <a:extLst>
                <a:ext uri="{FF2B5EF4-FFF2-40B4-BE49-F238E27FC236}">
                  <a16:creationId xmlns:a16="http://schemas.microsoft.com/office/drawing/2014/main" id="{1343DAA2-1B97-46D9-9F23-E5E66DBEEB99}"/>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296;p86">
              <a:extLst>
                <a:ext uri="{FF2B5EF4-FFF2-40B4-BE49-F238E27FC236}">
                  <a16:creationId xmlns:a16="http://schemas.microsoft.com/office/drawing/2014/main" id="{1649A469-D5CB-405E-BAB2-0C79893125D8}"/>
                </a:ext>
              </a:extLst>
            </p:cNvPr>
            <p:cNvSpPr/>
            <p:nvPr/>
          </p:nvSpPr>
          <p:spPr>
            <a:xfrm>
              <a:off x="2891527" y="2841554"/>
              <a:ext cx="1827155" cy="1979726"/>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297;p86">
              <a:extLst>
                <a:ext uri="{FF2B5EF4-FFF2-40B4-BE49-F238E27FC236}">
                  <a16:creationId xmlns:a16="http://schemas.microsoft.com/office/drawing/2014/main" id="{3A1CA12A-5C7B-427C-96F5-521315F16B73}"/>
                </a:ext>
              </a:extLst>
            </p:cNvPr>
            <p:cNvSpPr/>
            <p:nvPr/>
          </p:nvSpPr>
          <p:spPr>
            <a:xfrm>
              <a:off x="4271374" y="2841554"/>
              <a:ext cx="1569802"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5298;p86">
              <a:extLst>
                <a:ext uri="{FF2B5EF4-FFF2-40B4-BE49-F238E27FC236}">
                  <a16:creationId xmlns:a16="http://schemas.microsoft.com/office/drawing/2014/main" id="{C8A247D3-307F-4B4E-A2A4-14EAB58C13A6}"/>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5299;p86">
              <a:extLst>
                <a:ext uri="{FF2B5EF4-FFF2-40B4-BE49-F238E27FC236}">
                  <a16:creationId xmlns:a16="http://schemas.microsoft.com/office/drawing/2014/main" id="{EBA14F65-40F8-4EC2-868E-80F54E18A5C7}"/>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5300;p86">
              <a:extLst>
                <a:ext uri="{FF2B5EF4-FFF2-40B4-BE49-F238E27FC236}">
                  <a16:creationId xmlns:a16="http://schemas.microsoft.com/office/drawing/2014/main" id="{E07EDB21-78EA-40A9-8085-BF611D38C261}"/>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301;p86">
              <a:extLst>
                <a:ext uri="{FF2B5EF4-FFF2-40B4-BE49-F238E27FC236}">
                  <a16:creationId xmlns:a16="http://schemas.microsoft.com/office/drawing/2014/main" id="{2FB7C908-4BF1-4D30-B683-73F84CF94CB0}"/>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712994"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R/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7527586" y="3052216"/>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67" name="Google Shape;1230;p54">
            <a:extLst>
              <a:ext uri="{FF2B5EF4-FFF2-40B4-BE49-F238E27FC236}">
                <a16:creationId xmlns:a16="http://schemas.microsoft.com/office/drawing/2014/main" id="{EA9E1A81-5F73-4486-A1F5-FAD802E8D0B4}"/>
              </a:ext>
            </a:extLst>
          </p:cNvPr>
          <p:cNvSpPr txBox="1">
            <a:spLocks/>
          </p:cNvSpPr>
          <p:nvPr/>
        </p:nvSpPr>
        <p:spPr>
          <a:xfrm>
            <a:off x="1687626" y="3486609"/>
            <a:ext cx="2759513" cy="137589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future of Internet evolution known as second life is expanding in multiple life software simulations</a:t>
            </a:r>
            <a:r>
              <a:rPr kumimoji="0" lang="el-GR" sz="1400" b="0" i="0" u="none" strike="noStrike" kern="0" cap="none" spc="0" normalizeH="0" baseline="0" noProof="0" dirty="0">
                <a:ln>
                  <a:noFill/>
                </a:ln>
                <a:solidFill>
                  <a:srgbClr val="FFFFFF"/>
                </a:solidFill>
                <a:effectLst/>
                <a:uLnTx/>
                <a:uFillTx/>
                <a:latin typeface="Sora"/>
                <a:cs typeface="Sora"/>
                <a:sym typeface="Sora"/>
              </a:rPr>
              <a:t> </a:t>
            </a:r>
            <a:r>
              <a:rPr kumimoji="0" lang="en-US" sz="1400" b="0" i="0" u="none" strike="noStrike" kern="0" cap="none" spc="0" normalizeH="0" baseline="0" noProof="0" dirty="0">
                <a:ln>
                  <a:noFill/>
                </a:ln>
                <a:solidFill>
                  <a:srgbClr val="FFFFFF"/>
                </a:solidFill>
                <a:effectLst/>
                <a:uLnTx/>
                <a:uFillTx/>
                <a:latin typeface="Sora"/>
                <a:cs typeface="Sora"/>
                <a:sym typeface="Sora"/>
              </a:rPr>
              <a:t>in physical or virtual world</a:t>
            </a:r>
          </a:p>
        </p:txBody>
      </p:sp>
      <p:sp>
        <p:nvSpPr>
          <p:cNvPr id="68" name="Google Shape;1233;p54">
            <a:extLst>
              <a:ext uri="{FF2B5EF4-FFF2-40B4-BE49-F238E27FC236}">
                <a16:creationId xmlns:a16="http://schemas.microsoft.com/office/drawing/2014/main" id="{9EC28865-D84F-4975-81EA-C4DF1872E8D5}"/>
              </a:ext>
            </a:extLst>
          </p:cNvPr>
          <p:cNvSpPr txBox="1">
            <a:spLocks/>
          </p:cNvSpPr>
          <p:nvPr/>
        </p:nvSpPr>
        <p:spPr>
          <a:xfrm>
            <a:off x="4647856" y="3480628"/>
            <a:ext cx="2759513" cy="9315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FFFFFF"/>
                </a:solidFill>
              </a:rPr>
              <a:t>Hardware Interfaces to interact with the immersive daily life simulated worl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69" name="Google Shape;1235;p54">
            <a:extLst>
              <a:ext uri="{FF2B5EF4-FFF2-40B4-BE49-F238E27FC236}">
                <a16:creationId xmlns:a16="http://schemas.microsoft.com/office/drawing/2014/main" id="{2BDCC4C9-8F95-47BD-9480-C92EA3C3E3FD}"/>
              </a:ext>
            </a:extLst>
          </p:cNvPr>
          <p:cNvSpPr txBox="1">
            <a:spLocks/>
          </p:cNvSpPr>
          <p:nvPr/>
        </p:nvSpPr>
        <p:spPr>
          <a:xfrm>
            <a:off x="7522500" y="3586890"/>
            <a:ext cx="3045867" cy="866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software APIs of AR/VR to bridge hardware with software user interaction inside metaverse </a:t>
            </a:r>
            <a:r>
              <a:rPr kumimoji="0" lang="en-US" sz="1400" b="0" i="0" u="none" strike="noStrike" kern="0" cap="none" spc="0" normalizeH="0" baseline="0" noProof="0" dirty="0">
                <a:ln>
                  <a:noFill/>
                </a:ln>
                <a:solidFill>
                  <a:srgbClr val="FFC000"/>
                </a:solidFill>
                <a:effectLst/>
                <a:uLnTx/>
                <a:uFillTx/>
                <a:latin typeface="Sora"/>
                <a:cs typeface="Sora"/>
                <a:sym typeface="Sora"/>
              </a:rPr>
              <a:t>plus</a:t>
            </a:r>
            <a:r>
              <a:rPr kumimoji="0" lang="en-US" sz="1400" b="0" i="0" u="none" strike="noStrike" kern="0" cap="none" spc="0" normalizeH="0" baseline="0" noProof="0" dirty="0">
                <a:ln>
                  <a:noFill/>
                </a:ln>
                <a:solidFill>
                  <a:srgbClr val="FFFFFF"/>
                </a:solidFill>
                <a:effectLst/>
                <a:uLnTx/>
                <a:uFillTx/>
                <a:latin typeface="Sora"/>
                <a:cs typeface="Sora"/>
                <a:sym typeface="Sora"/>
              </a:rPr>
              <a:t> </a:t>
            </a:r>
            <a:r>
              <a:rPr kumimoji="0" lang="en-US" sz="1400" b="0" i="0" u="none" strike="noStrike" kern="0" cap="none" spc="0" normalizeH="0" baseline="0" noProof="0" dirty="0">
                <a:ln>
                  <a:noFill/>
                </a:ln>
                <a:solidFill>
                  <a:srgbClr val="448B91"/>
                </a:solidFill>
                <a:effectLst/>
                <a:uLnTx/>
                <a:uFillTx/>
                <a:latin typeface="Sora"/>
                <a:cs typeface="Sora"/>
                <a:sym typeface="Sora"/>
              </a:rPr>
              <a:t>way</a:t>
            </a:r>
            <a:r>
              <a:rPr kumimoji="0" lang="en-US" sz="1400" b="0" i="0" u="none" strike="noStrike" kern="0" cap="none" spc="0" normalizeH="0" baseline="0" noProof="0" dirty="0">
                <a:ln>
                  <a:noFill/>
                </a:ln>
                <a:solidFill>
                  <a:srgbClr val="FFFFFF"/>
                </a:solidFill>
                <a:effectLst/>
                <a:uLnTx/>
                <a:uFillTx/>
                <a:latin typeface="Sora"/>
                <a:cs typeface="Sora"/>
                <a:sym typeface="Sora"/>
              </a:rPr>
              <a:t> </a:t>
            </a:r>
            <a:r>
              <a:rPr kumimoji="0" lang="en-US" sz="1400" b="0" i="0" u="none" strike="noStrike" kern="0" cap="none" spc="0" normalizeH="0" baseline="0" noProof="0" dirty="0">
                <a:ln>
                  <a:noFill/>
                </a:ln>
                <a:solidFill>
                  <a:srgbClr val="D5FA68"/>
                </a:solidFill>
                <a:effectLst/>
                <a:uLnTx/>
                <a:uFillTx/>
                <a:latin typeface="Sora"/>
                <a:cs typeface="Sora"/>
                <a:sym typeface="Sora"/>
              </a:rPr>
              <a:t>more</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0" name="Group 149">
            <a:extLst>
              <a:ext uri="{FF2B5EF4-FFF2-40B4-BE49-F238E27FC236}">
                <a16:creationId xmlns:a16="http://schemas.microsoft.com/office/drawing/2014/main" id="{7A5566D1-2F84-4DD2-988C-886621A40AA5}"/>
              </a:ext>
            </a:extLst>
          </p:cNvPr>
          <p:cNvGrpSpPr/>
          <p:nvPr/>
        </p:nvGrpSpPr>
        <p:grpSpPr>
          <a:xfrm>
            <a:off x="5433821" y="5139990"/>
            <a:ext cx="1187582" cy="1104265"/>
            <a:chOff x="9379963" y="4497336"/>
            <a:chExt cx="1187582" cy="1104265"/>
          </a:xfrm>
        </p:grpSpPr>
        <p:grpSp>
          <p:nvGrpSpPr>
            <p:cNvPr id="151" name="Google Shape;802;p51">
              <a:extLst>
                <a:ext uri="{FF2B5EF4-FFF2-40B4-BE49-F238E27FC236}">
                  <a16:creationId xmlns:a16="http://schemas.microsoft.com/office/drawing/2014/main" id="{CAC2292B-6338-444D-81D6-7E5ADC08AA1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178" name="Google Shape;803;p51">
                <a:extLst>
                  <a:ext uri="{FF2B5EF4-FFF2-40B4-BE49-F238E27FC236}">
                    <a16:creationId xmlns:a16="http://schemas.microsoft.com/office/drawing/2014/main" id="{ED869739-938B-4C19-922F-056A442E00E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9" name="Google Shape;804;p51">
                <a:extLst>
                  <a:ext uri="{FF2B5EF4-FFF2-40B4-BE49-F238E27FC236}">
                    <a16:creationId xmlns:a16="http://schemas.microsoft.com/office/drawing/2014/main" id="{06BD6824-83E8-4C74-B2CB-3A85F4A0BA8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0" name="Google Shape;805;p51">
                <a:extLst>
                  <a:ext uri="{FF2B5EF4-FFF2-40B4-BE49-F238E27FC236}">
                    <a16:creationId xmlns:a16="http://schemas.microsoft.com/office/drawing/2014/main" id="{D4AD92BA-F049-4FB0-A79C-D43BDDBEB44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Google Shape;806;p51">
                <a:extLst>
                  <a:ext uri="{FF2B5EF4-FFF2-40B4-BE49-F238E27FC236}">
                    <a16:creationId xmlns:a16="http://schemas.microsoft.com/office/drawing/2014/main" id="{9453C49E-AF43-411D-8C58-007510E9CCF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2" name="Google Shape;807;p51">
                <a:extLst>
                  <a:ext uri="{FF2B5EF4-FFF2-40B4-BE49-F238E27FC236}">
                    <a16:creationId xmlns:a16="http://schemas.microsoft.com/office/drawing/2014/main" id="{B878BF82-C809-40E7-BADA-AD3D66D4F6B2}"/>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3" name="Google Shape;808;p51">
                <a:extLst>
                  <a:ext uri="{FF2B5EF4-FFF2-40B4-BE49-F238E27FC236}">
                    <a16:creationId xmlns:a16="http://schemas.microsoft.com/office/drawing/2014/main" id="{A7515493-2EE5-4C35-8C77-00086D7595E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4" name="Google Shape;809;p51">
                <a:extLst>
                  <a:ext uri="{FF2B5EF4-FFF2-40B4-BE49-F238E27FC236}">
                    <a16:creationId xmlns:a16="http://schemas.microsoft.com/office/drawing/2014/main" id="{2D9036E8-83C1-4B35-A4A7-C6D305CB75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5" name="Google Shape;810;p51">
                <a:extLst>
                  <a:ext uri="{FF2B5EF4-FFF2-40B4-BE49-F238E27FC236}">
                    <a16:creationId xmlns:a16="http://schemas.microsoft.com/office/drawing/2014/main" id="{449042BC-AD2C-4274-A8F8-DDD25B65B2FB}"/>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6" name="Google Shape;811;p51">
                <a:extLst>
                  <a:ext uri="{FF2B5EF4-FFF2-40B4-BE49-F238E27FC236}">
                    <a16:creationId xmlns:a16="http://schemas.microsoft.com/office/drawing/2014/main" id="{6FB6EC87-BF5F-421E-9448-FCA6C1321A1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7" name="Google Shape;812;p51">
                <a:extLst>
                  <a:ext uri="{FF2B5EF4-FFF2-40B4-BE49-F238E27FC236}">
                    <a16:creationId xmlns:a16="http://schemas.microsoft.com/office/drawing/2014/main" id="{3376A71C-C5B3-4A5A-9013-FE834FFA5E5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8" name="Google Shape;813;p51">
                <a:extLst>
                  <a:ext uri="{FF2B5EF4-FFF2-40B4-BE49-F238E27FC236}">
                    <a16:creationId xmlns:a16="http://schemas.microsoft.com/office/drawing/2014/main" id="{AE430A8D-6711-4FA5-943F-901F0D4F9902}"/>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9" name="Google Shape;814;p51">
                <a:extLst>
                  <a:ext uri="{FF2B5EF4-FFF2-40B4-BE49-F238E27FC236}">
                    <a16:creationId xmlns:a16="http://schemas.microsoft.com/office/drawing/2014/main" id="{A8A8589A-14ED-407C-8144-24349CFE8B1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0" name="Google Shape;815;p51">
                <a:extLst>
                  <a:ext uri="{FF2B5EF4-FFF2-40B4-BE49-F238E27FC236}">
                    <a16:creationId xmlns:a16="http://schemas.microsoft.com/office/drawing/2014/main" id="{17F1860F-BC42-47D5-909E-B4C9BDB81EB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1" name="Google Shape;816;p51">
                <a:extLst>
                  <a:ext uri="{FF2B5EF4-FFF2-40B4-BE49-F238E27FC236}">
                    <a16:creationId xmlns:a16="http://schemas.microsoft.com/office/drawing/2014/main" id="{14A06DE7-887E-41FB-9659-7DC60C00409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2" name="Google Shape;817;p51">
                <a:extLst>
                  <a:ext uri="{FF2B5EF4-FFF2-40B4-BE49-F238E27FC236}">
                    <a16:creationId xmlns:a16="http://schemas.microsoft.com/office/drawing/2014/main" id="{E8371AA5-6116-43B0-A75F-ABA42882F90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3" name="Google Shape;818;p51">
                <a:extLst>
                  <a:ext uri="{FF2B5EF4-FFF2-40B4-BE49-F238E27FC236}">
                    <a16:creationId xmlns:a16="http://schemas.microsoft.com/office/drawing/2014/main" id="{5BF88F4F-0148-49B9-91AC-3294D4C5523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4" name="Google Shape;819;p51">
                <a:extLst>
                  <a:ext uri="{FF2B5EF4-FFF2-40B4-BE49-F238E27FC236}">
                    <a16:creationId xmlns:a16="http://schemas.microsoft.com/office/drawing/2014/main" id="{9AB2B0BE-FE7B-4537-8A26-63EC7AF62C4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5" name="Google Shape;820;p51">
                <a:extLst>
                  <a:ext uri="{FF2B5EF4-FFF2-40B4-BE49-F238E27FC236}">
                    <a16:creationId xmlns:a16="http://schemas.microsoft.com/office/drawing/2014/main" id="{44928E43-D685-4B2B-81E0-0781F123C83B}"/>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Google Shape;821;p51">
                <a:extLst>
                  <a:ext uri="{FF2B5EF4-FFF2-40B4-BE49-F238E27FC236}">
                    <a16:creationId xmlns:a16="http://schemas.microsoft.com/office/drawing/2014/main" id="{7ADDDE7E-58FB-4C3B-A0C3-ADFCB30F123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Google Shape;822;p51">
                <a:extLst>
                  <a:ext uri="{FF2B5EF4-FFF2-40B4-BE49-F238E27FC236}">
                    <a16:creationId xmlns:a16="http://schemas.microsoft.com/office/drawing/2014/main" id="{6547F0ED-A294-4A9D-85E5-7E554A600075}"/>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8" name="Google Shape;823;p51">
                <a:extLst>
                  <a:ext uri="{FF2B5EF4-FFF2-40B4-BE49-F238E27FC236}">
                    <a16:creationId xmlns:a16="http://schemas.microsoft.com/office/drawing/2014/main" id="{97F28E2D-0F14-4DA4-9907-765D2D75C1B1}"/>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9" name="Google Shape;824;p51">
                <a:extLst>
                  <a:ext uri="{FF2B5EF4-FFF2-40B4-BE49-F238E27FC236}">
                    <a16:creationId xmlns:a16="http://schemas.microsoft.com/office/drawing/2014/main" id="{CF466B91-5DDA-49F7-A163-06CFA0F1FD4F}"/>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0" name="Google Shape;825;p51">
                <a:extLst>
                  <a:ext uri="{FF2B5EF4-FFF2-40B4-BE49-F238E27FC236}">
                    <a16:creationId xmlns:a16="http://schemas.microsoft.com/office/drawing/2014/main" id="{F9A3045C-96C8-4150-BE22-2DBDF5DF1FFD}"/>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1" name="Google Shape;826;p51">
                <a:extLst>
                  <a:ext uri="{FF2B5EF4-FFF2-40B4-BE49-F238E27FC236}">
                    <a16:creationId xmlns:a16="http://schemas.microsoft.com/office/drawing/2014/main" id="{CF55655A-052F-4305-973E-ABF76AB32A3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Google Shape;827;p51">
                <a:extLst>
                  <a:ext uri="{FF2B5EF4-FFF2-40B4-BE49-F238E27FC236}">
                    <a16:creationId xmlns:a16="http://schemas.microsoft.com/office/drawing/2014/main" id="{95138D86-AEE7-4E9A-BB0C-540D22FBB15D}"/>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2" name="Group 151">
              <a:extLst>
                <a:ext uri="{FF2B5EF4-FFF2-40B4-BE49-F238E27FC236}">
                  <a16:creationId xmlns:a16="http://schemas.microsoft.com/office/drawing/2014/main" id="{B0ABFC8C-74A8-4643-9E46-C57F1E8F8482}"/>
                </a:ext>
              </a:extLst>
            </p:cNvPr>
            <p:cNvGrpSpPr/>
            <p:nvPr/>
          </p:nvGrpSpPr>
          <p:grpSpPr>
            <a:xfrm>
              <a:off x="9459173" y="4651735"/>
              <a:ext cx="965465" cy="814701"/>
              <a:chOff x="2122052" y="4430998"/>
              <a:chExt cx="516998" cy="436265"/>
            </a:xfrm>
          </p:grpSpPr>
          <p:sp>
            <p:nvSpPr>
              <p:cNvPr id="153" name="Google Shape;663;p48">
                <a:extLst>
                  <a:ext uri="{FF2B5EF4-FFF2-40B4-BE49-F238E27FC236}">
                    <a16:creationId xmlns:a16="http://schemas.microsoft.com/office/drawing/2014/main" id="{F89EB417-7107-4C93-A222-45A5635AA2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664;p48">
                <a:extLst>
                  <a:ext uri="{FF2B5EF4-FFF2-40B4-BE49-F238E27FC236}">
                    <a16:creationId xmlns:a16="http://schemas.microsoft.com/office/drawing/2014/main" id="{9F92E3D1-65BC-4EBE-A44A-65CEDBF43B97}"/>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665;p48">
                <a:extLst>
                  <a:ext uri="{FF2B5EF4-FFF2-40B4-BE49-F238E27FC236}">
                    <a16:creationId xmlns:a16="http://schemas.microsoft.com/office/drawing/2014/main" id="{C83CB793-08C1-4222-B26D-88F376F89CA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666;p48">
                <a:extLst>
                  <a:ext uri="{FF2B5EF4-FFF2-40B4-BE49-F238E27FC236}">
                    <a16:creationId xmlns:a16="http://schemas.microsoft.com/office/drawing/2014/main" id="{7D4545A2-5CD3-48B7-B9EA-B37E4F1967D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667;p48">
                <a:extLst>
                  <a:ext uri="{FF2B5EF4-FFF2-40B4-BE49-F238E27FC236}">
                    <a16:creationId xmlns:a16="http://schemas.microsoft.com/office/drawing/2014/main" id="{A6B38238-63F7-43F3-953A-8B00F5E99521}"/>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668;p48">
                <a:extLst>
                  <a:ext uri="{FF2B5EF4-FFF2-40B4-BE49-F238E27FC236}">
                    <a16:creationId xmlns:a16="http://schemas.microsoft.com/office/drawing/2014/main" id="{B7DF47CA-42DF-40A2-992E-42DA3387EA14}"/>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9" name="Google Shape;669;p48">
                <a:extLst>
                  <a:ext uri="{FF2B5EF4-FFF2-40B4-BE49-F238E27FC236}">
                    <a16:creationId xmlns:a16="http://schemas.microsoft.com/office/drawing/2014/main" id="{1DDEE096-39ED-47DF-A817-0E76BB709B8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670;p48">
                <a:extLst>
                  <a:ext uri="{FF2B5EF4-FFF2-40B4-BE49-F238E27FC236}">
                    <a16:creationId xmlns:a16="http://schemas.microsoft.com/office/drawing/2014/main" id="{3EDC1D4A-1D83-402E-89BF-C5E7D5F9A31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671;p48">
                <a:extLst>
                  <a:ext uri="{FF2B5EF4-FFF2-40B4-BE49-F238E27FC236}">
                    <a16:creationId xmlns:a16="http://schemas.microsoft.com/office/drawing/2014/main" id="{95CB799A-4D86-4CA9-BAF1-435083BACEA5}"/>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672;p48">
                <a:extLst>
                  <a:ext uri="{FF2B5EF4-FFF2-40B4-BE49-F238E27FC236}">
                    <a16:creationId xmlns:a16="http://schemas.microsoft.com/office/drawing/2014/main" id="{76DEC090-50A9-42C4-B8BA-D62729CA8F4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673;p48">
                <a:extLst>
                  <a:ext uri="{FF2B5EF4-FFF2-40B4-BE49-F238E27FC236}">
                    <a16:creationId xmlns:a16="http://schemas.microsoft.com/office/drawing/2014/main" id="{985A86E9-3017-4E67-8C76-F974DEA811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674;p48">
                <a:extLst>
                  <a:ext uri="{FF2B5EF4-FFF2-40B4-BE49-F238E27FC236}">
                    <a16:creationId xmlns:a16="http://schemas.microsoft.com/office/drawing/2014/main" id="{52713BB8-D520-42CD-AE9D-B6C4CA60A6B4}"/>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675;p48">
                <a:extLst>
                  <a:ext uri="{FF2B5EF4-FFF2-40B4-BE49-F238E27FC236}">
                    <a16:creationId xmlns:a16="http://schemas.microsoft.com/office/drawing/2014/main" id="{FEB6B647-D46E-4140-82CF-4BEEEB1CF023}"/>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676;p48">
                <a:extLst>
                  <a:ext uri="{FF2B5EF4-FFF2-40B4-BE49-F238E27FC236}">
                    <a16:creationId xmlns:a16="http://schemas.microsoft.com/office/drawing/2014/main" id="{13F8294B-54C8-4C65-A63D-3748DA1F1F3F}"/>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677;p48">
                <a:extLst>
                  <a:ext uri="{FF2B5EF4-FFF2-40B4-BE49-F238E27FC236}">
                    <a16:creationId xmlns:a16="http://schemas.microsoft.com/office/drawing/2014/main" id="{60B9F45B-E151-4AFD-A22C-FF029C2545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678;p48">
                <a:extLst>
                  <a:ext uri="{FF2B5EF4-FFF2-40B4-BE49-F238E27FC236}">
                    <a16:creationId xmlns:a16="http://schemas.microsoft.com/office/drawing/2014/main" id="{62C8EF84-ED80-4D7D-A870-D5F452D94998}"/>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679;p48">
                <a:extLst>
                  <a:ext uri="{FF2B5EF4-FFF2-40B4-BE49-F238E27FC236}">
                    <a16:creationId xmlns:a16="http://schemas.microsoft.com/office/drawing/2014/main" id="{7D60CE6F-1206-4E65-9DD8-51F45F0325D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680;p48">
                <a:extLst>
                  <a:ext uri="{FF2B5EF4-FFF2-40B4-BE49-F238E27FC236}">
                    <a16:creationId xmlns:a16="http://schemas.microsoft.com/office/drawing/2014/main" id="{8010ED02-6AC0-4C65-A3B8-36ED5EE774F9}"/>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681;p48">
                <a:extLst>
                  <a:ext uri="{FF2B5EF4-FFF2-40B4-BE49-F238E27FC236}">
                    <a16:creationId xmlns:a16="http://schemas.microsoft.com/office/drawing/2014/main" id="{E529FD31-6FCF-4FE3-AC5D-149614F8690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682;p48">
                <a:extLst>
                  <a:ext uri="{FF2B5EF4-FFF2-40B4-BE49-F238E27FC236}">
                    <a16:creationId xmlns:a16="http://schemas.microsoft.com/office/drawing/2014/main" id="{48D4DDE2-4E47-4CE1-BB1F-A6D97D20E959}"/>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683;p48">
                <a:extLst>
                  <a:ext uri="{FF2B5EF4-FFF2-40B4-BE49-F238E27FC236}">
                    <a16:creationId xmlns:a16="http://schemas.microsoft.com/office/drawing/2014/main" id="{7B94EF2A-3DC7-43DC-97BF-EA72997E0DD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4" name="Google Shape;684;p48">
                <a:extLst>
                  <a:ext uri="{FF2B5EF4-FFF2-40B4-BE49-F238E27FC236}">
                    <a16:creationId xmlns:a16="http://schemas.microsoft.com/office/drawing/2014/main" id="{E92964F0-C95F-4590-89AD-1D8C66D5C31F}"/>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685;p48">
                <a:extLst>
                  <a:ext uri="{FF2B5EF4-FFF2-40B4-BE49-F238E27FC236}">
                    <a16:creationId xmlns:a16="http://schemas.microsoft.com/office/drawing/2014/main" id="{64C3E675-1A63-44CE-BEAA-FDA918A99F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686;p48">
                <a:extLst>
                  <a:ext uri="{FF2B5EF4-FFF2-40B4-BE49-F238E27FC236}">
                    <a16:creationId xmlns:a16="http://schemas.microsoft.com/office/drawing/2014/main" id="{C3B58882-FA6E-46C6-9170-F7469CC08FFE}"/>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687;p48">
                <a:extLst>
                  <a:ext uri="{FF2B5EF4-FFF2-40B4-BE49-F238E27FC236}">
                    <a16:creationId xmlns:a16="http://schemas.microsoft.com/office/drawing/2014/main" id="{AF563A59-2A63-40D3-BDF5-9B5C0AABAA3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 name="Google Shape;9301;p96">
            <a:extLst>
              <a:ext uri="{FF2B5EF4-FFF2-40B4-BE49-F238E27FC236}">
                <a16:creationId xmlns:a16="http://schemas.microsoft.com/office/drawing/2014/main" id="{FBC02023-1B95-4FB3-B7B7-3B5CBC5CD15B}"/>
              </a:ext>
            </a:extLst>
          </p:cNvPr>
          <p:cNvGrpSpPr/>
          <p:nvPr/>
        </p:nvGrpSpPr>
        <p:grpSpPr>
          <a:xfrm>
            <a:off x="2448604" y="2370061"/>
            <a:ext cx="749840" cy="677795"/>
            <a:chOff x="7636443" y="1204988"/>
            <a:chExt cx="749840" cy="677795"/>
          </a:xfrm>
        </p:grpSpPr>
        <p:sp>
          <p:nvSpPr>
            <p:cNvPr id="106" name="Google Shape;9303;p96">
              <a:extLst>
                <a:ext uri="{FF2B5EF4-FFF2-40B4-BE49-F238E27FC236}">
                  <a16:creationId xmlns:a16="http://schemas.microsoft.com/office/drawing/2014/main" id="{28BC12F1-A6E3-4EDB-BB58-262C09AD4952}"/>
                </a:ext>
              </a:extLst>
            </p:cNvPr>
            <p:cNvSpPr/>
            <p:nvPr/>
          </p:nvSpPr>
          <p:spPr>
            <a:xfrm>
              <a:off x="7636443" y="1509705"/>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C2D18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9306;p96">
              <a:extLst>
                <a:ext uri="{FF2B5EF4-FFF2-40B4-BE49-F238E27FC236}">
                  <a16:creationId xmlns:a16="http://schemas.microsoft.com/office/drawing/2014/main" id="{49054B97-7414-4379-AE22-41651CD230D6}"/>
                </a:ext>
              </a:extLst>
            </p:cNvPr>
            <p:cNvSpPr/>
            <p:nvPr/>
          </p:nvSpPr>
          <p:spPr>
            <a:xfrm>
              <a:off x="7636443" y="1408133"/>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AC4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2" name="Google Shape;9309;p96">
              <a:extLst>
                <a:ext uri="{FF2B5EF4-FFF2-40B4-BE49-F238E27FC236}">
                  <a16:creationId xmlns:a16="http://schemas.microsoft.com/office/drawing/2014/main" id="{D67A0471-E0E6-4844-B47E-0739404FFBB9}"/>
                </a:ext>
              </a:extLst>
            </p:cNvPr>
            <p:cNvSpPr/>
            <p:nvPr/>
          </p:nvSpPr>
          <p:spPr>
            <a:xfrm>
              <a:off x="7636443" y="1306560"/>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1B69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0" name="Google Shape;9312;p96">
              <a:extLst>
                <a:ext uri="{FF2B5EF4-FFF2-40B4-BE49-F238E27FC236}">
                  <a16:creationId xmlns:a16="http://schemas.microsoft.com/office/drawing/2014/main" id="{784A3644-494F-40A9-A031-6341F334A202}"/>
                </a:ext>
              </a:extLst>
            </p:cNvPr>
            <p:cNvSpPr/>
            <p:nvPr/>
          </p:nvSpPr>
          <p:spPr>
            <a:xfrm>
              <a:off x="7636443" y="1204988"/>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6736157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43727" y="4034115"/>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248991"/>
            <a:ext cx="7881817" cy="1723549"/>
          </a:xfrm>
          <a:prstGeom prst="rect">
            <a:avLst/>
          </a:prstGeom>
          <a:noFill/>
        </p:spPr>
        <p:txBody>
          <a:bodyPr wrap="square">
            <a:spAutoFit/>
          </a:bodyPr>
          <a:lstStyle/>
          <a:p>
            <a:r>
              <a:rPr lang="en-US" sz="2650" kern="0" dirty="0">
                <a:solidFill>
                  <a:srgbClr val="FFFFFF"/>
                </a:solidFill>
                <a:latin typeface="Sora"/>
                <a:cs typeface="Sora"/>
                <a:sym typeface="Sora"/>
              </a:rPr>
              <a:t>“In the Age of Digital, every business is a software business. </a:t>
            </a:r>
          </a:p>
          <a:p>
            <a:r>
              <a:rPr lang="en-US" sz="2650" kern="0" dirty="0">
                <a:solidFill>
                  <a:srgbClr val="FFFFFF"/>
                </a:solidFill>
                <a:latin typeface="Sora"/>
                <a:cs typeface="Sora"/>
                <a:sym typeface="Sora"/>
              </a:rPr>
              <a:t>Agility isn’t an option, or a thing just for technical teams, it is a business imperative.”</a:t>
            </a:r>
          </a:p>
        </p:txBody>
      </p:sp>
      <p:sp>
        <p:nvSpPr>
          <p:cNvPr id="82" name="TextBox 81">
            <a:extLst>
              <a:ext uri="{FF2B5EF4-FFF2-40B4-BE49-F238E27FC236}">
                <a16:creationId xmlns:a16="http://schemas.microsoft.com/office/drawing/2014/main" id="{2E529CEF-28DE-41E8-9512-D467D6F46A3B}"/>
              </a:ext>
            </a:extLst>
          </p:cNvPr>
          <p:cNvSpPr txBox="1"/>
          <p:nvPr/>
        </p:nvSpPr>
        <p:spPr>
          <a:xfrm>
            <a:off x="7886730" y="4601338"/>
            <a:ext cx="7042150" cy="369332"/>
          </a:xfrm>
          <a:prstGeom prst="rect">
            <a:avLst/>
          </a:prstGeom>
          <a:noFill/>
        </p:spPr>
        <p:txBody>
          <a:bodyPr wrap="square">
            <a:spAutoFit/>
          </a:bodyPr>
          <a:lstStyle/>
          <a:p>
            <a:r>
              <a:rPr lang="en-US" dirty="0"/>
              <a:t>© Scaled Agile, Inc.</a:t>
            </a:r>
          </a:p>
        </p:txBody>
      </p:sp>
      <p:grpSp>
        <p:nvGrpSpPr>
          <p:cNvPr id="83" name="Google Shape;9463;p96">
            <a:extLst>
              <a:ext uri="{FF2B5EF4-FFF2-40B4-BE49-F238E27FC236}">
                <a16:creationId xmlns:a16="http://schemas.microsoft.com/office/drawing/2014/main" id="{DE01EBB6-59BA-4C15-BB57-03DF26D9C08B}"/>
              </a:ext>
            </a:extLst>
          </p:cNvPr>
          <p:cNvGrpSpPr/>
          <p:nvPr/>
        </p:nvGrpSpPr>
        <p:grpSpPr>
          <a:xfrm>
            <a:off x="5461897" y="1604379"/>
            <a:ext cx="1268207" cy="638939"/>
            <a:chOff x="3967651" y="3645904"/>
            <a:chExt cx="1479304" cy="745292"/>
          </a:xfrm>
        </p:grpSpPr>
        <p:grpSp>
          <p:nvGrpSpPr>
            <p:cNvPr id="84" name="Google Shape;9464;p96">
              <a:extLst>
                <a:ext uri="{FF2B5EF4-FFF2-40B4-BE49-F238E27FC236}">
                  <a16:creationId xmlns:a16="http://schemas.microsoft.com/office/drawing/2014/main" id="{613C44C6-2B80-4DE4-9C41-726748D9FA41}"/>
                </a:ext>
              </a:extLst>
            </p:cNvPr>
            <p:cNvGrpSpPr/>
            <p:nvPr/>
          </p:nvGrpSpPr>
          <p:grpSpPr>
            <a:xfrm>
              <a:off x="3967651" y="4009026"/>
              <a:ext cx="1479304" cy="382170"/>
              <a:chOff x="3967651" y="4009026"/>
              <a:chExt cx="1479304" cy="382170"/>
            </a:xfrm>
          </p:grpSpPr>
          <p:grpSp>
            <p:nvGrpSpPr>
              <p:cNvPr id="98" name="Google Shape;9465;p96">
                <a:extLst>
                  <a:ext uri="{FF2B5EF4-FFF2-40B4-BE49-F238E27FC236}">
                    <a16:creationId xmlns:a16="http://schemas.microsoft.com/office/drawing/2014/main" id="{2327896E-2EAE-4C91-80CF-C24665471D6D}"/>
                  </a:ext>
                </a:extLst>
              </p:cNvPr>
              <p:cNvGrpSpPr/>
              <p:nvPr/>
            </p:nvGrpSpPr>
            <p:grpSpPr>
              <a:xfrm>
                <a:off x="4892216" y="4195630"/>
                <a:ext cx="554739" cy="195566"/>
                <a:chOff x="3604375" y="4892160"/>
                <a:chExt cx="1651500" cy="582215"/>
              </a:xfrm>
            </p:grpSpPr>
            <p:sp>
              <p:nvSpPr>
                <p:cNvPr id="105" name="Google Shape;9466;p96">
                  <a:extLst>
                    <a:ext uri="{FF2B5EF4-FFF2-40B4-BE49-F238E27FC236}">
                      <a16:creationId xmlns:a16="http://schemas.microsoft.com/office/drawing/2014/main" id="{BC919210-0DEF-4FA8-AC09-ACEEF1329B33}"/>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9467;p96">
                  <a:extLst>
                    <a:ext uri="{FF2B5EF4-FFF2-40B4-BE49-F238E27FC236}">
                      <a16:creationId xmlns:a16="http://schemas.microsoft.com/office/drawing/2014/main" id="{7A873720-D9A8-420C-8FEF-F468A6212738}"/>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 name="Google Shape;9468;p96">
                <a:extLst>
                  <a:ext uri="{FF2B5EF4-FFF2-40B4-BE49-F238E27FC236}">
                    <a16:creationId xmlns:a16="http://schemas.microsoft.com/office/drawing/2014/main" id="{1674FC2D-F95D-48A3-BDC4-7EC652209A28}"/>
                  </a:ext>
                </a:extLst>
              </p:cNvPr>
              <p:cNvGrpSpPr/>
              <p:nvPr/>
            </p:nvGrpSpPr>
            <p:grpSpPr>
              <a:xfrm>
                <a:off x="3967651" y="4146303"/>
                <a:ext cx="579402" cy="244893"/>
                <a:chOff x="851875" y="4745310"/>
                <a:chExt cx="1724925" cy="729065"/>
              </a:xfrm>
            </p:grpSpPr>
            <p:sp>
              <p:nvSpPr>
                <p:cNvPr id="103" name="Google Shape;9469;p96">
                  <a:extLst>
                    <a:ext uri="{FF2B5EF4-FFF2-40B4-BE49-F238E27FC236}">
                      <a16:creationId xmlns:a16="http://schemas.microsoft.com/office/drawing/2014/main" id="{7DC04616-028F-4FBB-BC13-06DD8BA17F62}"/>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9470;p96">
                  <a:extLst>
                    <a:ext uri="{FF2B5EF4-FFF2-40B4-BE49-F238E27FC236}">
                      <a16:creationId xmlns:a16="http://schemas.microsoft.com/office/drawing/2014/main" id="{C16AFD83-0373-4C4A-A22C-73880011CC0E}"/>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 name="Google Shape;9471;p96">
                <a:extLst>
                  <a:ext uri="{FF2B5EF4-FFF2-40B4-BE49-F238E27FC236}">
                    <a16:creationId xmlns:a16="http://schemas.microsoft.com/office/drawing/2014/main" id="{99E6CB94-BFD4-473F-9AB6-BF6570437A72}"/>
                  </a:ext>
                </a:extLst>
              </p:cNvPr>
              <p:cNvGrpSpPr/>
              <p:nvPr/>
            </p:nvGrpSpPr>
            <p:grpSpPr>
              <a:xfrm>
                <a:off x="4460753" y="4009026"/>
                <a:ext cx="493110" cy="382170"/>
                <a:chOff x="2319875" y="4336625"/>
                <a:chExt cx="1468025" cy="1137750"/>
              </a:xfrm>
            </p:grpSpPr>
            <p:sp>
              <p:nvSpPr>
                <p:cNvPr id="101" name="Google Shape;9472;p96">
                  <a:extLst>
                    <a:ext uri="{FF2B5EF4-FFF2-40B4-BE49-F238E27FC236}">
                      <a16:creationId xmlns:a16="http://schemas.microsoft.com/office/drawing/2014/main" id="{847C3F5E-324E-4609-9C5E-7188145EF338}"/>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9473;p96">
                  <a:extLst>
                    <a:ext uri="{FF2B5EF4-FFF2-40B4-BE49-F238E27FC236}">
                      <a16:creationId xmlns:a16="http://schemas.microsoft.com/office/drawing/2014/main" id="{E6A49465-50F8-4D9C-AA7F-E54E9E54FFD2}"/>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 name="Google Shape;9474;p96">
              <a:extLst>
                <a:ext uri="{FF2B5EF4-FFF2-40B4-BE49-F238E27FC236}">
                  <a16:creationId xmlns:a16="http://schemas.microsoft.com/office/drawing/2014/main" id="{6F9B0FE3-141E-4E0E-A055-ECCAF488C92C}"/>
                </a:ext>
              </a:extLst>
            </p:cNvPr>
            <p:cNvGrpSpPr/>
            <p:nvPr/>
          </p:nvGrpSpPr>
          <p:grpSpPr>
            <a:xfrm>
              <a:off x="4479443" y="3645904"/>
              <a:ext cx="455965" cy="388789"/>
              <a:chOff x="2957425" y="238100"/>
              <a:chExt cx="1910200" cy="1628775"/>
            </a:xfrm>
          </p:grpSpPr>
          <p:sp>
            <p:nvSpPr>
              <p:cNvPr id="86" name="Google Shape;9475;p96">
                <a:extLst>
                  <a:ext uri="{FF2B5EF4-FFF2-40B4-BE49-F238E27FC236}">
                    <a16:creationId xmlns:a16="http://schemas.microsoft.com/office/drawing/2014/main" id="{048AFEB0-83A1-4EF5-B5A4-08563686DED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9476;p96">
                <a:extLst>
                  <a:ext uri="{FF2B5EF4-FFF2-40B4-BE49-F238E27FC236}">
                    <a16:creationId xmlns:a16="http://schemas.microsoft.com/office/drawing/2014/main" id="{8C99CBC3-5000-4153-960F-76C17F22FC4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9477;p96">
                <a:extLst>
                  <a:ext uri="{FF2B5EF4-FFF2-40B4-BE49-F238E27FC236}">
                    <a16:creationId xmlns:a16="http://schemas.microsoft.com/office/drawing/2014/main" id="{5CB4DBC1-24EF-4FD3-8E6D-7509E953531D}"/>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9478;p96">
                <a:extLst>
                  <a:ext uri="{FF2B5EF4-FFF2-40B4-BE49-F238E27FC236}">
                    <a16:creationId xmlns:a16="http://schemas.microsoft.com/office/drawing/2014/main" id="{78F9A210-2F32-4284-B8D8-E03217A61A6E}"/>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479;p96">
                <a:extLst>
                  <a:ext uri="{FF2B5EF4-FFF2-40B4-BE49-F238E27FC236}">
                    <a16:creationId xmlns:a16="http://schemas.microsoft.com/office/drawing/2014/main" id="{7C8B6184-05FB-4385-B410-98805A4BDA3F}"/>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480;p96">
                <a:extLst>
                  <a:ext uri="{FF2B5EF4-FFF2-40B4-BE49-F238E27FC236}">
                    <a16:creationId xmlns:a16="http://schemas.microsoft.com/office/drawing/2014/main" id="{EF9BAF5A-B23B-446A-B5CB-676F274DD8C4}"/>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481;p96">
                <a:extLst>
                  <a:ext uri="{FF2B5EF4-FFF2-40B4-BE49-F238E27FC236}">
                    <a16:creationId xmlns:a16="http://schemas.microsoft.com/office/drawing/2014/main" id="{8B41E6CA-FF33-4C0E-A628-A1ED083C39C2}"/>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82;p96">
                <a:extLst>
                  <a:ext uri="{FF2B5EF4-FFF2-40B4-BE49-F238E27FC236}">
                    <a16:creationId xmlns:a16="http://schemas.microsoft.com/office/drawing/2014/main" id="{E2FA466F-3129-44F0-AA61-F5F17991EE22}"/>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483;p96">
                <a:extLst>
                  <a:ext uri="{FF2B5EF4-FFF2-40B4-BE49-F238E27FC236}">
                    <a16:creationId xmlns:a16="http://schemas.microsoft.com/office/drawing/2014/main" id="{2E7CECCA-3F9D-4223-9DEC-C1EC43ECF350}"/>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484;p96">
                <a:extLst>
                  <a:ext uri="{FF2B5EF4-FFF2-40B4-BE49-F238E27FC236}">
                    <a16:creationId xmlns:a16="http://schemas.microsoft.com/office/drawing/2014/main" id="{D1CD41D3-FB78-4A66-9C9D-9CA5C5F54518}"/>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283530144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64" name="Google Shape;4985;p84">
            <a:extLst>
              <a:ext uri="{FF2B5EF4-FFF2-40B4-BE49-F238E27FC236}">
                <a16:creationId xmlns:a16="http://schemas.microsoft.com/office/drawing/2014/main" id="{ED011C6E-AC16-4235-B186-AFBAE28702C0}"/>
              </a:ext>
            </a:extLst>
          </p:cNvPr>
          <p:cNvSpPr/>
          <p:nvPr/>
        </p:nvSpPr>
        <p:spPr>
          <a:xfrm>
            <a:off x="6272163" y="359704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Rectangle 3">
            <a:extLst>
              <a:ext uri="{FF2B5EF4-FFF2-40B4-BE49-F238E27FC236}">
                <a16:creationId xmlns:a16="http://schemas.microsoft.com/office/drawing/2014/main" id="{D9817C00-FCFE-4171-A713-685BA9E24EEA}"/>
              </a:ext>
            </a:extLst>
          </p:cNvPr>
          <p:cNvSpPr/>
          <p:nvPr/>
        </p:nvSpPr>
        <p:spPr>
          <a:xfrm rot="20672775">
            <a:off x="7268297" y="2037726"/>
            <a:ext cx="2869888"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Provision</a:t>
            </a:r>
          </a:p>
        </p:txBody>
      </p:sp>
      <p:sp>
        <p:nvSpPr>
          <p:cNvPr id="2" name="Title 1">
            <a:extLst>
              <a:ext uri="{FF2B5EF4-FFF2-40B4-BE49-F238E27FC236}">
                <a16:creationId xmlns:a16="http://schemas.microsoft.com/office/drawing/2014/main" id="{89E281AF-2A0B-41B6-A4AC-8FAA57424E36}"/>
              </a:ext>
            </a:extLst>
          </p:cNvPr>
          <p:cNvSpPr>
            <a:spLocks noGrp="1"/>
          </p:cNvSpPr>
          <p:nvPr>
            <p:ph type="ctrTitle"/>
          </p:nvPr>
        </p:nvSpPr>
        <p:spPr/>
        <p:txBody>
          <a:bodyPr/>
          <a:lstStyle/>
          <a:p>
            <a:r>
              <a:rPr lang="en-US" dirty="0"/>
              <a:t>SDLC &amp; DEV-OPS for R&amp;D</a:t>
            </a:r>
          </a:p>
        </p:txBody>
      </p:sp>
      <p:sp>
        <p:nvSpPr>
          <p:cNvPr id="3" name="Subtitle 2">
            <a:extLst>
              <a:ext uri="{FF2B5EF4-FFF2-40B4-BE49-F238E27FC236}">
                <a16:creationId xmlns:a16="http://schemas.microsoft.com/office/drawing/2014/main" id="{F10A9910-0FD7-4101-84BD-CA9BF928E664}"/>
              </a:ext>
            </a:extLst>
          </p:cNvPr>
          <p:cNvSpPr>
            <a:spLocks noGrp="1"/>
          </p:cNvSpPr>
          <p:nvPr>
            <p:ph type="subTitle" idx="1"/>
          </p:nvPr>
        </p:nvSpPr>
        <p:spPr/>
        <p:txBody>
          <a:bodyPr>
            <a:normAutofit fontScale="92500" lnSpcReduction="20000"/>
          </a:bodyPr>
          <a:lstStyle/>
          <a:p>
            <a:pPr marL="342900" indent="-342900">
              <a:buFont typeface="Arial" panose="020B0604020202020204" pitchFamily="34" charset="0"/>
              <a:buChar char="•"/>
            </a:pPr>
            <a:r>
              <a:rPr lang="en-US" dirty="0"/>
              <a:t>Hardware infrastructure (Dedicated Servers + Database storage)</a:t>
            </a:r>
          </a:p>
          <a:p>
            <a:pPr marL="342900" indent="-342900">
              <a:buFont typeface="Arial" panose="020B0604020202020204" pitchFamily="34" charset="0"/>
              <a:buChar char="•"/>
            </a:pPr>
            <a:r>
              <a:rPr lang="en-US" dirty="0"/>
              <a:t>Software lifecycle</a:t>
            </a:r>
          </a:p>
          <a:p>
            <a:pPr marL="342900" indent="-342900">
              <a:buFont typeface="Arial" panose="020B0604020202020204" pitchFamily="34" charset="0"/>
              <a:buChar char="•"/>
            </a:pPr>
            <a:r>
              <a:rPr lang="en-US" dirty="0"/>
              <a:t>automation</a:t>
            </a:r>
          </a:p>
          <a:p>
            <a:pPr marL="342900" indent="-342900">
              <a:buFont typeface="Arial" panose="020B0604020202020204" pitchFamily="34" charset="0"/>
              <a:buChar char="•"/>
            </a:pPr>
            <a:r>
              <a:rPr lang="en-US" dirty="0"/>
              <a:t>iteration</a:t>
            </a:r>
          </a:p>
        </p:txBody>
      </p:sp>
      <p:grpSp>
        <p:nvGrpSpPr>
          <p:cNvPr id="5" name="Group 4">
            <a:extLst>
              <a:ext uri="{FF2B5EF4-FFF2-40B4-BE49-F238E27FC236}">
                <a16:creationId xmlns:a16="http://schemas.microsoft.com/office/drawing/2014/main" id="{CD564E96-7C31-4CE8-92EE-60B334A508F3}"/>
              </a:ext>
            </a:extLst>
          </p:cNvPr>
          <p:cNvGrpSpPr/>
          <p:nvPr/>
        </p:nvGrpSpPr>
        <p:grpSpPr>
          <a:xfrm>
            <a:off x="5433821" y="5139990"/>
            <a:ext cx="1187582" cy="1104265"/>
            <a:chOff x="9379963" y="4497336"/>
            <a:chExt cx="1187582" cy="1104265"/>
          </a:xfrm>
        </p:grpSpPr>
        <p:grpSp>
          <p:nvGrpSpPr>
            <p:cNvPr id="6" name="Google Shape;802;p51">
              <a:extLst>
                <a:ext uri="{FF2B5EF4-FFF2-40B4-BE49-F238E27FC236}">
                  <a16:creationId xmlns:a16="http://schemas.microsoft.com/office/drawing/2014/main" id="{D3F7DED6-E437-4F54-B885-AB87A4F4FB4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3" name="Google Shape;803;p51">
                <a:extLst>
                  <a:ext uri="{FF2B5EF4-FFF2-40B4-BE49-F238E27FC236}">
                    <a16:creationId xmlns:a16="http://schemas.microsoft.com/office/drawing/2014/main" id="{EF11208B-684B-4075-BDF0-512B441B34FD}"/>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4;p51">
                <a:extLst>
                  <a:ext uri="{FF2B5EF4-FFF2-40B4-BE49-F238E27FC236}">
                    <a16:creationId xmlns:a16="http://schemas.microsoft.com/office/drawing/2014/main" id="{2565608A-727E-47D4-9E5A-A4FBD33DD58D}"/>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5;p51">
                <a:extLst>
                  <a:ext uri="{FF2B5EF4-FFF2-40B4-BE49-F238E27FC236}">
                    <a16:creationId xmlns:a16="http://schemas.microsoft.com/office/drawing/2014/main" id="{5CBF0675-64BB-4290-934E-FB6E81EB163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6;p51">
                <a:extLst>
                  <a:ext uri="{FF2B5EF4-FFF2-40B4-BE49-F238E27FC236}">
                    <a16:creationId xmlns:a16="http://schemas.microsoft.com/office/drawing/2014/main" id="{60A567A8-DB3D-412F-9B44-F7A0CCB74D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7;p51">
                <a:extLst>
                  <a:ext uri="{FF2B5EF4-FFF2-40B4-BE49-F238E27FC236}">
                    <a16:creationId xmlns:a16="http://schemas.microsoft.com/office/drawing/2014/main" id="{340E8DBA-5F2B-42BC-9195-AB233F219C24}"/>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8;p51">
                <a:extLst>
                  <a:ext uri="{FF2B5EF4-FFF2-40B4-BE49-F238E27FC236}">
                    <a16:creationId xmlns:a16="http://schemas.microsoft.com/office/drawing/2014/main" id="{F6123C75-3C3B-4568-9452-6AF707ED1A76}"/>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9;p51">
                <a:extLst>
                  <a:ext uri="{FF2B5EF4-FFF2-40B4-BE49-F238E27FC236}">
                    <a16:creationId xmlns:a16="http://schemas.microsoft.com/office/drawing/2014/main" id="{534611DE-C0D9-40E9-BE5A-7B7AB46E19A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0;p51">
                <a:extLst>
                  <a:ext uri="{FF2B5EF4-FFF2-40B4-BE49-F238E27FC236}">
                    <a16:creationId xmlns:a16="http://schemas.microsoft.com/office/drawing/2014/main" id="{FB3D59E9-8EBC-4254-870F-FC2D89BF775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1;p51">
                <a:extLst>
                  <a:ext uri="{FF2B5EF4-FFF2-40B4-BE49-F238E27FC236}">
                    <a16:creationId xmlns:a16="http://schemas.microsoft.com/office/drawing/2014/main" id="{515C3F49-8EFC-4329-AD4E-876DD8DFA97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2;p51">
                <a:extLst>
                  <a:ext uri="{FF2B5EF4-FFF2-40B4-BE49-F238E27FC236}">
                    <a16:creationId xmlns:a16="http://schemas.microsoft.com/office/drawing/2014/main" id="{4E25F3F2-0B44-46D9-B39D-7AD7F3A6591D}"/>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3;p51">
                <a:extLst>
                  <a:ext uri="{FF2B5EF4-FFF2-40B4-BE49-F238E27FC236}">
                    <a16:creationId xmlns:a16="http://schemas.microsoft.com/office/drawing/2014/main" id="{1F45DF1E-8BBA-4796-AD05-6A9783D6F68B}"/>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4;p51">
                <a:extLst>
                  <a:ext uri="{FF2B5EF4-FFF2-40B4-BE49-F238E27FC236}">
                    <a16:creationId xmlns:a16="http://schemas.microsoft.com/office/drawing/2014/main" id="{74447624-2ED6-4308-AE24-F4A79DE44B4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5;p51">
                <a:extLst>
                  <a:ext uri="{FF2B5EF4-FFF2-40B4-BE49-F238E27FC236}">
                    <a16:creationId xmlns:a16="http://schemas.microsoft.com/office/drawing/2014/main" id="{13AA01F3-F92A-4820-924D-773909DDD1C9}"/>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6;p51">
                <a:extLst>
                  <a:ext uri="{FF2B5EF4-FFF2-40B4-BE49-F238E27FC236}">
                    <a16:creationId xmlns:a16="http://schemas.microsoft.com/office/drawing/2014/main" id="{67E9625C-0331-4DDF-9CDF-B75D7065A8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7;p51">
                <a:extLst>
                  <a:ext uri="{FF2B5EF4-FFF2-40B4-BE49-F238E27FC236}">
                    <a16:creationId xmlns:a16="http://schemas.microsoft.com/office/drawing/2014/main" id="{9250603D-BE14-48DA-95D8-B2233990798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8;p51">
                <a:extLst>
                  <a:ext uri="{FF2B5EF4-FFF2-40B4-BE49-F238E27FC236}">
                    <a16:creationId xmlns:a16="http://schemas.microsoft.com/office/drawing/2014/main" id="{5ED84016-600C-4ABE-9B12-98EB90779E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9;p51">
                <a:extLst>
                  <a:ext uri="{FF2B5EF4-FFF2-40B4-BE49-F238E27FC236}">
                    <a16:creationId xmlns:a16="http://schemas.microsoft.com/office/drawing/2014/main" id="{EF2EC8F6-9E6C-4BC5-994E-A3D617A933BF}"/>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0;p51">
                <a:extLst>
                  <a:ext uri="{FF2B5EF4-FFF2-40B4-BE49-F238E27FC236}">
                    <a16:creationId xmlns:a16="http://schemas.microsoft.com/office/drawing/2014/main" id="{DE8069BC-28F0-43FE-B306-DFE44142B27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1;p51">
                <a:extLst>
                  <a:ext uri="{FF2B5EF4-FFF2-40B4-BE49-F238E27FC236}">
                    <a16:creationId xmlns:a16="http://schemas.microsoft.com/office/drawing/2014/main" id="{419C81C9-8393-4C7B-896A-1783E8519712}"/>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2;p51">
                <a:extLst>
                  <a:ext uri="{FF2B5EF4-FFF2-40B4-BE49-F238E27FC236}">
                    <a16:creationId xmlns:a16="http://schemas.microsoft.com/office/drawing/2014/main" id="{03EC1EE0-9CB9-426C-B9E2-6B1C95CE40A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3;p51">
                <a:extLst>
                  <a:ext uri="{FF2B5EF4-FFF2-40B4-BE49-F238E27FC236}">
                    <a16:creationId xmlns:a16="http://schemas.microsoft.com/office/drawing/2014/main" id="{63E36C56-4205-48B9-8621-1376658D8612}"/>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4;p51">
                <a:extLst>
                  <a:ext uri="{FF2B5EF4-FFF2-40B4-BE49-F238E27FC236}">
                    <a16:creationId xmlns:a16="http://schemas.microsoft.com/office/drawing/2014/main" id="{0DFFB174-9378-4551-9D68-3C724110F9BA}"/>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5;p51">
                <a:extLst>
                  <a:ext uri="{FF2B5EF4-FFF2-40B4-BE49-F238E27FC236}">
                    <a16:creationId xmlns:a16="http://schemas.microsoft.com/office/drawing/2014/main" id="{09554442-C3DC-455C-B264-5E936CCDD9B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6;p51">
                <a:extLst>
                  <a:ext uri="{FF2B5EF4-FFF2-40B4-BE49-F238E27FC236}">
                    <a16:creationId xmlns:a16="http://schemas.microsoft.com/office/drawing/2014/main" id="{C7358C50-F401-4BAB-9A38-F8A46CABFC39}"/>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7;p51">
                <a:extLst>
                  <a:ext uri="{FF2B5EF4-FFF2-40B4-BE49-F238E27FC236}">
                    <a16:creationId xmlns:a16="http://schemas.microsoft.com/office/drawing/2014/main" id="{26E67CB4-3EF1-45E3-9F72-72CF0E6D262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7" name="Group 6">
              <a:extLst>
                <a:ext uri="{FF2B5EF4-FFF2-40B4-BE49-F238E27FC236}">
                  <a16:creationId xmlns:a16="http://schemas.microsoft.com/office/drawing/2014/main" id="{B3C158E4-8BA3-4748-8D9F-46F42BF6FBD2}"/>
                </a:ext>
              </a:extLst>
            </p:cNvPr>
            <p:cNvGrpSpPr/>
            <p:nvPr/>
          </p:nvGrpSpPr>
          <p:grpSpPr>
            <a:xfrm>
              <a:off x="9459173" y="4651735"/>
              <a:ext cx="965465" cy="814701"/>
              <a:chOff x="2122052" y="4430998"/>
              <a:chExt cx="516998" cy="436265"/>
            </a:xfrm>
          </p:grpSpPr>
          <p:sp>
            <p:nvSpPr>
              <p:cNvPr id="8" name="Google Shape;663;p48">
                <a:extLst>
                  <a:ext uri="{FF2B5EF4-FFF2-40B4-BE49-F238E27FC236}">
                    <a16:creationId xmlns:a16="http://schemas.microsoft.com/office/drawing/2014/main" id="{57751401-1721-4370-BB59-AE4788054F5E}"/>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4;p48">
                <a:extLst>
                  <a:ext uri="{FF2B5EF4-FFF2-40B4-BE49-F238E27FC236}">
                    <a16:creationId xmlns:a16="http://schemas.microsoft.com/office/drawing/2014/main" id="{FFCAA996-E247-413D-9A6E-5900124C197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5;p48">
                <a:extLst>
                  <a:ext uri="{FF2B5EF4-FFF2-40B4-BE49-F238E27FC236}">
                    <a16:creationId xmlns:a16="http://schemas.microsoft.com/office/drawing/2014/main" id="{515D0FCE-DA9D-43BC-9D93-E0F1C88EB5C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6;p48">
                <a:extLst>
                  <a:ext uri="{FF2B5EF4-FFF2-40B4-BE49-F238E27FC236}">
                    <a16:creationId xmlns:a16="http://schemas.microsoft.com/office/drawing/2014/main" id="{7449150D-DFD2-45E8-B6CA-BB6377A70C74}"/>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7;p48">
                <a:extLst>
                  <a:ext uri="{FF2B5EF4-FFF2-40B4-BE49-F238E27FC236}">
                    <a16:creationId xmlns:a16="http://schemas.microsoft.com/office/drawing/2014/main" id="{C817E634-5243-4460-9DAF-BFBFE98E4F1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8;p48">
                <a:extLst>
                  <a:ext uri="{FF2B5EF4-FFF2-40B4-BE49-F238E27FC236}">
                    <a16:creationId xmlns:a16="http://schemas.microsoft.com/office/drawing/2014/main" id="{C935D973-28F7-42C4-806D-D4D40B15B188}"/>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Google Shape;669;p48">
                <a:extLst>
                  <a:ext uri="{FF2B5EF4-FFF2-40B4-BE49-F238E27FC236}">
                    <a16:creationId xmlns:a16="http://schemas.microsoft.com/office/drawing/2014/main" id="{D51A4C8B-BD07-4764-BEB1-FE2C24B90851}"/>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0;p48">
                <a:extLst>
                  <a:ext uri="{FF2B5EF4-FFF2-40B4-BE49-F238E27FC236}">
                    <a16:creationId xmlns:a16="http://schemas.microsoft.com/office/drawing/2014/main" id="{DBCF0439-ED16-4C4C-8AA2-5D011A3D33D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1;p48">
                <a:extLst>
                  <a:ext uri="{FF2B5EF4-FFF2-40B4-BE49-F238E27FC236}">
                    <a16:creationId xmlns:a16="http://schemas.microsoft.com/office/drawing/2014/main" id="{CCD6414A-BB5C-4126-8927-06483356ADF6}"/>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2;p48">
                <a:extLst>
                  <a:ext uri="{FF2B5EF4-FFF2-40B4-BE49-F238E27FC236}">
                    <a16:creationId xmlns:a16="http://schemas.microsoft.com/office/drawing/2014/main" id="{6CA994B1-3CDE-4FDC-9B8B-38767D7F47AE}"/>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3;p48">
                <a:extLst>
                  <a:ext uri="{FF2B5EF4-FFF2-40B4-BE49-F238E27FC236}">
                    <a16:creationId xmlns:a16="http://schemas.microsoft.com/office/drawing/2014/main" id="{BC0C9E71-DDED-4397-B055-4284E5126EA5}"/>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4;p48">
                <a:extLst>
                  <a:ext uri="{FF2B5EF4-FFF2-40B4-BE49-F238E27FC236}">
                    <a16:creationId xmlns:a16="http://schemas.microsoft.com/office/drawing/2014/main" id="{2FB9C37C-6867-4159-B461-0F66168AE94A}"/>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5;p48">
                <a:extLst>
                  <a:ext uri="{FF2B5EF4-FFF2-40B4-BE49-F238E27FC236}">
                    <a16:creationId xmlns:a16="http://schemas.microsoft.com/office/drawing/2014/main" id="{92674989-D997-432F-A6C9-237CA846305B}"/>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6;p48">
                <a:extLst>
                  <a:ext uri="{FF2B5EF4-FFF2-40B4-BE49-F238E27FC236}">
                    <a16:creationId xmlns:a16="http://schemas.microsoft.com/office/drawing/2014/main" id="{42AD4C1D-F767-43D8-AB7D-CD1FB7D8B4A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7;p48">
                <a:extLst>
                  <a:ext uri="{FF2B5EF4-FFF2-40B4-BE49-F238E27FC236}">
                    <a16:creationId xmlns:a16="http://schemas.microsoft.com/office/drawing/2014/main" id="{CDB0AA2C-FCDA-4C8A-9C58-8AE4FF3897F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8;p48">
                <a:extLst>
                  <a:ext uri="{FF2B5EF4-FFF2-40B4-BE49-F238E27FC236}">
                    <a16:creationId xmlns:a16="http://schemas.microsoft.com/office/drawing/2014/main" id="{DA759E78-189A-4846-B53F-6557863EDE6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9;p48">
                <a:extLst>
                  <a:ext uri="{FF2B5EF4-FFF2-40B4-BE49-F238E27FC236}">
                    <a16:creationId xmlns:a16="http://schemas.microsoft.com/office/drawing/2014/main" id="{04999950-06BD-42DD-96C1-12B466B983E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0;p48">
                <a:extLst>
                  <a:ext uri="{FF2B5EF4-FFF2-40B4-BE49-F238E27FC236}">
                    <a16:creationId xmlns:a16="http://schemas.microsoft.com/office/drawing/2014/main" id="{D378C8C3-69C1-47AA-A8CE-B96B247E7EE7}"/>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1;p48">
                <a:extLst>
                  <a:ext uri="{FF2B5EF4-FFF2-40B4-BE49-F238E27FC236}">
                    <a16:creationId xmlns:a16="http://schemas.microsoft.com/office/drawing/2014/main" id="{C7A47FEC-0035-4023-BB5F-775E7020900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2;p48">
                <a:extLst>
                  <a:ext uri="{FF2B5EF4-FFF2-40B4-BE49-F238E27FC236}">
                    <a16:creationId xmlns:a16="http://schemas.microsoft.com/office/drawing/2014/main" id="{E2F0615D-A5FD-496A-A842-9EC3E566CFFC}"/>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83;p48">
                <a:extLst>
                  <a:ext uri="{FF2B5EF4-FFF2-40B4-BE49-F238E27FC236}">
                    <a16:creationId xmlns:a16="http://schemas.microsoft.com/office/drawing/2014/main" id="{D7F8BF9B-8577-4D42-8536-5F6A1EE9943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84;p48">
                <a:extLst>
                  <a:ext uri="{FF2B5EF4-FFF2-40B4-BE49-F238E27FC236}">
                    <a16:creationId xmlns:a16="http://schemas.microsoft.com/office/drawing/2014/main" id="{4CDA0AC3-6E06-4327-888D-030D7D268F14}"/>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5;p48">
                <a:extLst>
                  <a:ext uri="{FF2B5EF4-FFF2-40B4-BE49-F238E27FC236}">
                    <a16:creationId xmlns:a16="http://schemas.microsoft.com/office/drawing/2014/main" id="{634DE487-C1B3-46BE-927D-0B03D7DE7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6;p48">
                <a:extLst>
                  <a:ext uri="{FF2B5EF4-FFF2-40B4-BE49-F238E27FC236}">
                    <a16:creationId xmlns:a16="http://schemas.microsoft.com/office/drawing/2014/main" id="{D17F89D8-090E-462C-B0DB-4C565A518601}"/>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7;p48">
                <a:extLst>
                  <a:ext uri="{FF2B5EF4-FFF2-40B4-BE49-F238E27FC236}">
                    <a16:creationId xmlns:a16="http://schemas.microsoft.com/office/drawing/2014/main" id="{C1FF14BA-D6C6-4409-A2E9-493D5BEC9013}"/>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4980;p84">
            <a:extLst>
              <a:ext uri="{FF2B5EF4-FFF2-40B4-BE49-F238E27FC236}">
                <a16:creationId xmlns:a16="http://schemas.microsoft.com/office/drawing/2014/main" id="{A379D06A-1273-42F6-AC4F-65B67696E1D2}"/>
              </a:ext>
            </a:extLst>
          </p:cNvPr>
          <p:cNvSpPr/>
          <p:nvPr/>
        </p:nvSpPr>
        <p:spPr>
          <a:xfrm>
            <a:off x="4921828" y="274886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982;p84">
            <a:extLst>
              <a:ext uri="{FF2B5EF4-FFF2-40B4-BE49-F238E27FC236}">
                <a16:creationId xmlns:a16="http://schemas.microsoft.com/office/drawing/2014/main" id="{C1EF0127-486A-47CD-9082-856D0B8AA126}"/>
              </a:ext>
            </a:extLst>
          </p:cNvPr>
          <p:cNvSpPr/>
          <p:nvPr/>
        </p:nvSpPr>
        <p:spPr>
          <a:xfrm rot="10800000" flipH="1">
            <a:off x="4390491" y="565772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983;p84">
            <a:extLst>
              <a:ext uri="{FF2B5EF4-FFF2-40B4-BE49-F238E27FC236}">
                <a16:creationId xmlns:a16="http://schemas.microsoft.com/office/drawing/2014/main" id="{8FEC0313-23F4-481E-BB13-64FD089DC910}"/>
              </a:ext>
            </a:extLst>
          </p:cNvPr>
          <p:cNvSpPr/>
          <p:nvPr/>
        </p:nvSpPr>
        <p:spPr>
          <a:xfrm>
            <a:off x="8980853" y="31650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984;p84">
            <a:extLst>
              <a:ext uri="{FF2B5EF4-FFF2-40B4-BE49-F238E27FC236}">
                <a16:creationId xmlns:a16="http://schemas.microsoft.com/office/drawing/2014/main" id="{8DAABECD-FB49-4BDF-9915-5A73B97BBD92}"/>
              </a:ext>
            </a:extLst>
          </p:cNvPr>
          <p:cNvSpPr/>
          <p:nvPr/>
        </p:nvSpPr>
        <p:spPr>
          <a:xfrm>
            <a:off x="9578553" y="96929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986;p84">
            <a:extLst>
              <a:ext uri="{FF2B5EF4-FFF2-40B4-BE49-F238E27FC236}">
                <a16:creationId xmlns:a16="http://schemas.microsoft.com/office/drawing/2014/main" id="{822C1C19-C385-469A-B54E-94FF5A5737D4}"/>
              </a:ext>
            </a:extLst>
          </p:cNvPr>
          <p:cNvSpPr/>
          <p:nvPr/>
        </p:nvSpPr>
        <p:spPr>
          <a:xfrm>
            <a:off x="1590579" y="34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 name="Google Shape;4987;p84">
            <a:extLst>
              <a:ext uri="{FF2B5EF4-FFF2-40B4-BE49-F238E27FC236}">
                <a16:creationId xmlns:a16="http://schemas.microsoft.com/office/drawing/2014/main" id="{1F9A7913-233C-4E45-A8A6-C3972DDA85FB}"/>
              </a:ext>
            </a:extLst>
          </p:cNvPr>
          <p:cNvGrpSpPr/>
          <p:nvPr/>
        </p:nvGrpSpPr>
        <p:grpSpPr>
          <a:xfrm rot="7681689">
            <a:off x="2345784" y="1612502"/>
            <a:ext cx="161701" cy="641985"/>
            <a:chOff x="7004550" y="3676293"/>
            <a:chExt cx="161700" cy="641982"/>
          </a:xfrm>
        </p:grpSpPr>
        <p:sp>
          <p:nvSpPr>
            <p:cNvPr id="67" name="Google Shape;4988;p84">
              <a:extLst>
                <a:ext uri="{FF2B5EF4-FFF2-40B4-BE49-F238E27FC236}">
                  <a16:creationId xmlns:a16="http://schemas.microsoft.com/office/drawing/2014/main" id="{CB2EB34A-6C34-4F42-A4BA-F843AB8ED1DF}"/>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989;p84">
              <a:extLst>
                <a:ext uri="{FF2B5EF4-FFF2-40B4-BE49-F238E27FC236}">
                  <a16:creationId xmlns:a16="http://schemas.microsoft.com/office/drawing/2014/main" id="{235CF691-58B2-46F3-8DDF-EE930C6C455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990;p84">
              <a:extLst>
                <a:ext uri="{FF2B5EF4-FFF2-40B4-BE49-F238E27FC236}">
                  <a16:creationId xmlns:a16="http://schemas.microsoft.com/office/drawing/2014/main" id="{171FBB27-AD25-44B9-A781-8AC364EF75B5}"/>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991;p84">
              <a:extLst>
                <a:ext uri="{FF2B5EF4-FFF2-40B4-BE49-F238E27FC236}">
                  <a16:creationId xmlns:a16="http://schemas.microsoft.com/office/drawing/2014/main" id="{070DDD68-6EDC-4349-A6B3-708F4F658A0F}"/>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1" name="Google Shape;12;p2">
            <a:extLst>
              <a:ext uri="{FF2B5EF4-FFF2-40B4-BE49-F238E27FC236}">
                <a16:creationId xmlns:a16="http://schemas.microsoft.com/office/drawing/2014/main" id="{1393BAF1-61A1-481A-9398-DB4C2062644E}"/>
              </a:ext>
            </a:extLst>
          </p:cNvPr>
          <p:cNvSpPr/>
          <p:nvPr/>
        </p:nvSpPr>
        <p:spPr>
          <a:xfrm rot="19377330" flipH="1">
            <a:off x="4559245" y="-265857"/>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p2">
            <a:extLst>
              <a:ext uri="{FF2B5EF4-FFF2-40B4-BE49-F238E27FC236}">
                <a16:creationId xmlns:a16="http://schemas.microsoft.com/office/drawing/2014/main" id="{A6C941EA-D397-4736-97A7-B4E4B829074C}"/>
              </a:ext>
            </a:extLst>
          </p:cNvPr>
          <p:cNvSpPr/>
          <p:nvPr/>
        </p:nvSpPr>
        <p:spPr>
          <a:xfrm rot="1370670" flipH="1">
            <a:off x="10648905" y="2972263"/>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3070112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835256"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SAF   Framework</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074" name="Picture 2">
            <a:extLst>
              <a:ext uri="{FF2B5EF4-FFF2-40B4-BE49-F238E27FC236}">
                <a16:creationId xmlns:a16="http://schemas.microsoft.com/office/drawing/2014/main" id="{2771EC4C-84E3-4708-BCD6-2958E2AEA3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53" y="1606100"/>
            <a:ext cx="10715625" cy="37909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7BC4F5F-B59F-4AFE-83A6-AB6B285752F4}"/>
              </a:ext>
            </a:extLst>
          </p:cNvPr>
          <p:cNvSpPr txBox="1"/>
          <p:nvPr/>
        </p:nvSpPr>
        <p:spPr>
          <a:xfrm>
            <a:off x="4972984" y="541217"/>
            <a:ext cx="415498" cy="646331"/>
          </a:xfrm>
          <a:prstGeom prst="rect">
            <a:avLst/>
          </a:prstGeom>
          <a:noFill/>
        </p:spPr>
        <p:txBody>
          <a:bodyPr wrap="none" rtlCol="0">
            <a:spAutoFit/>
          </a:bodyPr>
          <a:lstStyle/>
          <a:p>
            <a:r>
              <a:rPr lang="en-US" sz="3600" dirty="0"/>
              <a:t>e</a:t>
            </a:r>
          </a:p>
        </p:txBody>
      </p:sp>
    </p:spTree>
    <p:extLst>
      <p:ext uri="{BB962C8B-B14F-4D97-AF65-F5344CB8AC3E}">
        <p14:creationId xmlns:p14="http://schemas.microsoft.com/office/powerpoint/2010/main" val="219453447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SDLC phases">
            <a:hlinkClick r:id="rId2"/>
            <a:extLst>
              <a:ext uri="{FF2B5EF4-FFF2-40B4-BE49-F238E27FC236}">
                <a16:creationId xmlns:a16="http://schemas.microsoft.com/office/drawing/2014/main" id="{BAC3ADC2-3752-4A4D-93FB-33C5648B1C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70031" y="452257"/>
            <a:ext cx="6651938" cy="5953485"/>
          </a:xfrm>
          <a:prstGeom prst="rect">
            <a:avLst/>
          </a:prstGeom>
          <a:noFill/>
          <a:extLst>
            <a:ext uri="{909E8E84-426E-40DD-AFC4-6F175D3DCCD1}">
              <a14:hiddenFill xmlns:a14="http://schemas.microsoft.com/office/drawing/2010/main">
                <a:solidFill>
                  <a:srgbClr val="FFFFFF"/>
                </a:solidFill>
              </a14:hiddenFill>
            </a:ext>
          </a:extLst>
        </p:spPr>
      </p:pic>
      <p:sp>
        <p:nvSpPr>
          <p:cNvPr id="11" name="Google Shape;4980;p84">
            <a:extLst>
              <a:ext uri="{FF2B5EF4-FFF2-40B4-BE49-F238E27FC236}">
                <a16:creationId xmlns:a16="http://schemas.microsoft.com/office/drawing/2014/main" id="{6E4B1FDC-EE78-4918-9E1B-F4FCA23D2275}"/>
              </a:ext>
            </a:extLst>
          </p:cNvPr>
          <p:cNvSpPr/>
          <p:nvPr/>
        </p:nvSpPr>
        <p:spPr>
          <a:xfrm>
            <a:off x="5231013" y="2851877"/>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4982;p84">
            <a:extLst>
              <a:ext uri="{FF2B5EF4-FFF2-40B4-BE49-F238E27FC236}">
                <a16:creationId xmlns:a16="http://schemas.microsoft.com/office/drawing/2014/main" id="{25A1DFD0-2FAB-4388-8B03-EFE506EA4D36}"/>
              </a:ext>
            </a:extLst>
          </p:cNvPr>
          <p:cNvSpPr/>
          <p:nvPr/>
        </p:nvSpPr>
        <p:spPr>
          <a:xfrm rot="10800000" flipH="1">
            <a:off x="8690038" y="8929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983;p84">
            <a:extLst>
              <a:ext uri="{FF2B5EF4-FFF2-40B4-BE49-F238E27FC236}">
                <a16:creationId xmlns:a16="http://schemas.microsoft.com/office/drawing/2014/main" id="{1ED0C98B-5742-4E3A-A61D-E796FDE2B744}"/>
              </a:ext>
            </a:extLst>
          </p:cNvPr>
          <p:cNvSpPr/>
          <p:nvPr/>
        </p:nvSpPr>
        <p:spPr>
          <a:xfrm>
            <a:off x="9051300" y="34825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984;p84">
            <a:extLst>
              <a:ext uri="{FF2B5EF4-FFF2-40B4-BE49-F238E27FC236}">
                <a16:creationId xmlns:a16="http://schemas.microsoft.com/office/drawing/2014/main" id="{9776695B-E5BB-4404-9286-8D11D2453270}"/>
              </a:ext>
            </a:extLst>
          </p:cNvPr>
          <p:cNvSpPr/>
          <p:nvPr/>
        </p:nvSpPr>
        <p:spPr>
          <a:xfrm>
            <a:off x="9649000" y="12867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985;p84">
            <a:extLst>
              <a:ext uri="{FF2B5EF4-FFF2-40B4-BE49-F238E27FC236}">
                <a16:creationId xmlns:a16="http://schemas.microsoft.com/office/drawing/2014/main" id="{F89A6A13-D277-444B-BC45-D07A6C014305}"/>
              </a:ext>
            </a:extLst>
          </p:cNvPr>
          <p:cNvSpPr/>
          <p:nvPr/>
        </p:nvSpPr>
        <p:spPr>
          <a:xfrm>
            <a:off x="3276975" y="47167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986;p84">
            <a:extLst>
              <a:ext uri="{FF2B5EF4-FFF2-40B4-BE49-F238E27FC236}">
                <a16:creationId xmlns:a16="http://schemas.microsoft.com/office/drawing/2014/main" id="{A86C113D-C577-4BF1-8AD7-5A0C7D547AD1}"/>
              </a:ext>
            </a:extLst>
          </p:cNvPr>
          <p:cNvSpPr/>
          <p:nvPr/>
        </p:nvSpPr>
        <p:spPr>
          <a:xfrm>
            <a:off x="2053125" y="41205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oogle Shape;4987;p84">
            <a:extLst>
              <a:ext uri="{FF2B5EF4-FFF2-40B4-BE49-F238E27FC236}">
                <a16:creationId xmlns:a16="http://schemas.microsoft.com/office/drawing/2014/main" id="{2C4DFD9A-7BED-4C04-8D0F-43B268F262D5}"/>
              </a:ext>
            </a:extLst>
          </p:cNvPr>
          <p:cNvGrpSpPr/>
          <p:nvPr/>
        </p:nvGrpSpPr>
        <p:grpSpPr>
          <a:xfrm rot="14053952">
            <a:off x="9875858" y="2215720"/>
            <a:ext cx="161701" cy="641985"/>
            <a:chOff x="7004550" y="3676293"/>
            <a:chExt cx="161700" cy="641982"/>
          </a:xfrm>
        </p:grpSpPr>
        <p:sp>
          <p:nvSpPr>
            <p:cNvPr id="19" name="Google Shape;4988;p84">
              <a:extLst>
                <a:ext uri="{FF2B5EF4-FFF2-40B4-BE49-F238E27FC236}">
                  <a16:creationId xmlns:a16="http://schemas.microsoft.com/office/drawing/2014/main" id="{59C2A31F-4680-4D24-B050-61895DA1C5A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9;p84">
              <a:extLst>
                <a:ext uri="{FF2B5EF4-FFF2-40B4-BE49-F238E27FC236}">
                  <a16:creationId xmlns:a16="http://schemas.microsoft.com/office/drawing/2014/main" id="{9A21D92D-DD6F-484F-86D4-44570E0A1E2B}"/>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90;p84">
              <a:extLst>
                <a:ext uri="{FF2B5EF4-FFF2-40B4-BE49-F238E27FC236}">
                  <a16:creationId xmlns:a16="http://schemas.microsoft.com/office/drawing/2014/main" id="{C3BB4207-CC4E-4C25-A81E-57551990C9FC}"/>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91;p84">
              <a:extLst>
                <a:ext uri="{FF2B5EF4-FFF2-40B4-BE49-F238E27FC236}">
                  <a16:creationId xmlns:a16="http://schemas.microsoft.com/office/drawing/2014/main" id="{C45F5CB3-4EC3-4CCB-9A1C-E78871554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 name="Group 22">
            <a:extLst>
              <a:ext uri="{FF2B5EF4-FFF2-40B4-BE49-F238E27FC236}">
                <a16:creationId xmlns:a16="http://schemas.microsoft.com/office/drawing/2014/main" id="{672EAE56-DE3B-4424-8B47-A855DF842532}"/>
              </a:ext>
            </a:extLst>
          </p:cNvPr>
          <p:cNvGrpSpPr/>
          <p:nvPr/>
        </p:nvGrpSpPr>
        <p:grpSpPr>
          <a:xfrm>
            <a:off x="671408" y="2237801"/>
            <a:ext cx="1187582" cy="1104265"/>
            <a:chOff x="9379963" y="4497336"/>
            <a:chExt cx="1187582" cy="1104265"/>
          </a:xfrm>
        </p:grpSpPr>
        <p:grpSp>
          <p:nvGrpSpPr>
            <p:cNvPr id="24" name="Google Shape;802;p51">
              <a:extLst>
                <a:ext uri="{FF2B5EF4-FFF2-40B4-BE49-F238E27FC236}">
                  <a16:creationId xmlns:a16="http://schemas.microsoft.com/office/drawing/2014/main" id="{1D678655-F429-47A7-B152-C13168922EA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1" name="Google Shape;803;p51">
                <a:extLst>
                  <a:ext uri="{FF2B5EF4-FFF2-40B4-BE49-F238E27FC236}">
                    <a16:creationId xmlns:a16="http://schemas.microsoft.com/office/drawing/2014/main" id="{C9B519E0-2D9F-4009-A273-DA60D830EFB6}"/>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4;p51">
                <a:extLst>
                  <a:ext uri="{FF2B5EF4-FFF2-40B4-BE49-F238E27FC236}">
                    <a16:creationId xmlns:a16="http://schemas.microsoft.com/office/drawing/2014/main" id="{EBC9005F-86F4-4431-B450-D666D38ED264}"/>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05;p51">
                <a:extLst>
                  <a:ext uri="{FF2B5EF4-FFF2-40B4-BE49-F238E27FC236}">
                    <a16:creationId xmlns:a16="http://schemas.microsoft.com/office/drawing/2014/main" id="{CD972077-76A5-416D-A61B-F7A6B55FB3A6}"/>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06;p51">
                <a:extLst>
                  <a:ext uri="{FF2B5EF4-FFF2-40B4-BE49-F238E27FC236}">
                    <a16:creationId xmlns:a16="http://schemas.microsoft.com/office/drawing/2014/main" id="{6598C81A-EAD2-461B-9651-D410D906C209}"/>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07;p51">
                <a:extLst>
                  <a:ext uri="{FF2B5EF4-FFF2-40B4-BE49-F238E27FC236}">
                    <a16:creationId xmlns:a16="http://schemas.microsoft.com/office/drawing/2014/main" id="{590735A4-BDB2-4A00-84B3-CB9BAFD53E1B}"/>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08;p51">
                <a:extLst>
                  <a:ext uri="{FF2B5EF4-FFF2-40B4-BE49-F238E27FC236}">
                    <a16:creationId xmlns:a16="http://schemas.microsoft.com/office/drawing/2014/main" id="{E762829C-EF98-4A88-95BC-4163150FAE7C}"/>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9;p51">
                <a:extLst>
                  <a:ext uri="{FF2B5EF4-FFF2-40B4-BE49-F238E27FC236}">
                    <a16:creationId xmlns:a16="http://schemas.microsoft.com/office/drawing/2014/main" id="{A5DC2B2F-9356-4841-A294-03EEA385464F}"/>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0;p51">
                <a:extLst>
                  <a:ext uri="{FF2B5EF4-FFF2-40B4-BE49-F238E27FC236}">
                    <a16:creationId xmlns:a16="http://schemas.microsoft.com/office/drawing/2014/main" id="{C05993F2-048B-42B8-8790-F586B99D1E4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1;p51">
                <a:extLst>
                  <a:ext uri="{FF2B5EF4-FFF2-40B4-BE49-F238E27FC236}">
                    <a16:creationId xmlns:a16="http://schemas.microsoft.com/office/drawing/2014/main" id="{55B0D0BF-B270-482F-B7FC-ABA09672B55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2;p51">
                <a:extLst>
                  <a:ext uri="{FF2B5EF4-FFF2-40B4-BE49-F238E27FC236}">
                    <a16:creationId xmlns:a16="http://schemas.microsoft.com/office/drawing/2014/main" id="{D32F1705-58B7-429F-8AAF-13C49AC237B8}"/>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3;p51">
                <a:extLst>
                  <a:ext uri="{FF2B5EF4-FFF2-40B4-BE49-F238E27FC236}">
                    <a16:creationId xmlns:a16="http://schemas.microsoft.com/office/drawing/2014/main" id="{5C0310E5-2FD4-4F6C-A29E-7521460E56C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4;p51">
                <a:extLst>
                  <a:ext uri="{FF2B5EF4-FFF2-40B4-BE49-F238E27FC236}">
                    <a16:creationId xmlns:a16="http://schemas.microsoft.com/office/drawing/2014/main" id="{A9C4CDA6-EBD3-428A-A9EF-78DE42E025CD}"/>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5;p51">
                <a:extLst>
                  <a:ext uri="{FF2B5EF4-FFF2-40B4-BE49-F238E27FC236}">
                    <a16:creationId xmlns:a16="http://schemas.microsoft.com/office/drawing/2014/main" id="{9C169AF3-2D28-4D24-95DB-1BC0CC0F6D38}"/>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6;p51">
                <a:extLst>
                  <a:ext uri="{FF2B5EF4-FFF2-40B4-BE49-F238E27FC236}">
                    <a16:creationId xmlns:a16="http://schemas.microsoft.com/office/drawing/2014/main" id="{DA2A91FE-28EC-493E-B415-B9197226EE8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7;p51">
                <a:extLst>
                  <a:ext uri="{FF2B5EF4-FFF2-40B4-BE49-F238E27FC236}">
                    <a16:creationId xmlns:a16="http://schemas.microsoft.com/office/drawing/2014/main" id="{99B683DE-D7E9-460E-B18A-9E700EF65C4E}"/>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8;p51">
                <a:extLst>
                  <a:ext uri="{FF2B5EF4-FFF2-40B4-BE49-F238E27FC236}">
                    <a16:creationId xmlns:a16="http://schemas.microsoft.com/office/drawing/2014/main" id="{DF314D6F-6AE1-4A87-AE2D-22B3C8EE28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9;p51">
                <a:extLst>
                  <a:ext uri="{FF2B5EF4-FFF2-40B4-BE49-F238E27FC236}">
                    <a16:creationId xmlns:a16="http://schemas.microsoft.com/office/drawing/2014/main" id="{66E02E89-E8DD-4E4E-9159-01ADDB1AB0A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0;p51">
                <a:extLst>
                  <a:ext uri="{FF2B5EF4-FFF2-40B4-BE49-F238E27FC236}">
                    <a16:creationId xmlns:a16="http://schemas.microsoft.com/office/drawing/2014/main" id="{5EFDE0D5-12C8-46E6-B1C3-E9347073A83F}"/>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1;p51">
                <a:extLst>
                  <a:ext uri="{FF2B5EF4-FFF2-40B4-BE49-F238E27FC236}">
                    <a16:creationId xmlns:a16="http://schemas.microsoft.com/office/drawing/2014/main" id="{7BB711CB-FB37-4A6E-9658-3E1933CBDD2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2;p51">
                <a:extLst>
                  <a:ext uri="{FF2B5EF4-FFF2-40B4-BE49-F238E27FC236}">
                    <a16:creationId xmlns:a16="http://schemas.microsoft.com/office/drawing/2014/main" id="{EDD460FC-C853-4522-84CA-070DD4FC3A22}"/>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23;p51">
                <a:extLst>
                  <a:ext uri="{FF2B5EF4-FFF2-40B4-BE49-F238E27FC236}">
                    <a16:creationId xmlns:a16="http://schemas.microsoft.com/office/drawing/2014/main" id="{A0E329AC-6731-42F4-AD2F-3E8563A7339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24;p51">
                <a:extLst>
                  <a:ext uri="{FF2B5EF4-FFF2-40B4-BE49-F238E27FC236}">
                    <a16:creationId xmlns:a16="http://schemas.microsoft.com/office/drawing/2014/main" id="{CDAC756B-FF97-4BA8-9806-AC4269C6A75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5;p51">
                <a:extLst>
                  <a:ext uri="{FF2B5EF4-FFF2-40B4-BE49-F238E27FC236}">
                    <a16:creationId xmlns:a16="http://schemas.microsoft.com/office/drawing/2014/main" id="{F8C5D1C2-8D19-429D-AEA6-7AFFF7BA4D8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6;p51">
                <a:extLst>
                  <a:ext uri="{FF2B5EF4-FFF2-40B4-BE49-F238E27FC236}">
                    <a16:creationId xmlns:a16="http://schemas.microsoft.com/office/drawing/2014/main" id="{F5543F50-E6C3-440B-8582-413829C340B5}"/>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7;p51">
                <a:extLst>
                  <a:ext uri="{FF2B5EF4-FFF2-40B4-BE49-F238E27FC236}">
                    <a16:creationId xmlns:a16="http://schemas.microsoft.com/office/drawing/2014/main" id="{6294A954-515D-4ED2-A7E5-74F1478E4047}"/>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5" name="Group 24">
              <a:extLst>
                <a:ext uri="{FF2B5EF4-FFF2-40B4-BE49-F238E27FC236}">
                  <a16:creationId xmlns:a16="http://schemas.microsoft.com/office/drawing/2014/main" id="{BB7B5181-E26C-4FFC-A1CA-4307CB75EEB2}"/>
                </a:ext>
              </a:extLst>
            </p:cNvPr>
            <p:cNvGrpSpPr/>
            <p:nvPr/>
          </p:nvGrpSpPr>
          <p:grpSpPr>
            <a:xfrm>
              <a:off x="9459173" y="4651735"/>
              <a:ext cx="965465" cy="814701"/>
              <a:chOff x="2122052" y="4430998"/>
              <a:chExt cx="516998" cy="436265"/>
            </a:xfrm>
          </p:grpSpPr>
          <p:sp>
            <p:nvSpPr>
              <p:cNvPr id="26" name="Google Shape;663;p48">
                <a:extLst>
                  <a:ext uri="{FF2B5EF4-FFF2-40B4-BE49-F238E27FC236}">
                    <a16:creationId xmlns:a16="http://schemas.microsoft.com/office/drawing/2014/main" id="{2508E3C7-A32D-4B3D-BF3B-677BEC6BC8D7}"/>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64;p48">
                <a:extLst>
                  <a:ext uri="{FF2B5EF4-FFF2-40B4-BE49-F238E27FC236}">
                    <a16:creationId xmlns:a16="http://schemas.microsoft.com/office/drawing/2014/main" id="{3F103864-F1F7-47A3-81CA-660D0D561363}"/>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65;p48">
                <a:extLst>
                  <a:ext uri="{FF2B5EF4-FFF2-40B4-BE49-F238E27FC236}">
                    <a16:creationId xmlns:a16="http://schemas.microsoft.com/office/drawing/2014/main" id="{DF52A82A-6FB9-4059-B841-18B9C5FC58A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66;p48">
                <a:extLst>
                  <a:ext uri="{FF2B5EF4-FFF2-40B4-BE49-F238E27FC236}">
                    <a16:creationId xmlns:a16="http://schemas.microsoft.com/office/drawing/2014/main" id="{A26504E0-EF2E-4819-A70D-D9F011DB71E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67;p48">
                <a:extLst>
                  <a:ext uri="{FF2B5EF4-FFF2-40B4-BE49-F238E27FC236}">
                    <a16:creationId xmlns:a16="http://schemas.microsoft.com/office/drawing/2014/main" id="{45319EF4-7E09-4BF2-A8A7-8BA4AC3A87D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68;p48">
                <a:extLst>
                  <a:ext uri="{FF2B5EF4-FFF2-40B4-BE49-F238E27FC236}">
                    <a16:creationId xmlns:a16="http://schemas.microsoft.com/office/drawing/2014/main" id="{A84CB7E4-95C0-4923-A977-ABD686C943E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2" name="Google Shape;669;p48">
                <a:extLst>
                  <a:ext uri="{FF2B5EF4-FFF2-40B4-BE49-F238E27FC236}">
                    <a16:creationId xmlns:a16="http://schemas.microsoft.com/office/drawing/2014/main" id="{0B0F9EA5-15ED-4D5E-AD9E-77A97950A3F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0;p48">
                <a:extLst>
                  <a:ext uri="{FF2B5EF4-FFF2-40B4-BE49-F238E27FC236}">
                    <a16:creationId xmlns:a16="http://schemas.microsoft.com/office/drawing/2014/main" id="{4DCB540D-0748-4E29-8C2F-5573F0463D1C}"/>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1;p48">
                <a:extLst>
                  <a:ext uri="{FF2B5EF4-FFF2-40B4-BE49-F238E27FC236}">
                    <a16:creationId xmlns:a16="http://schemas.microsoft.com/office/drawing/2014/main" id="{A8F23B6F-E8E1-4A1E-B9E6-D4FD73E962E9}"/>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2;p48">
                <a:extLst>
                  <a:ext uri="{FF2B5EF4-FFF2-40B4-BE49-F238E27FC236}">
                    <a16:creationId xmlns:a16="http://schemas.microsoft.com/office/drawing/2014/main" id="{3EBA7603-67E9-493F-AB15-036A4E6C5CD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3;p48">
                <a:extLst>
                  <a:ext uri="{FF2B5EF4-FFF2-40B4-BE49-F238E27FC236}">
                    <a16:creationId xmlns:a16="http://schemas.microsoft.com/office/drawing/2014/main" id="{E92FA4E6-F890-4F7D-89D1-22191A5BE43A}"/>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4;p48">
                <a:extLst>
                  <a:ext uri="{FF2B5EF4-FFF2-40B4-BE49-F238E27FC236}">
                    <a16:creationId xmlns:a16="http://schemas.microsoft.com/office/drawing/2014/main" id="{C0899765-B682-42D4-B159-4C369C5D88D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5;p48">
                <a:extLst>
                  <a:ext uri="{FF2B5EF4-FFF2-40B4-BE49-F238E27FC236}">
                    <a16:creationId xmlns:a16="http://schemas.microsoft.com/office/drawing/2014/main" id="{04DB711C-1C7F-4E0E-A420-617952C5C29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6;p48">
                <a:extLst>
                  <a:ext uri="{FF2B5EF4-FFF2-40B4-BE49-F238E27FC236}">
                    <a16:creationId xmlns:a16="http://schemas.microsoft.com/office/drawing/2014/main" id="{86ADAD31-A2D1-4567-B995-6641E0B3A89A}"/>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7;p48">
                <a:extLst>
                  <a:ext uri="{FF2B5EF4-FFF2-40B4-BE49-F238E27FC236}">
                    <a16:creationId xmlns:a16="http://schemas.microsoft.com/office/drawing/2014/main" id="{47DBC976-BE54-4A44-BDA3-BB5EFFCAE145}"/>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8;p48">
                <a:extLst>
                  <a:ext uri="{FF2B5EF4-FFF2-40B4-BE49-F238E27FC236}">
                    <a16:creationId xmlns:a16="http://schemas.microsoft.com/office/drawing/2014/main" id="{564D87CF-A8BE-4BF1-9A6B-2BB2E4E4332E}"/>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9;p48">
                <a:extLst>
                  <a:ext uri="{FF2B5EF4-FFF2-40B4-BE49-F238E27FC236}">
                    <a16:creationId xmlns:a16="http://schemas.microsoft.com/office/drawing/2014/main" id="{6EEF4051-94A7-4207-B9D5-A66703B5902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0;p48">
                <a:extLst>
                  <a:ext uri="{FF2B5EF4-FFF2-40B4-BE49-F238E27FC236}">
                    <a16:creationId xmlns:a16="http://schemas.microsoft.com/office/drawing/2014/main" id="{8E262370-CD7F-4A6B-9177-134CC4B4B33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1;p48">
                <a:extLst>
                  <a:ext uri="{FF2B5EF4-FFF2-40B4-BE49-F238E27FC236}">
                    <a16:creationId xmlns:a16="http://schemas.microsoft.com/office/drawing/2014/main" id="{186F8DC8-B39B-4B1D-8D88-B878D0E32C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2;p48">
                <a:extLst>
                  <a:ext uri="{FF2B5EF4-FFF2-40B4-BE49-F238E27FC236}">
                    <a16:creationId xmlns:a16="http://schemas.microsoft.com/office/drawing/2014/main" id="{24926A41-D726-4635-BB74-AE492E9F2355}"/>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83;p48">
                <a:extLst>
                  <a:ext uri="{FF2B5EF4-FFF2-40B4-BE49-F238E27FC236}">
                    <a16:creationId xmlns:a16="http://schemas.microsoft.com/office/drawing/2014/main" id="{3718D3BC-37E8-4A1D-8899-D8A8354D02E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7" name="Google Shape;684;p48">
                <a:extLst>
                  <a:ext uri="{FF2B5EF4-FFF2-40B4-BE49-F238E27FC236}">
                    <a16:creationId xmlns:a16="http://schemas.microsoft.com/office/drawing/2014/main" id="{6584A401-B74B-49B9-BBD8-8CA9C7BE9671}"/>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5;p48">
                <a:extLst>
                  <a:ext uri="{FF2B5EF4-FFF2-40B4-BE49-F238E27FC236}">
                    <a16:creationId xmlns:a16="http://schemas.microsoft.com/office/drawing/2014/main" id="{DE101009-77C1-4B3A-8286-4E168D9AF310}"/>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6;p48">
                <a:extLst>
                  <a:ext uri="{FF2B5EF4-FFF2-40B4-BE49-F238E27FC236}">
                    <a16:creationId xmlns:a16="http://schemas.microsoft.com/office/drawing/2014/main" id="{0157FED4-E1FA-4DDD-A196-697810EEB67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7;p48">
                <a:extLst>
                  <a:ext uri="{FF2B5EF4-FFF2-40B4-BE49-F238E27FC236}">
                    <a16:creationId xmlns:a16="http://schemas.microsoft.com/office/drawing/2014/main" id="{61D4BC71-C880-47C6-87F8-33BF63347AC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6" name="Google Shape;12;p2">
            <a:extLst>
              <a:ext uri="{FF2B5EF4-FFF2-40B4-BE49-F238E27FC236}">
                <a16:creationId xmlns:a16="http://schemas.microsoft.com/office/drawing/2014/main" id="{C5A66B12-A514-4BE6-841B-2E3E156AE10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2;p2">
            <a:extLst>
              <a:ext uri="{FF2B5EF4-FFF2-40B4-BE49-F238E27FC236}">
                <a16:creationId xmlns:a16="http://schemas.microsoft.com/office/drawing/2014/main" id="{B5EC612A-B815-46F9-B9A7-A4602697660B}"/>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664426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C39DA0-CD8B-4CC2-9692-4354AE6C71B4}"/>
              </a:ext>
            </a:extLst>
          </p:cNvPr>
          <p:cNvPicPr>
            <a:picLocks noChangeAspect="1"/>
          </p:cNvPicPr>
          <p:nvPr/>
        </p:nvPicPr>
        <p:blipFill>
          <a:blip r:embed="rId3"/>
          <a:stretch>
            <a:fillRect/>
          </a:stretch>
        </p:blipFill>
        <p:spPr>
          <a:xfrm>
            <a:off x="5508639" y="1929000"/>
            <a:ext cx="5304762" cy="3000000"/>
          </a:xfrm>
          <a:prstGeom prst="rect">
            <a:avLst/>
          </a:prstGeom>
        </p:spPr>
      </p:pic>
      <p:pic>
        <p:nvPicPr>
          <p:cNvPr id="8" name="Picture 7">
            <a:extLst>
              <a:ext uri="{FF2B5EF4-FFF2-40B4-BE49-F238E27FC236}">
                <a16:creationId xmlns:a16="http://schemas.microsoft.com/office/drawing/2014/main" id="{F2869548-5143-42CE-AB8C-D661045A7BC8}"/>
              </a:ext>
            </a:extLst>
          </p:cNvPr>
          <p:cNvPicPr>
            <a:picLocks noChangeAspect="1"/>
          </p:cNvPicPr>
          <p:nvPr/>
        </p:nvPicPr>
        <p:blipFill>
          <a:blip r:embed="rId4"/>
          <a:stretch>
            <a:fillRect/>
          </a:stretch>
        </p:blipFill>
        <p:spPr>
          <a:xfrm>
            <a:off x="430530" y="776619"/>
            <a:ext cx="5304762" cy="5304762"/>
          </a:xfrm>
          <a:prstGeom prst="rect">
            <a:avLst/>
          </a:prstGeom>
        </p:spPr>
      </p:pic>
      <p:sp>
        <p:nvSpPr>
          <p:cNvPr id="9" name="Arrow: Left-Right 8">
            <a:extLst>
              <a:ext uri="{FF2B5EF4-FFF2-40B4-BE49-F238E27FC236}">
                <a16:creationId xmlns:a16="http://schemas.microsoft.com/office/drawing/2014/main" id="{F6B2C401-C591-404D-927F-F365186DC16C}"/>
              </a:ext>
            </a:extLst>
          </p:cNvPr>
          <p:cNvSpPr/>
          <p:nvPr/>
        </p:nvSpPr>
        <p:spPr>
          <a:xfrm>
            <a:off x="4762500" y="3248025"/>
            <a:ext cx="641364" cy="36195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Agile &amp; </a:t>
            </a:r>
            <a:r>
              <a:rPr lang="en-US" b="1" dirty="0" err="1">
                <a:latin typeface="Saira SemiCondensed" panose="00000506000000000000" pitchFamily="2" charset="0"/>
              </a:rPr>
              <a:t>Devops</a:t>
            </a:r>
            <a:r>
              <a:rPr lang="en-US" b="1" dirty="0">
                <a:latin typeface="Saira SemiCondensed" panose="00000506000000000000" pitchFamily="2" charset="0"/>
              </a:rPr>
              <a:t> Converge</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 name="Rectangle 9">
            <a:extLst>
              <a:ext uri="{FF2B5EF4-FFF2-40B4-BE49-F238E27FC236}">
                <a16:creationId xmlns:a16="http://schemas.microsoft.com/office/drawing/2014/main" id="{0DC8868A-6B07-4126-BF8E-7E05BF32F4E5}"/>
              </a:ext>
            </a:extLst>
          </p:cNvPr>
          <p:cNvSpPr/>
          <p:nvPr/>
        </p:nvSpPr>
        <p:spPr>
          <a:xfrm>
            <a:off x="5508639" y="5247986"/>
            <a:ext cx="5979522" cy="461665"/>
          </a:xfrm>
          <a:prstGeom prst="rect">
            <a:avLst/>
          </a:prstGeom>
          <a:noFill/>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Sora" pitchFamily="2" charset="0"/>
                <a:cs typeface="Sora" pitchFamily="2" charset="0"/>
              </a:rPr>
              <a:t>Common Standards &amp; Best Practices</a:t>
            </a: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871716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1B965E6-0804-44F8-820E-56A12F862D71}"/>
              </a:ext>
            </a:extLst>
          </p:cNvPr>
          <p:cNvSpPr/>
          <p:nvPr/>
        </p:nvSpPr>
        <p:spPr>
          <a:xfrm>
            <a:off x="8941832" y="5921743"/>
            <a:ext cx="1529571"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NEAR</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Enter The </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7" name="Rectangle 6">
            <a:extLst>
              <a:ext uri="{FF2B5EF4-FFF2-40B4-BE49-F238E27FC236}">
                <a16:creationId xmlns:a16="http://schemas.microsoft.com/office/drawing/2014/main" id="{CD20DDC0-0026-4E2E-8C33-3E04414F6AB5}"/>
              </a:ext>
            </a:extLst>
          </p:cNvPr>
          <p:cNvSpPr/>
          <p:nvPr/>
        </p:nvSpPr>
        <p:spPr>
          <a:xfrm>
            <a:off x="4712732" y="1170618"/>
            <a:ext cx="1529571"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6</a:t>
            </a:r>
          </a:p>
        </p:txBody>
      </p:sp>
      <p:sp>
        <p:nvSpPr>
          <p:cNvPr id="10" name="Title 3">
            <a:extLst>
              <a:ext uri="{FF2B5EF4-FFF2-40B4-BE49-F238E27FC236}">
                <a16:creationId xmlns:a16="http://schemas.microsoft.com/office/drawing/2014/main" id="{BACB3B3E-12FA-4364-90E0-943300E6BF0C}"/>
              </a:ext>
            </a:extLst>
          </p:cNvPr>
          <p:cNvSpPr txBox="1">
            <a:spLocks/>
          </p:cNvSpPr>
          <p:nvPr/>
        </p:nvSpPr>
        <p:spPr>
          <a:xfrm>
            <a:off x="6572949" y="5258278"/>
            <a:ext cx="9905998" cy="147857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t>A glimpse of the future</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p:nvPr/>
        </p:nvCxnSpPr>
        <p:spPr>
          <a:xfrm rot="10800000">
            <a:off x="0" y="1660301"/>
            <a:ext cx="6467493"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6467492" y="1547525"/>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9" name="Online Media 8" title="The Matrix Awakens: An Unreal Engine 5 Experience">
            <a:hlinkClick r:id="" action="ppaction://media"/>
            <a:extLst>
              <a:ext uri="{FF2B5EF4-FFF2-40B4-BE49-F238E27FC236}">
                <a16:creationId xmlns:a16="http://schemas.microsoft.com/office/drawing/2014/main" id="{6E30134D-69F1-45FC-9680-71C1D62303C3}"/>
              </a:ext>
            </a:extLst>
          </p:cNvPr>
          <p:cNvPicPr>
            <a:picLocks noRot="1" noChangeAspect="1"/>
          </p:cNvPicPr>
          <p:nvPr>
            <a:videoFile r:link="rId1"/>
            <p:custDataLst>
              <p:tags r:id="rId2"/>
            </p:custDataLst>
          </p:nvPr>
        </p:nvPicPr>
        <p:blipFill>
          <a:blip r:embed="rId5"/>
          <a:stretch>
            <a:fillRect/>
          </a:stretch>
        </p:blipFill>
        <p:spPr>
          <a:xfrm>
            <a:off x="2382071" y="1730096"/>
            <a:ext cx="7120132" cy="4022874"/>
          </a:xfrm>
          <a:prstGeom prst="roundRect">
            <a:avLst>
              <a:gd name="adj" fmla="val 2365"/>
            </a:avLst>
          </a:prstGeom>
          <a:ln>
            <a:noFill/>
          </a:ln>
          <a:effectLst>
            <a:outerShdw blurRad="165100" dist="165100" dir="3000000" algn="t" rotWithShape="0">
              <a:srgbClr val="000000">
                <a:alpha val="27000"/>
              </a:srgbClr>
            </a:outerShdw>
          </a:effectLst>
          <a:scene3d>
            <a:camera prst="perspectiveRight" fov="1500000">
              <a:rot lat="300000" lon="1200000" rev="0"/>
            </a:camera>
            <a:lightRig rig="threePt" dir="t">
              <a:rot lat="0" lon="0" rev="19800000"/>
            </a:lightRig>
          </a:scene3d>
          <a:sp3d extrusionH="190500">
            <a:bevelT w="139700" h="12700" prst="softRound"/>
            <a:extrusionClr>
              <a:srgbClr val="000000"/>
            </a:extrusionClr>
            <a:contourClr>
              <a:srgbClr val="969696"/>
            </a:contourClr>
          </a:sp3d>
        </p:spPr>
      </p:pic>
    </p:spTree>
    <p:extLst>
      <p:ext uri="{BB962C8B-B14F-4D97-AF65-F5344CB8AC3E}">
        <p14:creationId xmlns:p14="http://schemas.microsoft.com/office/powerpoint/2010/main" val="1442908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pic>
        <p:nvPicPr>
          <p:cNvPr id="896" name="Picture 895">
            <a:extLst>
              <a:ext uri="{FF2B5EF4-FFF2-40B4-BE49-F238E27FC236}">
                <a16:creationId xmlns:a16="http://schemas.microsoft.com/office/drawing/2014/main" id="{002927F8-D956-477C-A1A1-FA34527E71E8}"/>
              </a:ext>
            </a:extLst>
          </p:cNvPr>
          <p:cNvPicPr>
            <a:picLocks noChangeAspect="1"/>
          </p:cNvPicPr>
          <p:nvPr/>
        </p:nvPicPr>
        <p:blipFill>
          <a:blip r:embed="rId2">
            <a:alphaModFix amt="35000"/>
            <a:duotone>
              <a:prstClr val="black"/>
              <a:schemeClr val="tx2">
                <a:tint val="45000"/>
                <a:satMod val="400000"/>
              </a:schemeClr>
            </a:duotone>
          </a:blip>
          <a:stretch>
            <a:fillRect/>
          </a:stretch>
        </p:blipFill>
        <p:spPr>
          <a:xfrm>
            <a:off x="791043" y="272904"/>
            <a:ext cx="10609914" cy="6312192"/>
          </a:xfrm>
          <a:prstGeom prst="rect">
            <a:avLst/>
          </a:prstGeom>
        </p:spPr>
      </p:pic>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6458336" y="3053989"/>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Peter Abernathy, 'Westworld', from 'Romeo And Julie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515084"/>
            <a:ext cx="7389117" cy="500137"/>
          </a:xfrm>
          <a:prstGeom prst="rect">
            <a:avLst/>
          </a:prstGeom>
          <a:noFill/>
        </p:spPr>
        <p:txBody>
          <a:bodyPr wrap="square">
            <a:spAutoFit/>
          </a:bodyPr>
          <a:lstStyle/>
          <a:p>
            <a:r>
              <a:rPr lang="en-US" sz="2650" kern="0" dirty="0">
                <a:solidFill>
                  <a:srgbClr val="FFFFFF"/>
                </a:solidFill>
                <a:latin typeface="Sora"/>
                <a:cs typeface="Sora"/>
                <a:sym typeface="Sora"/>
              </a:rPr>
              <a:t>“these violent delights have violent ends.”</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8" name="Google Shape;7729;p93">
            <a:extLst>
              <a:ext uri="{FF2B5EF4-FFF2-40B4-BE49-F238E27FC236}">
                <a16:creationId xmlns:a16="http://schemas.microsoft.com/office/drawing/2014/main" id="{BF7D57C1-90D5-43CC-8962-96628C9380E1}"/>
              </a:ext>
            </a:extLst>
          </p:cNvPr>
          <p:cNvGrpSpPr/>
          <p:nvPr/>
        </p:nvGrpSpPr>
        <p:grpSpPr>
          <a:xfrm>
            <a:off x="6707917" y="1905058"/>
            <a:ext cx="557670" cy="511283"/>
            <a:chOff x="6015419" y="3716859"/>
            <a:chExt cx="557671" cy="511283"/>
          </a:xfrm>
        </p:grpSpPr>
        <p:sp>
          <p:nvSpPr>
            <p:cNvPr id="69" name="Google Shape;7730;p93">
              <a:extLst>
                <a:ext uri="{FF2B5EF4-FFF2-40B4-BE49-F238E27FC236}">
                  <a16:creationId xmlns:a16="http://schemas.microsoft.com/office/drawing/2014/main" id="{DA606A4B-3B48-46B1-B388-347DB5C90C15}"/>
                </a:ext>
              </a:extLst>
            </p:cNvPr>
            <p:cNvSpPr/>
            <p:nvPr/>
          </p:nvSpPr>
          <p:spPr>
            <a:xfrm>
              <a:off x="6015419" y="3716859"/>
              <a:ext cx="557671" cy="511283"/>
            </a:xfrm>
            <a:custGeom>
              <a:avLst/>
              <a:gdLst/>
              <a:ahLst/>
              <a:cxnLst/>
              <a:rect l="l" t="t" r="r" b="b"/>
              <a:pathLst>
                <a:path w="96650" h="88649" extrusionOk="0">
                  <a:moveTo>
                    <a:pt x="48692" y="0"/>
                  </a:moveTo>
                  <a:cubicBezTo>
                    <a:pt x="46526" y="0"/>
                    <a:pt x="44332" y="152"/>
                    <a:pt x="42124" y="465"/>
                  </a:cubicBezTo>
                  <a:cubicBezTo>
                    <a:pt x="17336" y="3960"/>
                    <a:pt x="1" y="26441"/>
                    <a:pt x="3443" y="50679"/>
                  </a:cubicBezTo>
                  <a:cubicBezTo>
                    <a:pt x="6564" y="72751"/>
                    <a:pt x="25836" y="88649"/>
                    <a:pt x="48004" y="88649"/>
                  </a:cubicBezTo>
                  <a:cubicBezTo>
                    <a:pt x="50160" y="88649"/>
                    <a:pt x="52345" y="88498"/>
                    <a:pt x="54544" y="88188"/>
                  </a:cubicBezTo>
                  <a:cubicBezTo>
                    <a:pt x="79332" y="84675"/>
                    <a:pt x="96649" y="62194"/>
                    <a:pt x="93225" y="37975"/>
                  </a:cubicBezTo>
                  <a:cubicBezTo>
                    <a:pt x="90105" y="15895"/>
                    <a:pt x="70848" y="0"/>
                    <a:pt x="4869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7731;p93">
              <a:extLst>
                <a:ext uri="{FF2B5EF4-FFF2-40B4-BE49-F238E27FC236}">
                  <a16:creationId xmlns:a16="http://schemas.microsoft.com/office/drawing/2014/main" id="{B726B0BE-7DED-4979-9C40-81C26FFC6C84}"/>
                </a:ext>
              </a:extLst>
            </p:cNvPr>
            <p:cNvGrpSpPr/>
            <p:nvPr/>
          </p:nvGrpSpPr>
          <p:grpSpPr>
            <a:xfrm>
              <a:off x="6036094" y="3716980"/>
              <a:ext cx="529860" cy="510468"/>
              <a:chOff x="6036094" y="3716980"/>
              <a:chExt cx="529860" cy="510468"/>
            </a:xfrm>
          </p:grpSpPr>
          <p:sp>
            <p:nvSpPr>
              <p:cNvPr id="71" name="Google Shape;7732;p93">
                <a:extLst>
                  <a:ext uri="{FF2B5EF4-FFF2-40B4-BE49-F238E27FC236}">
                    <a16:creationId xmlns:a16="http://schemas.microsoft.com/office/drawing/2014/main" id="{1F709D36-4118-4190-99A0-DD81EF15B20B}"/>
                  </a:ext>
                </a:extLst>
              </p:cNvPr>
              <p:cNvSpPr/>
              <p:nvPr/>
            </p:nvSpPr>
            <p:spPr>
              <a:xfrm>
                <a:off x="6220140" y="3716980"/>
                <a:ext cx="80065" cy="6427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733;p93">
                <a:extLst>
                  <a:ext uri="{FF2B5EF4-FFF2-40B4-BE49-F238E27FC236}">
                    <a16:creationId xmlns:a16="http://schemas.microsoft.com/office/drawing/2014/main" id="{266601AD-E843-484E-96E8-DCEB1E2E9E7B}"/>
                  </a:ext>
                </a:extLst>
              </p:cNvPr>
              <p:cNvSpPr/>
              <p:nvPr/>
            </p:nvSpPr>
            <p:spPr>
              <a:xfrm>
                <a:off x="6368562" y="3771936"/>
                <a:ext cx="39115" cy="36745"/>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7734;p93">
                <a:extLst>
                  <a:ext uri="{FF2B5EF4-FFF2-40B4-BE49-F238E27FC236}">
                    <a16:creationId xmlns:a16="http://schemas.microsoft.com/office/drawing/2014/main" id="{A21C8309-7C44-4BA6-B01D-E340A34B4783}"/>
                  </a:ext>
                </a:extLst>
              </p:cNvPr>
              <p:cNvSpPr/>
              <p:nvPr/>
            </p:nvSpPr>
            <p:spPr>
              <a:xfrm>
                <a:off x="6304793" y="3747169"/>
                <a:ext cx="25088" cy="13311"/>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7735;p93">
                <a:extLst>
                  <a:ext uri="{FF2B5EF4-FFF2-40B4-BE49-F238E27FC236}">
                    <a16:creationId xmlns:a16="http://schemas.microsoft.com/office/drawing/2014/main" id="{73E9BE7A-065A-4468-B1B2-2DB788324D28}"/>
                  </a:ext>
                </a:extLst>
              </p:cNvPr>
              <p:cNvSpPr/>
              <p:nvPr/>
            </p:nvSpPr>
            <p:spPr>
              <a:xfrm>
                <a:off x="6365182" y="3787492"/>
                <a:ext cx="18025" cy="16582"/>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736;p93">
                <a:extLst>
                  <a:ext uri="{FF2B5EF4-FFF2-40B4-BE49-F238E27FC236}">
                    <a16:creationId xmlns:a16="http://schemas.microsoft.com/office/drawing/2014/main" id="{5E2CFD8D-828E-498E-9263-7EC7B4DBFE63}"/>
                  </a:ext>
                </a:extLst>
              </p:cNvPr>
              <p:cNvSpPr/>
              <p:nvPr/>
            </p:nvSpPr>
            <p:spPr>
              <a:xfrm>
                <a:off x="6367131" y="3727108"/>
                <a:ext cx="198823" cy="438001"/>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7737;p93">
                <a:extLst>
                  <a:ext uri="{FF2B5EF4-FFF2-40B4-BE49-F238E27FC236}">
                    <a16:creationId xmlns:a16="http://schemas.microsoft.com/office/drawing/2014/main" id="{C71C6BA4-568F-4C59-B419-440BC6288112}"/>
                  </a:ext>
                </a:extLst>
              </p:cNvPr>
              <p:cNvSpPr/>
              <p:nvPr/>
            </p:nvSpPr>
            <p:spPr>
              <a:xfrm>
                <a:off x="6036094" y="3734681"/>
                <a:ext cx="181628" cy="303024"/>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38;p93">
                <a:extLst>
                  <a:ext uri="{FF2B5EF4-FFF2-40B4-BE49-F238E27FC236}">
                    <a16:creationId xmlns:a16="http://schemas.microsoft.com/office/drawing/2014/main" id="{DD0AA9F4-E382-4023-9F9D-6E02CB133F1F}"/>
                  </a:ext>
                </a:extLst>
              </p:cNvPr>
              <p:cNvSpPr/>
              <p:nvPr/>
            </p:nvSpPr>
            <p:spPr>
              <a:xfrm>
                <a:off x="6143575" y="4010833"/>
                <a:ext cx="186233" cy="216616"/>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7739;p93">
                <a:extLst>
                  <a:ext uri="{FF2B5EF4-FFF2-40B4-BE49-F238E27FC236}">
                    <a16:creationId xmlns:a16="http://schemas.microsoft.com/office/drawing/2014/main" id="{695A2BBF-1FC3-4AF2-926C-444A5E48D711}"/>
                  </a:ext>
                </a:extLst>
              </p:cNvPr>
              <p:cNvSpPr/>
              <p:nvPr/>
            </p:nvSpPr>
            <p:spPr>
              <a:xfrm>
                <a:off x="6110513" y="3969114"/>
                <a:ext cx="33997" cy="13957"/>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7740;p93">
                <a:extLst>
                  <a:ext uri="{FF2B5EF4-FFF2-40B4-BE49-F238E27FC236}">
                    <a16:creationId xmlns:a16="http://schemas.microsoft.com/office/drawing/2014/main" id="{CF62E997-00D7-4CEC-A6FD-86186EBE639A}"/>
                  </a:ext>
                </a:extLst>
              </p:cNvPr>
              <p:cNvSpPr/>
              <p:nvPr/>
            </p:nvSpPr>
            <p:spPr>
              <a:xfrm>
                <a:off x="6151865" y="3979381"/>
                <a:ext cx="35739" cy="11875"/>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741;p93">
                <a:extLst>
                  <a:ext uri="{FF2B5EF4-FFF2-40B4-BE49-F238E27FC236}">
                    <a16:creationId xmlns:a16="http://schemas.microsoft.com/office/drawing/2014/main" id="{C921237E-FA47-490C-8DF0-8CC3AA188762}"/>
                  </a:ext>
                </a:extLst>
              </p:cNvPr>
              <p:cNvSpPr/>
              <p:nvPr/>
            </p:nvSpPr>
            <p:spPr>
              <a:xfrm>
                <a:off x="6203762" y="3831292"/>
                <a:ext cx="19768" cy="12285"/>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418380148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154132-F7ED-4444-9FC4-7D8785E84E92}"/>
              </a:ext>
            </a:extLst>
          </p:cNvPr>
          <p:cNvSpPr/>
          <p:nvPr/>
        </p:nvSpPr>
        <p:spPr>
          <a:xfrm>
            <a:off x="0" y="0"/>
            <a:ext cx="12192000" cy="6858000"/>
          </a:xfrm>
          <a:prstGeom prst="rect">
            <a:avLst/>
          </a:prstGeom>
          <a:solidFill>
            <a:schemeClr val="bg1"/>
          </a:solidFill>
          <a:effectLst>
            <a:outerShdw blurRad="50800" dist="50800" dir="5400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8" name="Picture 4" descr="Ouroboros Ancient Symbol - Free vector graphic on Pixabay">
            <a:extLst>
              <a:ext uri="{FF2B5EF4-FFF2-40B4-BE49-F238E27FC236}">
                <a16:creationId xmlns:a16="http://schemas.microsoft.com/office/drawing/2014/main" id="{BA3178CF-806C-4AFC-A43E-C1ED45BFABD7}"/>
              </a:ext>
            </a:extLst>
          </p:cNvPr>
          <p:cNvPicPr>
            <a:picLocks noChangeAspect="1" noChangeArrowheads="1"/>
          </p:cNvPicPr>
          <p:nvPr/>
        </p:nvPicPr>
        <p:blipFill>
          <a:blip r:embed="rId3">
            <a:alphaModFix amt="50000"/>
            <a:extLst>
              <a:ext uri="{BEBA8EAE-BF5A-486C-A8C5-ECC9F3942E4B}">
                <a14:imgProps xmlns:a14="http://schemas.microsoft.com/office/drawing/2010/main">
                  <a14:imgLayer r:embed="rId4">
                    <a14:imgEffect>
                      <a14:artisticGlowDiffused/>
                    </a14:imgEffect>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3262690" y="-3824"/>
            <a:ext cx="5666619" cy="5642160"/>
          </a:xfrm>
          <a:prstGeom prst="rect">
            <a:avLst/>
          </a:prstGeom>
          <a:noFill/>
          <a:effectLst>
            <a:glow rad="228600">
              <a:schemeClr val="accent5">
                <a:satMod val="175000"/>
                <a:alpha val="40000"/>
              </a:schemeClr>
            </a:glow>
            <a:reflection blurRad="6350" stA="50000" endA="275" endPos="40000" dist="101600" dir="5400000" sy="-100000" algn="bl" rotWithShape="0"/>
          </a:effectLst>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A36C973D-A340-4492-BBC1-4D27662A338C}"/>
              </a:ext>
            </a:extLst>
          </p:cNvPr>
          <p:cNvPicPr>
            <a:picLocks noChangeAspect="1"/>
          </p:cNvPicPr>
          <p:nvPr/>
        </p:nvPicPr>
        <p:blipFill>
          <a:blip r:embed="rId5"/>
          <a:stretch>
            <a:fillRect/>
          </a:stretch>
        </p:blipFill>
        <p:spPr>
          <a:xfrm>
            <a:off x="0" y="-631065"/>
            <a:ext cx="12192000" cy="6858000"/>
          </a:xfrm>
          <a:prstGeom prst="rect">
            <a:avLst/>
          </a:prstGeom>
        </p:spPr>
      </p:pic>
      <p:sp>
        <p:nvSpPr>
          <p:cNvPr id="3" name="Rectangle 2">
            <a:extLst>
              <a:ext uri="{FF2B5EF4-FFF2-40B4-BE49-F238E27FC236}">
                <a16:creationId xmlns:a16="http://schemas.microsoft.com/office/drawing/2014/main" id="{EB6E9CE9-87B0-463B-A8D7-2C4815D358A1}"/>
              </a:ext>
            </a:extLst>
          </p:cNvPr>
          <p:cNvSpPr/>
          <p:nvPr/>
        </p:nvSpPr>
        <p:spPr>
          <a:xfrm>
            <a:off x="2785639" y="5349927"/>
            <a:ext cx="6620722" cy="1077218"/>
          </a:xfrm>
          <a:prstGeom prst="rect">
            <a:avLst/>
          </a:prstGeom>
          <a:noFill/>
        </p:spPr>
        <p:txBody>
          <a:bodyPr wrap="none" lIns="91440" tIns="45720" rIns="91440" bIns="45720">
            <a:spAutoFit/>
          </a:bodyPr>
          <a:lstStyle/>
          <a:p>
            <a:pPr algn="ct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The end is the </a:t>
            </a:r>
            <a:r>
              <a:rPr lang="en-US" sz="3200" dirty="0">
                <a:ln w="0"/>
                <a:effectLst>
                  <a:outerShdw blurRad="38100" dist="19050" dir="2700000" algn="tl" rotWithShape="0">
                    <a:schemeClr val="dk1">
                      <a:alpha val="40000"/>
                    </a:schemeClr>
                  </a:outerShdw>
                </a:effectLst>
                <a:latin typeface="Cinzel" panose="00000500000000000000" pitchFamily="2" charset="0"/>
              </a:rPr>
              <a:t>beginning </a:t>
            </a:r>
          </a:p>
          <a:p>
            <a:pPr algn="ctr"/>
            <a:r>
              <a:rPr lang="en-US" sz="3200" dirty="0">
                <a:ln w="0"/>
                <a:effectLst>
                  <a:outerShdw blurRad="38100" dist="19050" dir="2700000" algn="tl" rotWithShape="0">
                    <a:schemeClr val="dk1">
                      <a:alpha val="40000"/>
                    </a:schemeClr>
                  </a:outerShdw>
                </a:effectLst>
                <a:latin typeface="Cinzel" panose="00000500000000000000" pitchFamily="2" charset="0"/>
              </a:rPr>
              <a:t>and the beginning is the </a:t>
            </a: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end</a:t>
            </a:r>
          </a:p>
        </p:txBody>
      </p:sp>
      <p:sp>
        <p:nvSpPr>
          <p:cNvPr id="6" name="Rectangle 5">
            <a:extLst>
              <a:ext uri="{FF2B5EF4-FFF2-40B4-BE49-F238E27FC236}">
                <a16:creationId xmlns:a16="http://schemas.microsoft.com/office/drawing/2014/main" id="{090AEA90-2ED4-4185-A1C6-22D4D56518B6}"/>
              </a:ext>
            </a:extLst>
          </p:cNvPr>
          <p:cNvSpPr/>
          <p:nvPr/>
        </p:nvSpPr>
        <p:spPr>
          <a:xfrm>
            <a:off x="6485162" y="6134757"/>
            <a:ext cx="5429308" cy="584775"/>
          </a:xfrm>
          <a:prstGeom prst="rect">
            <a:avLst/>
          </a:prstGeom>
          <a:noFill/>
        </p:spPr>
        <p:txBody>
          <a:bodyPr wrap="none" lIns="91440" tIns="45720" rIns="91440" bIns="45720">
            <a:spAutoFit/>
          </a:bodyPr>
          <a:lstStyle/>
          <a:p>
            <a:pPr algn="ctr"/>
            <a:r>
              <a:rPr lang="en-US" sz="320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Dark –Netflix Series, Ouroboros</a:t>
            </a:r>
            <a:endParaRPr lang="en-US" sz="3200" b="0"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Tree>
    <p:extLst>
      <p:ext uri="{BB962C8B-B14F-4D97-AF65-F5344CB8AC3E}">
        <p14:creationId xmlns:p14="http://schemas.microsoft.com/office/powerpoint/2010/main" val="12258578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32E1BE05-6F83-4581-8371-46F89AE09114}"/>
              </a:ext>
            </a:extLst>
          </p:cNvPr>
          <p:cNvPicPr>
            <a:picLocks noChangeAspect="1"/>
          </p:cNvPicPr>
          <p:nvPr/>
        </p:nvPicPr>
        <p:blipFill>
          <a:blip r:embed="rId2">
            <a:duotone>
              <a:prstClr val="black"/>
              <a:schemeClr val="tx2">
                <a:tint val="45000"/>
                <a:satMod val="400000"/>
              </a:schemeClr>
            </a:duotone>
          </a:blip>
          <a:stretch>
            <a:fillRect/>
          </a:stretch>
        </p:blipFill>
        <p:spPr>
          <a:xfrm>
            <a:off x="7066552" y="4846"/>
            <a:ext cx="5127174" cy="6853154"/>
          </a:xfrm>
          <a:prstGeom prst="rect">
            <a:avLst/>
          </a:prstGeom>
        </p:spPr>
      </p:pic>
      <p:sp>
        <p:nvSpPr>
          <p:cNvPr id="2" name="Google Shape;1293;p55">
            <a:extLst>
              <a:ext uri="{FF2B5EF4-FFF2-40B4-BE49-F238E27FC236}">
                <a16:creationId xmlns:a16="http://schemas.microsoft.com/office/drawing/2014/main" id="{07EF0315-EF33-40CB-BBD3-C1955C0D22B7}"/>
              </a:ext>
            </a:extLst>
          </p:cNvPr>
          <p:cNvSpPr txBox="1">
            <a:spLocks/>
          </p:cNvSpPr>
          <p:nvPr/>
        </p:nvSpPr>
        <p:spPr>
          <a:xfrm>
            <a:off x="1486648" y="1876254"/>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grpSp>
        <p:nvGrpSpPr>
          <p:cNvPr id="4" name="Google Shape;1302;p55">
            <a:extLst>
              <a:ext uri="{FF2B5EF4-FFF2-40B4-BE49-F238E27FC236}">
                <a16:creationId xmlns:a16="http://schemas.microsoft.com/office/drawing/2014/main" id="{C6C5DDCC-2797-447E-A543-2A9218A8D557}"/>
              </a:ext>
            </a:extLst>
          </p:cNvPr>
          <p:cNvGrpSpPr/>
          <p:nvPr/>
        </p:nvGrpSpPr>
        <p:grpSpPr>
          <a:xfrm rot="14053952">
            <a:off x="5735824" y="3211269"/>
            <a:ext cx="161701" cy="641985"/>
            <a:chOff x="7608634" y="5343951"/>
            <a:chExt cx="161700" cy="641982"/>
          </a:xfrm>
        </p:grpSpPr>
        <p:sp>
          <p:nvSpPr>
            <p:cNvPr id="37" name="Google Shape;1303;p55">
              <a:extLst>
                <a:ext uri="{FF2B5EF4-FFF2-40B4-BE49-F238E27FC236}">
                  <a16:creationId xmlns:a16="http://schemas.microsoft.com/office/drawing/2014/main" id="{28A6C057-D0F5-49A9-8E8E-E423FE53E830}"/>
                </a:ext>
              </a:extLst>
            </p:cNvPr>
            <p:cNvSpPr/>
            <p:nvPr/>
          </p:nvSpPr>
          <p:spPr>
            <a:xfrm>
              <a:off x="7608634" y="584613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304;p55">
              <a:extLst>
                <a:ext uri="{FF2B5EF4-FFF2-40B4-BE49-F238E27FC236}">
                  <a16:creationId xmlns:a16="http://schemas.microsoft.com/office/drawing/2014/main" id="{5956B3CD-B135-4742-93D2-E9E463486197}"/>
                </a:ext>
              </a:extLst>
            </p:cNvPr>
            <p:cNvSpPr/>
            <p:nvPr/>
          </p:nvSpPr>
          <p:spPr>
            <a:xfrm>
              <a:off x="7608634" y="5678739"/>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305;p55">
              <a:extLst>
                <a:ext uri="{FF2B5EF4-FFF2-40B4-BE49-F238E27FC236}">
                  <a16:creationId xmlns:a16="http://schemas.microsoft.com/office/drawing/2014/main" id="{58690CE0-BE15-4845-85D9-71DC9E14F8F9}"/>
                </a:ext>
              </a:extLst>
            </p:cNvPr>
            <p:cNvSpPr/>
            <p:nvPr/>
          </p:nvSpPr>
          <p:spPr>
            <a:xfrm>
              <a:off x="7608634" y="551134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306;p55">
              <a:extLst>
                <a:ext uri="{FF2B5EF4-FFF2-40B4-BE49-F238E27FC236}">
                  <a16:creationId xmlns:a16="http://schemas.microsoft.com/office/drawing/2014/main" id="{26D2AB80-781D-4845-9805-BB98F9B4C8E5}"/>
                </a:ext>
              </a:extLst>
            </p:cNvPr>
            <p:cNvSpPr/>
            <p:nvPr/>
          </p:nvSpPr>
          <p:spPr>
            <a:xfrm>
              <a:off x="7608634" y="534395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 name="Google Shape;1307;p55">
            <a:extLst>
              <a:ext uri="{FF2B5EF4-FFF2-40B4-BE49-F238E27FC236}">
                <a16:creationId xmlns:a16="http://schemas.microsoft.com/office/drawing/2014/main" id="{4D80EC08-4F30-4513-989A-8AEDF40E15E4}"/>
              </a:ext>
            </a:extLst>
          </p:cNvPr>
          <p:cNvSpPr/>
          <p:nvPr/>
        </p:nvSpPr>
        <p:spPr>
          <a:xfrm>
            <a:off x="3083319" y="889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308;p55">
            <a:extLst>
              <a:ext uri="{FF2B5EF4-FFF2-40B4-BE49-F238E27FC236}">
                <a16:creationId xmlns:a16="http://schemas.microsoft.com/office/drawing/2014/main" id="{15681049-DFB9-40EE-A08B-0EDA5FBEACCD}"/>
              </a:ext>
            </a:extLst>
          </p:cNvPr>
          <p:cNvSpPr/>
          <p:nvPr/>
        </p:nvSpPr>
        <p:spPr>
          <a:xfrm>
            <a:off x="6053304" y="21946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309;p55">
            <a:extLst>
              <a:ext uri="{FF2B5EF4-FFF2-40B4-BE49-F238E27FC236}">
                <a16:creationId xmlns:a16="http://schemas.microsoft.com/office/drawing/2014/main" id="{87CC6988-6A44-4A10-AB82-F14D8F91832C}"/>
              </a:ext>
            </a:extLst>
          </p:cNvPr>
          <p:cNvSpPr/>
          <p:nvPr/>
        </p:nvSpPr>
        <p:spPr>
          <a:xfrm>
            <a:off x="8820604" y="9452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310;p55">
            <a:extLst>
              <a:ext uri="{FF2B5EF4-FFF2-40B4-BE49-F238E27FC236}">
                <a16:creationId xmlns:a16="http://schemas.microsoft.com/office/drawing/2014/main" id="{B4345AA1-F5D5-4AA2-889E-9EBF8E2F13E0}"/>
              </a:ext>
            </a:extLst>
          </p:cNvPr>
          <p:cNvSpPr/>
          <p:nvPr/>
        </p:nvSpPr>
        <p:spPr>
          <a:xfrm>
            <a:off x="5286873" y="471210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311;p55">
            <a:extLst>
              <a:ext uri="{FF2B5EF4-FFF2-40B4-BE49-F238E27FC236}">
                <a16:creationId xmlns:a16="http://schemas.microsoft.com/office/drawing/2014/main" id="{9F174091-38E7-4881-A389-BDB2504E4907}"/>
              </a:ext>
            </a:extLst>
          </p:cNvPr>
          <p:cNvSpPr/>
          <p:nvPr/>
        </p:nvSpPr>
        <p:spPr>
          <a:xfrm>
            <a:off x="7891404" y="3937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338;p55">
            <a:extLst>
              <a:ext uri="{FF2B5EF4-FFF2-40B4-BE49-F238E27FC236}">
                <a16:creationId xmlns:a16="http://schemas.microsoft.com/office/drawing/2014/main" id="{BA002F27-68C9-42DB-94AB-C6C19632A7D4}"/>
              </a:ext>
            </a:extLst>
          </p:cNvPr>
          <p:cNvSpPr/>
          <p:nvPr/>
        </p:nvSpPr>
        <p:spPr>
          <a:xfrm>
            <a:off x="636854" y="38835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1263;p54">
            <a:extLst>
              <a:ext uri="{FF2B5EF4-FFF2-40B4-BE49-F238E27FC236}">
                <a16:creationId xmlns:a16="http://schemas.microsoft.com/office/drawing/2014/main" id="{CDB667E8-BDCD-4226-9A57-20C35E0D7EC3}"/>
              </a:ext>
            </a:extLst>
          </p:cNvPr>
          <p:cNvGrpSpPr/>
          <p:nvPr/>
        </p:nvGrpSpPr>
        <p:grpSpPr>
          <a:xfrm>
            <a:off x="7219380" y="4377467"/>
            <a:ext cx="719774" cy="669278"/>
            <a:chOff x="4818730" y="3307263"/>
            <a:chExt cx="1827512" cy="1699300"/>
          </a:xfrm>
        </p:grpSpPr>
        <p:sp>
          <p:nvSpPr>
            <p:cNvPr id="42" name="Google Shape;1264;p54">
              <a:extLst>
                <a:ext uri="{FF2B5EF4-FFF2-40B4-BE49-F238E27FC236}">
                  <a16:creationId xmlns:a16="http://schemas.microsoft.com/office/drawing/2014/main" id="{44F54996-1FD7-4CED-95E5-76D109A3ECA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65;p54">
              <a:extLst>
                <a:ext uri="{FF2B5EF4-FFF2-40B4-BE49-F238E27FC236}">
                  <a16:creationId xmlns:a16="http://schemas.microsoft.com/office/drawing/2014/main" id="{A6BE1196-E110-4B2D-A735-F2E94080270D}"/>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66;p54">
              <a:extLst>
                <a:ext uri="{FF2B5EF4-FFF2-40B4-BE49-F238E27FC236}">
                  <a16:creationId xmlns:a16="http://schemas.microsoft.com/office/drawing/2014/main" id="{ED5F69C7-693A-4DCF-97FA-45C053859466}"/>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67;p54">
              <a:extLst>
                <a:ext uri="{FF2B5EF4-FFF2-40B4-BE49-F238E27FC236}">
                  <a16:creationId xmlns:a16="http://schemas.microsoft.com/office/drawing/2014/main" id="{57113CF9-0737-4A9C-A94E-B75ED8D6F2AD}"/>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268;p54">
              <a:extLst>
                <a:ext uri="{FF2B5EF4-FFF2-40B4-BE49-F238E27FC236}">
                  <a16:creationId xmlns:a16="http://schemas.microsoft.com/office/drawing/2014/main" id="{A30A7D11-2E17-4FCB-BB7B-1EE6DC68BB0E}"/>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69;p54">
              <a:extLst>
                <a:ext uri="{FF2B5EF4-FFF2-40B4-BE49-F238E27FC236}">
                  <a16:creationId xmlns:a16="http://schemas.microsoft.com/office/drawing/2014/main" id="{DB294D6D-D2A7-4055-AC4D-B8A31093BF63}"/>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270;p54">
              <a:extLst>
                <a:ext uri="{FF2B5EF4-FFF2-40B4-BE49-F238E27FC236}">
                  <a16:creationId xmlns:a16="http://schemas.microsoft.com/office/drawing/2014/main" id="{A34055A9-E209-4C29-8282-CC71912B3DC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271;p54">
              <a:extLst>
                <a:ext uri="{FF2B5EF4-FFF2-40B4-BE49-F238E27FC236}">
                  <a16:creationId xmlns:a16="http://schemas.microsoft.com/office/drawing/2014/main" id="{7B984569-F3FA-40EC-A022-4DF2192AA5FB}"/>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72;p54">
              <a:extLst>
                <a:ext uri="{FF2B5EF4-FFF2-40B4-BE49-F238E27FC236}">
                  <a16:creationId xmlns:a16="http://schemas.microsoft.com/office/drawing/2014/main" id="{5CC090DA-8EFF-4009-934C-EE4996E97B4B}"/>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273;p54">
              <a:extLst>
                <a:ext uri="{FF2B5EF4-FFF2-40B4-BE49-F238E27FC236}">
                  <a16:creationId xmlns:a16="http://schemas.microsoft.com/office/drawing/2014/main" id="{978B6740-9F1C-478E-8386-ADADD7793649}"/>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274;p54">
              <a:extLst>
                <a:ext uri="{FF2B5EF4-FFF2-40B4-BE49-F238E27FC236}">
                  <a16:creationId xmlns:a16="http://schemas.microsoft.com/office/drawing/2014/main" id="{41B234B6-D393-4515-AF8E-1210223897AD}"/>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275;p54">
              <a:extLst>
                <a:ext uri="{FF2B5EF4-FFF2-40B4-BE49-F238E27FC236}">
                  <a16:creationId xmlns:a16="http://schemas.microsoft.com/office/drawing/2014/main" id="{F508184A-4C54-40D2-9C8E-72E3B44FC9D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276;p54">
              <a:extLst>
                <a:ext uri="{FF2B5EF4-FFF2-40B4-BE49-F238E27FC236}">
                  <a16:creationId xmlns:a16="http://schemas.microsoft.com/office/drawing/2014/main" id="{C1FC3983-A270-492D-A2BA-0760D52ED9B9}"/>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277;p54">
              <a:extLst>
                <a:ext uri="{FF2B5EF4-FFF2-40B4-BE49-F238E27FC236}">
                  <a16:creationId xmlns:a16="http://schemas.microsoft.com/office/drawing/2014/main" id="{68B014EE-8EE5-4437-82B3-34B4EF3191EC}"/>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278;p54">
              <a:extLst>
                <a:ext uri="{FF2B5EF4-FFF2-40B4-BE49-F238E27FC236}">
                  <a16:creationId xmlns:a16="http://schemas.microsoft.com/office/drawing/2014/main" id="{DDC054B0-00FF-478C-9304-5FE127604777}"/>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279;p54">
              <a:extLst>
                <a:ext uri="{FF2B5EF4-FFF2-40B4-BE49-F238E27FC236}">
                  <a16:creationId xmlns:a16="http://schemas.microsoft.com/office/drawing/2014/main" id="{37239AA8-6FBC-4EDE-AADE-8BB2907B2E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280;p54">
              <a:extLst>
                <a:ext uri="{FF2B5EF4-FFF2-40B4-BE49-F238E27FC236}">
                  <a16:creationId xmlns:a16="http://schemas.microsoft.com/office/drawing/2014/main" id="{8D037BCF-F98C-4977-AFBC-6590B15B60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281;p54">
              <a:extLst>
                <a:ext uri="{FF2B5EF4-FFF2-40B4-BE49-F238E27FC236}">
                  <a16:creationId xmlns:a16="http://schemas.microsoft.com/office/drawing/2014/main" id="{20642B45-CDBC-40AC-95ED-E6AAE502DD2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282;p54">
              <a:extLst>
                <a:ext uri="{FF2B5EF4-FFF2-40B4-BE49-F238E27FC236}">
                  <a16:creationId xmlns:a16="http://schemas.microsoft.com/office/drawing/2014/main" id="{818DC193-7709-448A-A1B1-EDEDB3C482D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283;p54">
              <a:extLst>
                <a:ext uri="{FF2B5EF4-FFF2-40B4-BE49-F238E27FC236}">
                  <a16:creationId xmlns:a16="http://schemas.microsoft.com/office/drawing/2014/main" id="{F727E120-5ACC-4587-BBDF-D9CE248174F7}"/>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284;p54">
              <a:extLst>
                <a:ext uri="{FF2B5EF4-FFF2-40B4-BE49-F238E27FC236}">
                  <a16:creationId xmlns:a16="http://schemas.microsoft.com/office/drawing/2014/main" id="{EAB27F81-4A2C-457F-8952-0A54CF53ABD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285;p54">
              <a:extLst>
                <a:ext uri="{FF2B5EF4-FFF2-40B4-BE49-F238E27FC236}">
                  <a16:creationId xmlns:a16="http://schemas.microsoft.com/office/drawing/2014/main" id="{0C190671-3FD7-47DC-B0CC-FA8044662D76}"/>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86;p54">
              <a:extLst>
                <a:ext uri="{FF2B5EF4-FFF2-40B4-BE49-F238E27FC236}">
                  <a16:creationId xmlns:a16="http://schemas.microsoft.com/office/drawing/2014/main" id="{9BDA2D19-A5F7-444D-A5F9-C8A590B6864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287;p54">
              <a:extLst>
                <a:ext uri="{FF2B5EF4-FFF2-40B4-BE49-F238E27FC236}">
                  <a16:creationId xmlns:a16="http://schemas.microsoft.com/office/drawing/2014/main" id="{66CEFB95-5622-4CE0-80B4-4F51B1F67C4A}"/>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288;p54">
              <a:extLst>
                <a:ext uri="{FF2B5EF4-FFF2-40B4-BE49-F238E27FC236}">
                  <a16:creationId xmlns:a16="http://schemas.microsoft.com/office/drawing/2014/main" id="{E00AD037-C7E6-4CA3-B7FD-5A3219AB6B68}"/>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68" name="Google Shape;1298;p55">
            <a:extLst>
              <a:ext uri="{FF2B5EF4-FFF2-40B4-BE49-F238E27FC236}">
                <a16:creationId xmlns:a16="http://schemas.microsoft.com/office/drawing/2014/main" id="{23B37E86-A40F-4488-A4B0-AE7AF023271A}"/>
              </a:ext>
            </a:extLst>
          </p:cNvPr>
          <p:cNvCxnSpPr/>
          <p:nvPr/>
        </p:nvCxnSpPr>
        <p:spPr>
          <a:xfrm rot="10800000">
            <a:off x="-928855" y="2574701"/>
            <a:ext cx="6467493" cy="0"/>
          </a:xfrm>
          <a:prstGeom prst="straightConnector1">
            <a:avLst/>
          </a:prstGeom>
          <a:noFill/>
          <a:ln w="19050" cap="flat" cmpd="sng">
            <a:solidFill>
              <a:schemeClr val="accent1"/>
            </a:solidFill>
            <a:prstDash val="solid"/>
            <a:round/>
            <a:headEnd type="none" w="med" len="med"/>
            <a:tailEnd type="none" w="med" len="med"/>
          </a:ln>
        </p:spPr>
      </p:cxnSp>
      <p:sp>
        <p:nvSpPr>
          <p:cNvPr id="70" name="Google Shape;1310;p55">
            <a:extLst>
              <a:ext uri="{FF2B5EF4-FFF2-40B4-BE49-F238E27FC236}">
                <a16:creationId xmlns:a16="http://schemas.microsoft.com/office/drawing/2014/main" id="{66BBDE42-891E-4CFB-B63B-2C9B12E44F60}"/>
              </a:ext>
            </a:extLst>
          </p:cNvPr>
          <p:cNvSpPr/>
          <p:nvPr/>
        </p:nvSpPr>
        <p:spPr>
          <a:xfrm>
            <a:off x="5538638" y="24799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94;p55">
            <a:extLst>
              <a:ext uri="{FF2B5EF4-FFF2-40B4-BE49-F238E27FC236}">
                <a16:creationId xmlns:a16="http://schemas.microsoft.com/office/drawing/2014/main" id="{98A30A56-F145-4A6E-93B4-163047C0A985}"/>
              </a:ext>
            </a:extLst>
          </p:cNvPr>
          <p:cNvSpPr txBox="1">
            <a:spLocks/>
          </p:cNvSpPr>
          <p:nvPr/>
        </p:nvSpPr>
        <p:spPr>
          <a:xfrm>
            <a:off x="1486648" y="2737112"/>
            <a:ext cx="4051200" cy="63977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Bridging the gap between hardware and software communication for in-game interaction</a:t>
            </a:r>
          </a:p>
        </p:txBody>
      </p:sp>
      <p:sp>
        <p:nvSpPr>
          <p:cNvPr id="76" name="Google Shape;1339;p55">
            <a:extLst>
              <a:ext uri="{FF2B5EF4-FFF2-40B4-BE49-F238E27FC236}">
                <a16:creationId xmlns:a16="http://schemas.microsoft.com/office/drawing/2014/main" id="{3E9B7DF3-D1F4-4BA2-B4DA-8A0656881FCF}"/>
              </a:ext>
            </a:extLst>
          </p:cNvPr>
          <p:cNvSpPr txBox="1">
            <a:spLocks/>
          </p:cNvSpPr>
          <p:nvPr/>
        </p:nvSpPr>
        <p:spPr>
          <a:xfrm>
            <a:off x="1481073" y="3405134"/>
            <a:ext cx="3805800" cy="208126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1"/>
              </a:buClr>
              <a:buSzPts val="1800"/>
              <a:buFont typeface="Arimo"/>
              <a:buChar char="●"/>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9pPr>
          </a:lstStyle>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Past, Present, Future exploration</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lang="en-US" kern="0" dirty="0">
                <a:solidFill>
                  <a:srgbClr val="FFFFFF"/>
                </a:solidFill>
              </a:rPr>
              <a:t>Big-tech companies and vision of unified development (common software standar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Metaverse was already her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Gameplay Mechanics can be characterized as the way to enter th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endParaRPr lang="en-US" kern="0" dirty="0">
              <a:solidFill>
                <a:srgbClr val="FFFFFF"/>
              </a:solidFill>
            </a:endParaRPr>
          </a:p>
        </p:txBody>
      </p:sp>
      <p:sp>
        <p:nvSpPr>
          <p:cNvPr id="77" name="Google Shape;12;p2">
            <a:extLst>
              <a:ext uri="{FF2B5EF4-FFF2-40B4-BE49-F238E27FC236}">
                <a16:creationId xmlns:a16="http://schemas.microsoft.com/office/drawing/2014/main" id="{44F30CA5-BD8E-44F0-921B-357FF88D5FE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296;p55">
            <a:extLst>
              <a:ext uri="{FF2B5EF4-FFF2-40B4-BE49-F238E27FC236}">
                <a16:creationId xmlns:a16="http://schemas.microsoft.com/office/drawing/2014/main" id="{690F5EB8-DBC9-4CE5-960C-1369DB7CB16F}"/>
              </a:ext>
            </a:extLst>
          </p:cNvPr>
          <p:cNvSpPr/>
          <p:nvPr/>
        </p:nvSpPr>
        <p:spPr>
          <a:xfrm flipH="1">
            <a:off x="7011986"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2;p2">
            <a:extLst>
              <a:ext uri="{FF2B5EF4-FFF2-40B4-BE49-F238E27FC236}">
                <a16:creationId xmlns:a16="http://schemas.microsoft.com/office/drawing/2014/main" id="{545A586C-6D88-47CE-9A34-6800CB74D91F}"/>
              </a:ext>
            </a:extLst>
          </p:cNvPr>
          <p:cNvSpPr/>
          <p:nvPr/>
        </p:nvSpPr>
        <p:spPr>
          <a:xfrm rot="2172941" flipH="1">
            <a:off x="8853627" y="3922570"/>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Rectangle 68">
            <a:extLst>
              <a:ext uri="{FF2B5EF4-FFF2-40B4-BE49-F238E27FC236}">
                <a16:creationId xmlns:a16="http://schemas.microsoft.com/office/drawing/2014/main" id="{E4DC071C-C021-4D84-98FD-DFCA9AEC3716}"/>
              </a:ext>
            </a:extLst>
          </p:cNvPr>
          <p:cNvSpPr/>
          <p:nvPr/>
        </p:nvSpPr>
        <p:spPr>
          <a:xfrm>
            <a:off x="2274333" y="4901706"/>
            <a:ext cx="838692" cy="369332"/>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4780830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86375" y="3801201"/>
            <a:ext cx="4300335"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Bernard Lowe, Westworld season one episode 10</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4" y="2515084"/>
            <a:ext cx="7046684" cy="1315745"/>
          </a:xfrm>
          <a:prstGeom prst="rect">
            <a:avLst/>
          </a:prstGeom>
          <a:noFill/>
        </p:spPr>
        <p:txBody>
          <a:bodyPr wrap="square">
            <a:spAutoFit/>
          </a:bodyPr>
          <a:lstStyle/>
          <a:p>
            <a:r>
              <a:rPr lang="en-US" sz="2650" kern="0" dirty="0">
                <a:solidFill>
                  <a:srgbClr val="FFFFFF"/>
                </a:solidFill>
                <a:latin typeface="Sora"/>
                <a:cs typeface="Sora"/>
                <a:sym typeface="Sora"/>
              </a:rPr>
              <a:t>“Consciousness isn’t a journey upward, but a journey inward. Not a pyramid, but a maze.”</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392958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104" name="Google Shape;5814;p93">
            <a:extLst>
              <a:ext uri="{FF2B5EF4-FFF2-40B4-BE49-F238E27FC236}">
                <a16:creationId xmlns:a16="http://schemas.microsoft.com/office/drawing/2014/main" id="{6A3CABA2-FEA8-4FC7-B203-A946D5661CA0}"/>
              </a:ext>
            </a:extLst>
          </p:cNvPr>
          <p:cNvGrpSpPr/>
          <p:nvPr/>
        </p:nvGrpSpPr>
        <p:grpSpPr>
          <a:xfrm>
            <a:off x="410775" y="0"/>
            <a:ext cx="11367273" cy="6292121"/>
            <a:chOff x="2654821" y="2311071"/>
            <a:chExt cx="2279715" cy="1262120"/>
          </a:xfrm>
        </p:grpSpPr>
        <p:grpSp>
          <p:nvGrpSpPr>
            <p:cNvPr id="1105" name="Google Shape;5815;p93">
              <a:extLst>
                <a:ext uri="{FF2B5EF4-FFF2-40B4-BE49-F238E27FC236}">
                  <a16:creationId xmlns:a16="http://schemas.microsoft.com/office/drawing/2014/main" id="{46A18953-FD97-4199-9AF4-57DFBC67766D}"/>
                </a:ext>
              </a:extLst>
            </p:cNvPr>
            <p:cNvGrpSpPr/>
            <p:nvPr/>
          </p:nvGrpSpPr>
          <p:grpSpPr>
            <a:xfrm>
              <a:off x="4034269" y="2840745"/>
              <a:ext cx="40212" cy="36437"/>
              <a:chOff x="4293400" y="2574725"/>
              <a:chExt cx="84425" cy="80100"/>
            </a:xfrm>
          </p:grpSpPr>
          <p:sp>
            <p:nvSpPr>
              <p:cNvPr id="1360" name="Google Shape;5816;p93">
                <a:extLst>
                  <a:ext uri="{FF2B5EF4-FFF2-40B4-BE49-F238E27FC236}">
                    <a16:creationId xmlns:a16="http://schemas.microsoft.com/office/drawing/2014/main" id="{2B0A1BA1-F20C-47AC-AF35-E49189E93881}"/>
                  </a:ext>
                </a:extLst>
              </p:cNvPr>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ln/>
            </p:spPr>
            <p:style>
              <a:lnRef idx="2">
                <a:schemeClr val="dk1"/>
              </a:lnRef>
              <a:fillRef idx="1">
                <a:schemeClr val="lt1"/>
              </a:fillRef>
              <a:effectRef idx="0">
                <a:schemeClr val="dk1"/>
              </a:effectRef>
              <a:fontRef idx="minor">
                <a:schemeClr val="dk1"/>
              </a:fontRef>
            </p:style>
          </p:sp>
          <p:sp>
            <p:nvSpPr>
              <p:cNvPr id="1361" name="Google Shape;5817;p93">
                <a:extLst>
                  <a:ext uri="{FF2B5EF4-FFF2-40B4-BE49-F238E27FC236}">
                    <a16:creationId xmlns:a16="http://schemas.microsoft.com/office/drawing/2014/main" id="{2AAD8B77-A28E-492F-800E-80EACB092CE2}"/>
                  </a:ext>
                </a:extLst>
              </p:cNvPr>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 name="Google Shape;5818;p93">
              <a:extLst>
                <a:ext uri="{FF2B5EF4-FFF2-40B4-BE49-F238E27FC236}">
                  <a16:creationId xmlns:a16="http://schemas.microsoft.com/office/drawing/2014/main" id="{FF632FDA-02D4-4E30-94AF-4D9C810F2C54}"/>
                </a:ext>
              </a:extLst>
            </p:cNvPr>
            <p:cNvGrpSpPr/>
            <p:nvPr/>
          </p:nvGrpSpPr>
          <p:grpSpPr>
            <a:xfrm>
              <a:off x="3894606" y="2334874"/>
              <a:ext cx="913198" cy="518984"/>
              <a:chOff x="4000175" y="1462675"/>
              <a:chExt cx="1917275" cy="1140875"/>
            </a:xfrm>
          </p:grpSpPr>
          <p:sp>
            <p:nvSpPr>
              <p:cNvPr id="1352" name="Google Shape;5819;p93">
                <a:extLst>
                  <a:ext uri="{FF2B5EF4-FFF2-40B4-BE49-F238E27FC236}">
                    <a16:creationId xmlns:a16="http://schemas.microsoft.com/office/drawing/2014/main" id="{90A9F129-E570-41DF-98A3-CFEAF2D5CB7A}"/>
                  </a:ext>
                </a:extLst>
              </p:cNvPr>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ln/>
            </p:spPr>
            <p:style>
              <a:lnRef idx="2">
                <a:schemeClr val="dk1"/>
              </a:lnRef>
              <a:fillRef idx="1">
                <a:schemeClr val="lt1"/>
              </a:fillRef>
              <a:effectRef idx="0">
                <a:schemeClr val="dk1"/>
              </a:effectRef>
              <a:fontRef idx="minor">
                <a:schemeClr val="dk1"/>
              </a:fontRef>
            </p:style>
          </p:sp>
          <p:grpSp>
            <p:nvGrpSpPr>
              <p:cNvPr id="1353" name="Google Shape;5820;p93">
                <a:extLst>
                  <a:ext uri="{FF2B5EF4-FFF2-40B4-BE49-F238E27FC236}">
                    <a16:creationId xmlns:a16="http://schemas.microsoft.com/office/drawing/2014/main" id="{D84F59FB-876B-4BD1-8475-8AC816438779}"/>
                  </a:ext>
                </a:extLst>
              </p:cNvPr>
              <p:cNvGrpSpPr/>
              <p:nvPr/>
            </p:nvGrpSpPr>
            <p:grpSpPr>
              <a:xfrm>
                <a:off x="4000175" y="1462675"/>
                <a:ext cx="1917275" cy="1140875"/>
                <a:chOff x="4000175" y="1462675"/>
                <a:chExt cx="1917275" cy="1140875"/>
              </a:xfrm>
            </p:grpSpPr>
            <p:sp>
              <p:nvSpPr>
                <p:cNvPr id="1354" name="Google Shape;5821;p93">
                  <a:extLst>
                    <a:ext uri="{FF2B5EF4-FFF2-40B4-BE49-F238E27FC236}">
                      <a16:creationId xmlns:a16="http://schemas.microsoft.com/office/drawing/2014/main" id="{7B9ADD49-9A6D-4031-A514-5C950F5FFD86}"/>
                    </a:ext>
                  </a:extLst>
                </p:cNvPr>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ln/>
              </p:spPr>
              <p:style>
                <a:lnRef idx="2">
                  <a:schemeClr val="dk1"/>
                </a:lnRef>
                <a:fillRef idx="1">
                  <a:schemeClr val="lt1"/>
                </a:fillRef>
                <a:effectRef idx="0">
                  <a:schemeClr val="dk1"/>
                </a:effectRef>
                <a:fontRef idx="minor">
                  <a:schemeClr val="dk1"/>
                </a:fontRef>
              </p:style>
            </p:sp>
            <p:sp>
              <p:nvSpPr>
                <p:cNvPr id="1355" name="Google Shape;5822;p93">
                  <a:extLst>
                    <a:ext uri="{FF2B5EF4-FFF2-40B4-BE49-F238E27FC236}">
                      <a16:creationId xmlns:a16="http://schemas.microsoft.com/office/drawing/2014/main" id="{464835A3-6841-4780-AB98-7F480C79A57C}"/>
                    </a:ext>
                  </a:extLst>
                </p:cNvPr>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5823;p93">
                  <a:extLst>
                    <a:ext uri="{FF2B5EF4-FFF2-40B4-BE49-F238E27FC236}">
                      <a16:creationId xmlns:a16="http://schemas.microsoft.com/office/drawing/2014/main" id="{EDC55117-A8F3-4C2C-9FD1-D219FEDFDED6}"/>
                    </a:ext>
                  </a:extLst>
                </p:cNvPr>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5824;p93">
                  <a:extLst>
                    <a:ext uri="{FF2B5EF4-FFF2-40B4-BE49-F238E27FC236}">
                      <a16:creationId xmlns:a16="http://schemas.microsoft.com/office/drawing/2014/main" id="{27812272-7E9B-4A33-86B0-AE94B750D0F0}"/>
                    </a:ext>
                  </a:extLst>
                </p:cNvPr>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5825;p93">
                  <a:extLst>
                    <a:ext uri="{FF2B5EF4-FFF2-40B4-BE49-F238E27FC236}">
                      <a16:creationId xmlns:a16="http://schemas.microsoft.com/office/drawing/2014/main" id="{BB9B181E-C0DD-41E2-A46B-0CA92B0581E6}"/>
                    </a:ext>
                  </a:extLst>
                </p:cNvPr>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359" name="Google Shape;5826;p93">
                  <a:extLst>
                    <a:ext uri="{FF2B5EF4-FFF2-40B4-BE49-F238E27FC236}">
                      <a16:creationId xmlns:a16="http://schemas.microsoft.com/office/drawing/2014/main" id="{E2A83F3F-8022-42A6-AB96-E1CC50CB5E05}"/>
                    </a:ext>
                  </a:extLst>
                </p:cNvPr>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07" name="Google Shape;5827;p93">
              <a:extLst>
                <a:ext uri="{FF2B5EF4-FFF2-40B4-BE49-F238E27FC236}">
                  <a16:creationId xmlns:a16="http://schemas.microsoft.com/office/drawing/2014/main" id="{501DCED6-593C-4DAF-AEA8-7F6EED07BB22}"/>
                </a:ext>
              </a:extLst>
            </p:cNvPr>
            <p:cNvGrpSpPr/>
            <p:nvPr/>
          </p:nvGrpSpPr>
          <p:grpSpPr>
            <a:xfrm>
              <a:off x="3875768" y="2846704"/>
              <a:ext cx="44796" cy="47366"/>
              <a:chOff x="3960625" y="2587825"/>
              <a:chExt cx="94050" cy="104125"/>
            </a:xfrm>
          </p:grpSpPr>
          <p:sp>
            <p:nvSpPr>
              <p:cNvPr id="1350" name="Google Shape;5828;p93">
                <a:extLst>
                  <a:ext uri="{FF2B5EF4-FFF2-40B4-BE49-F238E27FC236}">
                    <a16:creationId xmlns:a16="http://schemas.microsoft.com/office/drawing/2014/main" id="{B867988C-18D4-4C5C-AB35-167CD12F1F54}"/>
                  </a:ext>
                </a:extLst>
              </p:cNvPr>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ln/>
            </p:spPr>
            <p:style>
              <a:lnRef idx="2">
                <a:schemeClr val="dk1"/>
              </a:lnRef>
              <a:fillRef idx="1">
                <a:schemeClr val="lt1"/>
              </a:fillRef>
              <a:effectRef idx="0">
                <a:schemeClr val="dk1"/>
              </a:effectRef>
              <a:fontRef idx="minor">
                <a:schemeClr val="dk1"/>
              </a:fontRef>
            </p:style>
          </p:sp>
          <p:sp>
            <p:nvSpPr>
              <p:cNvPr id="1351" name="Google Shape;5829;p93">
                <a:extLst>
                  <a:ext uri="{FF2B5EF4-FFF2-40B4-BE49-F238E27FC236}">
                    <a16:creationId xmlns:a16="http://schemas.microsoft.com/office/drawing/2014/main" id="{2772A1F3-0D1D-43CF-89CF-79DD0724D19F}"/>
                  </a:ext>
                </a:extLst>
              </p:cNvPr>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 name="Google Shape;5830;p93">
              <a:extLst>
                <a:ext uri="{FF2B5EF4-FFF2-40B4-BE49-F238E27FC236}">
                  <a16:creationId xmlns:a16="http://schemas.microsoft.com/office/drawing/2014/main" id="{7E2829BC-6271-457B-AFF5-09ACD6EF1759}"/>
                </a:ext>
              </a:extLst>
            </p:cNvPr>
            <p:cNvGrpSpPr/>
            <p:nvPr/>
          </p:nvGrpSpPr>
          <p:grpSpPr>
            <a:xfrm>
              <a:off x="3782759" y="2807162"/>
              <a:ext cx="82686" cy="85487"/>
              <a:chOff x="3765350" y="2500900"/>
              <a:chExt cx="173600" cy="187925"/>
            </a:xfrm>
          </p:grpSpPr>
          <p:sp>
            <p:nvSpPr>
              <p:cNvPr id="1344" name="Google Shape;5831;p93">
                <a:extLst>
                  <a:ext uri="{FF2B5EF4-FFF2-40B4-BE49-F238E27FC236}">
                    <a16:creationId xmlns:a16="http://schemas.microsoft.com/office/drawing/2014/main" id="{61158FE9-777F-4C2A-91C3-D6F6D8E4A26D}"/>
                  </a:ext>
                </a:extLst>
              </p:cNvPr>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ln/>
            </p:spPr>
            <p:style>
              <a:lnRef idx="2">
                <a:schemeClr val="dk1"/>
              </a:lnRef>
              <a:fillRef idx="1">
                <a:schemeClr val="lt1"/>
              </a:fillRef>
              <a:effectRef idx="0">
                <a:schemeClr val="dk1"/>
              </a:effectRef>
              <a:fontRef idx="minor">
                <a:schemeClr val="dk1"/>
              </a:fontRef>
            </p:style>
          </p:sp>
          <p:sp>
            <p:nvSpPr>
              <p:cNvPr id="1345" name="Google Shape;5832;p93">
                <a:extLst>
                  <a:ext uri="{FF2B5EF4-FFF2-40B4-BE49-F238E27FC236}">
                    <a16:creationId xmlns:a16="http://schemas.microsoft.com/office/drawing/2014/main" id="{6292896D-C478-40A5-950D-366FC8A08DEC}"/>
                  </a:ext>
                </a:extLst>
              </p:cNvPr>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5833;p93">
                <a:extLst>
                  <a:ext uri="{FF2B5EF4-FFF2-40B4-BE49-F238E27FC236}">
                    <a16:creationId xmlns:a16="http://schemas.microsoft.com/office/drawing/2014/main" id="{D270CEFB-BD25-47D4-A023-4990EAF945F4}"/>
                  </a:ext>
                </a:extLst>
              </p:cNvPr>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5834;p93">
                <a:extLst>
                  <a:ext uri="{FF2B5EF4-FFF2-40B4-BE49-F238E27FC236}">
                    <a16:creationId xmlns:a16="http://schemas.microsoft.com/office/drawing/2014/main" id="{EFB6ABBC-22E3-4E1F-8D52-E688842B929B}"/>
                  </a:ext>
                </a:extLst>
              </p:cNvPr>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5835;p93">
                <a:extLst>
                  <a:ext uri="{FF2B5EF4-FFF2-40B4-BE49-F238E27FC236}">
                    <a16:creationId xmlns:a16="http://schemas.microsoft.com/office/drawing/2014/main" id="{F4DC77F9-E20C-4AA5-A3D5-C185450B5F33}"/>
                  </a:ext>
                </a:extLst>
              </p:cNvPr>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5836;p93">
                <a:extLst>
                  <a:ext uri="{FF2B5EF4-FFF2-40B4-BE49-F238E27FC236}">
                    <a16:creationId xmlns:a16="http://schemas.microsoft.com/office/drawing/2014/main" id="{63490878-CCDD-4877-97D8-3427FAB9C020}"/>
                  </a:ext>
                </a:extLst>
              </p:cNvPr>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 name="Google Shape;5837;p93">
              <a:extLst>
                <a:ext uri="{FF2B5EF4-FFF2-40B4-BE49-F238E27FC236}">
                  <a16:creationId xmlns:a16="http://schemas.microsoft.com/office/drawing/2014/main" id="{D60FCDCC-2E2C-470F-A947-3AB634194A05}"/>
                </a:ext>
              </a:extLst>
            </p:cNvPr>
            <p:cNvGrpSpPr/>
            <p:nvPr/>
          </p:nvGrpSpPr>
          <p:grpSpPr>
            <a:xfrm>
              <a:off x="3775674" y="2798496"/>
              <a:ext cx="40545" cy="23564"/>
              <a:chOff x="3750475" y="2481850"/>
              <a:chExt cx="85125" cy="51800"/>
            </a:xfrm>
          </p:grpSpPr>
          <p:sp>
            <p:nvSpPr>
              <p:cNvPr id="1342" name="Google Shape;5838;p93">
                <a:extLst>
                  <a:ext uri="{FF2B5EF4-FFF2-40B4-BE49-F238E27FC236}">
                    <a16:creationId xmlns:a16="http://schemas.microsoft.com/office/drawing/2014/main" id="{9986C700-616A-4830-A208-2D65AF03BD54}"/>
                  </a:ext>
                </a:extLst>
              </p:cNvPr>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5839;p93">
                <a:extLst>
                  <a:ext uri="{FF2B5EF4-FFF2-40B4-BE49-F238E27FC236}">
                    <a16:creationId xmlns:a16="http://schemas.microsoft.com/office/drawing/2014/main" id="{CE1D6B2A-98CE-4089-BED9-02386CF0C32A}"/>
                  </a:ext>
                </a:extLst>
              </p:cNvPr>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ln/>
            </p:spPr>
            <p:style>
              <a:lnRef idx="2">
                <a:schemeClr val="dk1"/>
              </a:lnRef>
              <a:fillRef idx="1">
                <a:schemeClr val="lt1"/>
              </a:fillRef>
              <a:effectRef idx="0">
                <a:schemeClr val="dk1"/>
              </a:effectRef>
              <a:fontRef idx="minor">
                <a:schemeClr val="dk1"/>
              </a:fontRef>
            </p:style>
          </p:sp>
        </p:grpSp>
        <p:grpSp>
          <p:nvGrpSpPr>
            <p:cNvPr id="1110" name="Google Shape;5840;p93">
              <a:extLst>
                <a:ext uri="{FF2B5EF4-FFF2-40B4-BE49-F238E27FC236}">
                  <a16:creationId xmlns:a16="http://schemas.microsoft.com/office/drawing/2014/main" id="{F64D4CC1-B99F-43CF-B1BA-1DE9AA79DD14}"/>
                </a:ext>
              </a:extLst>
            </p:cNvPr>
            <p:cNvGrpSpPr/>
            <p:nvPr/>
          </p:nvGrpSpPr>
          <p:grpSpPr>
            <a:xfrm>
              <a:off x="3716946" y="2776024"/>
              <a:ext cx="81971" cy="76912"/>
              <a:chOff x="3627175" y="2432450"/>
              <a:chExt cx="172100" cy="169075"/>
            </a:xfrm>
          </p:grpSpPr>
          <p:sp>
            <p:nvSpPr>
              <p:cNvPr id="1339" name="Google Shape;5841;p93">
                <a:extLst>
                  <a:ext uri="{FF2B5EF4-FFF2-40B4-BE49-F238E27FC236}">
                    <a16:creationId xmlns:a16="http://schemas.microsoft.com/office/drawing/2014/main" id="{EAB9A5E3-EBC2-4B13-9BCA-CE013F8E5A14}"/>
                  </a:ext>
                </a:extLst>
              </p:cNvPr>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5842;p93">
                <a:extLst>
                  <a:ext uri="{FF2B5EF4-FFF2-40B4-BE49-F238E27FC236}">
                    <a16:creationId xmlns:a16="http://schemas.microsoft.com/office/drawing/2014/main" id="{561958DF-5345-4B04-A6B6-4FFC9963485D}"/>
                  </a:ext>
                </a:extLst>
              </p:cNvPr>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ln/>
            </p:spPr>
            <p:style>
              <a:lnRef idx="2">
                <a:schemeClr val="dk1"/>
              </a:lnRef>
              <a:fillRef idx="1">
                <a:schemeClr val="lt1"/>
              </a:fillRef>
              <a:effectRef idx="0">
                <a:schemeClr val="dk1"/>
              </a:effectRef>
              <a:fontRef idx="minor">
                <a:schemeClr val="dk1"/>
              </a:fontRef>
            </p:style>
          </p:sp>
          <p:sp>
            <p:nvSpPr>
              <p:cNvPr id="1341" name="Google Shape;5843;p93">
                <a:extLst>
                  <a:ext uri="{FF2B5EF4-FFF2-40B4-BE49-F238E27FC236}">
                    <a16:creationId xmlns:a16="http://schemas.microsoft.com/office/drawing/2014/main" id="{5E8C4F56-5BE4-427C-AB1B-F91C6F282FBA}"/>
                  </a:ext>
                </a:extLst>
              </p:cNvPr>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ln/>
            </p:spPr>
            <p:style>
              <a:lnRef idx="2">
                <a:schemeClr val="dk1"/>
              </a:lnRef>
              <a:fillRef idx="1">
                <a:schemeClr val="lt1"/>
              </a:fillRef>
              <a:effectRef idx="0">
                <a:schemeClr val="dk1"/>
              </a:effectRef>
              <a:fontRef idx="minor">
                <a:schemeClr val="dk1"/>
              </a:fontRef>
            </p:style>
          </p:sp>
        </p:grpSp>
        <p:grpSp>
          <p:nvGrpSpPr>
            <p:cNvPr id="1111" name="Google Shape;5844;p93">
              <a:extLst>
                <a:ext uri="{FF2B5EF4-FFF2-40B4-BE49-F238E27FC236}">
                  <a16:creationId xmlns:a16="http://schemas.microsoft.com/office/drawing/2014/main" id="{0023C631-0FA1-483C-A0D8-19E0C9CA9732}"/>
                </a:ext>
              </a:extLst>
            </p:cNvPr>
            <p:cNvGrpSpPr/>
            <p:nvPr/>
          </p:nvGrpSpPr>
          <p:grpSpPr>
            <a:xfrm>
              <a:off x="3685682" y="2845624"/>
              <a:ext cx="29311" cy="45055"/>
              <a:chOff x="3561536" y="2585450"/>
              <a:chExt cx="61539" cy="99045"/>
            </a:xfrm>
          </p:grpSpPr>
          <p:sp>
            <p:nvSpPr>
              <p:cNvPr id="1337" name="Google Shape;5845;p93">
                <a:extLst>
                  <a:ext uri="{FF2B5EF4-FFF2-40B4-BE49-F238E27FC236}">
                    <a16:creationId xmlns:a16="http://schemas.microsoft.com/office/drawing/2014/main" id="{9728E475-E26A-4F8E-A542-0FC8BA19F061}"/>
                  </a:ext>
                </a:extLst>
              </p:cNvPr>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5846;p93">
                <a:extLst>
                  <a:ext uri="{FF2B5EF4-FFF2-40B4-BE49-F238E27FC236}">
                    <a16:creationId xmlns:a16="http://schemas.microsoft.com/office/drawing/2014/main" id="{F4488C26-87B6-4BAE-8411-6C20AB706D82}"/>
                  </a:ext>
                </a:extLst>
              </p:cNvPr>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ln/>
            </p:spPr>
            <p:style>
              <a:lnRef idx="2">
                <a:schemeClr val="dk1"/>
              </a:lnRef>
              <a:fillRef idx="1">
                <a:schemeClr val="lt1"/>
              </a:fillRef>
              <a:effectRef idx="0">
                <a:schemeClr val="dk1"/>
              </a:effectRef>
              <a:fontRef idx="minor">
                <a:schemeClr val="dk1"/>
              </a:fontRef>
            </p:style>
          </p:sp>
        </p:grpSp>
        <p:grpSp>
          <p:nvGrpSpPr>
            <p:cNvPr id="1112" name="Google Shape;5847;p93">
              <a:extLst>
                <a:ext uri="{FF2B5EF4-FFF2-40B4-BE49-F238E27FC236}">
                  <a16:creationId xmlns:a16="http://schemas.microsoft.com/office/drawing/2014/main" id="{677F53CD-EC5F-43FB-A877-994AF18C2323}"/>
                </a:ext>
              </a:extLst>
            </p:cNvPr>
            <p:cNvGrpSpPr/>
            <p:nvPr/>
          </p:nvGrpSpPr>
          <p:grpSpPr>
            <a:xfrm>
              <a:off x="3849905" y="2572252"/>
              <a:ext cx="74339" cy="119559"/>
              <a:chOff x="3906325" y="1984500"/>
              <a:chExt cx="156075" cy="262825"/>
            </a:xfrm>
          </p:grpSpPr>
          <p:sp>
            <p:nvSpPr>
              <p:cNvPr id="1335" name="Google Shape;5848;p93">
                <a:extLst>
                  <a:ext uri="{FF2B5EF4-FFF2-40B4-BE49-F238E27FC236}">
                    <a16:creationId xmlns:a16="http://schemas.microsoft.com/office/drawing/2014/main" id="{9703A09C-F2F7-4FC3-A10E-3B62C637C722}"/>
                  </a:ext>
                </a:extLst>
              </p:cNvPr>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ln/>
            </p:spPr>
            <p:style>
              <a:lnRef idx="2">
                <a:schemeClr val="dk1"/>
              </a:lnRef>
              <a:fillRef idx="1">
                <a:schemeClr val="lt1"/>
              </a:fillRef>
              <a:effectRef idx="0">
                <a:schemeClr val="dk1"/>
              </a:effectRef>
              <a:fontRef idx="minor">
                <a:schemeClr val="dk1"/>
              </a:fontRef>
            </p:style>
          </p:sp>
          <p:sp>
            <p:nvSpPr>
              <p:cNvPr id="1336" name="Google Shape;5849;p93">
                <a:extLst>
                  <a:ext uri="{FF2B5EF4-FFF2-40B4-BE49-F238E27FC236}">
                    <a16:creationId xmlns:a16="http://schemas.microsoft.com/office/drawing/2014/main" id="{31028115-3DAC-4CD3-AD7F-CC153ADC2E13}"/>
                  </a:ext>
                </a:extLst>
              </p:cNvPr>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 name="Google Shape;5850;p93">
              <a:extLst>
                <a:ext uri="{FF2B5EF4-FFF2-40B4-BE49-F238E27FC236}">
                  <a16:creationId xmlns:a16="http://schemas.microsoft.com/office/drawing/2014/main" id="{81458FBD-D4F6-442B-9BD5-0B270931359E}"/>
                </a:ext>
              </a:extLst>
            </p:cNvPr>
            <p:cNvGrpSpPr/>
            <p:nvPr/>
          </p:nvGrpSpPr>
          <p:grpSpPr>
            <a:xfrm>
              <a:off x="2654821" y="2414345"/>
              <a:ext cx="667570" cy="558731"/>
              <a:chOff x="1397225" y="1637375"/>
              <a:chExt cx="1401575" cy="1228250"/>
            </a:xfrm>
          </p:grpSpPr>
          <p:sp>
            <p:nvSpPr>
              <p:cNvPr id="1331" name="Google Shape;5851;p93">
                <a:extLst>
                  <a:ext uri="{FF2B5EF4-FFF2-40B4-BE49-F238E27FC236}">
                    <a16:creationId xmlns:a16="http://schemas.microsoft.com/office/drawing/2014/main" id="{9FE1F13E-6240-4077-9F42-BDD2CDD854DA}"/>
                  </a:ext>
                </a:extLst>
              </p:cNvPr>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ln/>
            </p:spPr>
            <p:style>
              <a:lnRef idx="2">
                <a:schemeClr val="dk1"/>
              </a:lnRef>
              <a:fillRef idx="1">
                <a:schemeClr val="lt1"/>
              </a:fillRef>
              <a:effectRef idx="0">
                <a:schemeClr val="dk1"/>
              </a:effectRef>
              <a:fontRef idx="minor">
                <a:schemeClr val="dk1"/>
              </a:fontRef>
            </p:style>
          </p:sp>
          <p:grpSp>
            <p:nvGrpSpPr>
              <p:cNvPr id="1332" name="Google Shape;5852;p93">
                <a:extLst>
                  <a:ext uri="{FF2B5EF4-FFF2-40B4-BE49-F238E27FC236}">
                    <a16:creationId xmlns:a16="http://schemas.microsoft.com/office/drawing/2014/main" id="{93321635-868C-4A80-AD69-D8B7B7D58AFA}"/>
                  </a:ext>
                </a:extLst>
              </p:cNvPr>
              <p:cNvGrpSpPr/>
              <p:nvPr/>
            </p:nvGrpSpPr>
            <p:grpSpPr>
              <a:xfrm>
                <a:off x="1397225" y="1637375"/>
                <a:ext cx="1398775" cy="1228250"/>
                <a:chOff x="1397225" y="1637375"/>
                <a:chExt cx="1398775" cy="1228250"/>
              </a:xfrm>
            </p:grpSpPr>
            <p:sp>
              <p:nvSpPr>
                <p:cNvPr id="1333" name="Google Shape;5853;p93">
                  <a:extLst>
                    <a:ext uri="{FF2B5EF4-FFF2-40B4-BE49-F238E27FC236}">
                      <a16:creationId xmlns:a16="http://schemas.microsoft.com/office/drawing/2014/main" id="{EB0E1F54-659D-4958-9190-7E9180A31A99}"/>
                    </a:ext>
                  </a:extLst>
                </p:cNvPr>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5854;p93">
                  <a:extLst>
                    <a:ext uri="{FF2B5EF4-FFF2-40B4-BE49-F238E27FC236}">
                      <a16:creationId xmlns:a16="http://schemas.microsoft.com/office/drawing/2014/main" id="{AB7291B1-5CB1-41E7-9804-A72200F94234}"/>
                    </a:ext>
                  </a:extLst>
                </p:cNvPr>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 name="Google Shape;5855;p93">
              <a:extLst>
                <a:ext uri="{FF2B5EF4-FFF2-40B4-BE49-F238E27FC236}">
                  <a16:creationId xmlns:a16="http://schemas.microsoft.com/office/drawing/2014/main" id="{E1A3C466-2C85-4484-B51E-DC2963C2D5F9}"/>
                </a:ext>
              </a:extLst>
            </p:cNvPr>
            <p:cNvGrpSpPr/>
            <p:nvPr/>
          </p:nvGrpSpPr>
          <p:grpSpPr>
            <a:xfrm>
              <a:off x="3230417" y="3103734"/>
              <a:ext cx="282982" cy="280332"/>
              <a:chOff x="2605700" y="3152850"/>
              <a:chExt cx="594125" cy="616250"/>
            </a:xfrm>
          </p:grpSpPr>
          <p:sp>
            <p:nvSpPr>
              <p:cNvPr id="1329" name="Google Shape;5856;p93">
                <a:extLst>
                  <a:ext uri="{FF2B5EF4-FFF2-40B4-BE49-F238E27FC236}">
                    <a16:creationId xmlns:a16="http://schemas.microsoft.com/office/drawing/2014/main" id="{B4ABAB29-7307-40DF-A1C3-5DB64030BA2B}"/>
                  </a:ext>
                </a:extLst>
              </p:cNvPr>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ln/>
            </p:spPr>
            <p:style>
              <a:lnRef idx="2">
                <a:schemeClr val="dk1"/>
              </a:lnRef>
              <a:fillRef idx="1">
                <a:schemeClr val="lt1"/>
              </a:fillRef>
              <a:effectRef idx="0">
                <a:schemeClr val="dk1"/>
              </a:effectRef>
              <a:fontRef idx="minor">
                <a:schemeClr val="dk1"/>
              </a:fontRef>
            </p:style>
          </p:sp>
          <p:sp>
            <p:nvSpPr>
              <p:cNvPr id="1330" name="Google Shape;5857;p93">
                <a:extLst>
                  <a:ext uri="{FF2B5EF4-FFF2-40B4-BE49-F238E27FC236}">
                    <a16:creationId xmlns:a16="http://schemas.microsoft.com/office/drawing/2014/main" id="{53AAAF42-6405-4414-8E05-FC49875C21A9}"/>
                  </a:ext>
                </a:extLst>
              </p:cNvPr>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1115" name="Google Shape;5858;p93">
              <a:extLst>
                <a:ext uri="{FF2B5EF4-FFF2-40B4-BE49-F238E27FC236}">
                  <a16:creationId xmlns:a16="http://schemas.microsoft.com/office/drawing/2014/main" id="{1AE39CCC-B9B0-4F04-B644-1C7DA678B008}"/>
                </a:ext>
              </a:extLst>
            </p:cNvPr>
            <p:cNvGrpSpPr/>
            <p:nvPr/>
          </p:nvGrpSpPr>
          <p:grpSpPr>
            <a:xfrm>
              <a:off x="3265985" y="3226989"/>
              <a:ext cx="87151" cy="346202"/>
              <a:chOff x="2680375" y="3423800"/>
              <a:chExt cx="182975" cy="761050"/>
            </a:xfrm>
          </p:grpSpPr>
          <p:sp>
            <p:nvSpPr>
              <p:cNvPr id="1327" name="Google Shape;5859;p93">
                <a:extLst>
                  <a:ext uri="{FF2B5EF4-FFF2-40B4-BE49-F238E27FC236}">
                    <a16:creationId xmlns:a16="http://schemas.microsoft.com/office/drawing/2014/main" id="{5F5AE593-8996-4A90-96AC-8C58CBD65888}"/>
                  </a:ext>
                </a:extLst>
              </p:cNvPr>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ln/>
            </p:spPr>
            <p:style>
              <a:lnRef idx="2">
                <a:schemeClr val="dk1"/>
              </a:lnRef>
              <a:fillRef idx="1">
                <a:schemeClr val="lt1"/>
              </a:fillRef>
              <a:effectRef idx="0">
                <a:schemeClr val="dk1"/>
              </a:effectRef>
              <a:fontRef idx="minor">
                <a:schemeClr val="dk1"/>
              </a:fontRef>
            </p:style>
          </p:sp>
          <p:sp>
            <p:nvSpPr>
              <p:cNvPr id="1328" name="Google Shape;5860;p93">
                <a:extLst>
                  <a:ext uri="{FF2B5EF4-FFF2-40B4-BE49-F238E27FC236}">
                    <a16:creationId xmlns:a16="http://schemas.microsoft.com/office/drawing/2014/main" id="{F7BCA29E-CDFA-4652-9E00-B5C2609844A3}"/>
                  </a:ext>
                </a:extLst>
              </p:cNvPr>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 name="Google Shape;5861;p93">
              <a:extLst>
                <a:ext uri="{FF2B5EF4-FFF2-40B4-BE49-F238E27FC236}">
                  <a16:creationId xmlns:a16="http://schemas.microsoft.com/office/drawing/2014/main" id="{E1D779C0-5593-414C-A593-E47F067E6416}"/>
                </a:ext>
              </a:extLst>
            </p:cNvPr>
            <p:cNvGrpSpPr/>
            <p:nvPr/>
          </p:nvGrpSpPr>
          <p:grpSpPr>
            <a:xfrm>
              <a:off x="3855466" y="3289811"/>
              <a:ext cx="112514" cy="94210"/>
              <a:chOff x="3918000" y="3561900"/>
              <a:chExt cx="236225" cy="207100"/>
            </a:xfrm>
          </p:grpSpPr>
          <p:sp>
            <p:nvSpPr>
              <p:cNvPr id="1325" name="Google Shape;5862;p93">
                <a:extLst>
                  <a:ext uri="{FF2B5EF4-FFF2-40B4-BE49-F238E27FC236}">
                    <a16:creationId xmlns:a16="http://schemas.microsoft.com/office/drawing/2014/main" id="{3BE2DB26-552D-450E-96D9-0C12867E689F}"/>
                  </a:ext>
                </a:extLst>
              </p:cNvPr>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ln/>
            </p:spPr>
            <p:style>
              <a:lnRef idx="2">
                <a:schemeClr val="dk1"/>
              </a:lnRef>
              <a:fillRef idx="1">
                <a:schemeClr val="lt1"/>
              </a:fillRef>
              <a:effectRef idx="0">
                <a:schemeClr val="dk1"/>
              </a:effectRef>
              <a:fontRef idx="minor">
                <a:schemeClr val="dk1"/>
              </a:fontRef>
            </p:style>
          </p:sp>
          <p:sp>
            <p:nvSpPr>
              <p:cNvPr id="1326" name="Google Shape;5863;p93">
                <a:extLst>
                  <a:ext uri="{FF2B5EF4-FFF2-40B4-BE49-F238E27FC236}">
                    <a16:creationId xmlns:a16="http://schemas.microsoft.com/office/drawing/2014/main" id="{9F3F036C-3D4C-4773-ADEC-ADFA87C325B4}"/>
                  </a:ext>
                </a:extLst>
              </p:cNvPr>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17" name="Google Shape;5864;p93">
              <a:extLst>
                <a:ext uri="{FF2B5EF4-FFF2-40B4-BE49-F238E27FC236}">
                  <a16:creationId xmlns:a16="http://schemas.microsoft.com/office/drawing/2014/main" id="{C0E26508-C24A-4191-8326-F37C795896FA}"/>
                </a:ext>
              </a:extLst>
            </p:cNvPr>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5865;p93">
              <a:extLst>
                <a:ext uri="{FF2B5EF4-FFF2-40B4-BE49-F238E27FC236}">
                  <a16:creationId xmlns:a16="http://schemas.microsoft.com/office/drawing/2014/main" id="{985AE060-054F-4B36-BA4A-7F017E84F79E}"/>
                </a:ext>
              </a:extLst>
            </p:cNvPr>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5866;p93">
              <a:extLst>
                <a:ext uri="{FF2B5EF4-FFF2-40B4-BE49-F238E27FC236}">
                  <a16:creationId xmlns:a16="http://schemas.microsoft.com/office/drawing/2014/main" id="{C39E10FD-D13D-4E6A-9955-CBBF662B565E}"/>
                </a:ext>
              </a:extLst>
            </p:cNvPr>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1120" name="Google Shape;5867;p93">
              <a:extLst>
                <a:ext uri="{FF2B5EF4-FFF2-40B4-BE49-F238E27FC236}">
                  <a16:creationId xmlns:a16="http://schemas.microsoft.com/office/drawing/2014/main" id="{F7C46140-98E0-4DD0-817E-949D0B97D6EA}"/>
                </a:ext>
              </a:extLst>
            </p:cNvPr>
            <p:cNvGrpSpPr/>
            <p:nvPr/>
          </p:nvGrpSpPr>
          <p:grpSpPr>
            <a:xfrm>
              <a:off x="2905224" y="2311071"/>
              <a:ext cx="596721" cy="528992"/>
              <a:chOff x="1922950" y="1410350"/>
              <a:chExt cx="1252825" cy="1162875"/>
            </a:xfrm>
          </p:grpSpPr>
          <p:sp>
            <p:nvSpPr>
              <p:cNvPr id="1309" name="Google Shape;5868;p93">
                <a:extLst>
                  <a:ext uri="{FF2B5EF4-FFF2-40B4-BE49-F238E27FC236}">
                    <a16:creationId xmlns:a16="http://schemas.microsoft.com/office/drawing/2014/main" id="{65E59606-8C8C-417C-A404-AC4BD4960918}"/>
                  </a:ext>
                </a:extLst>
              </p:cNvPr>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5869;p93">
                <a:extLst>
                  <a:ext uri="{FF2B5EF4-FFF2-40B4-BE49-F238E27FC236}">
                    <a16:creationId xmlns:a16="http://schemas.microsoft.com/office/drawing/2014/main" id="{194C9645-D6EB-4697-A136-377C1546E210}"/>
                  </a:ext>
                </a:extLst>
              </p:cNvPr>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5870;p93">
                <a:extLst>
                  <a:ext uri="{FF2B5EF4-FFF2-40B4-BE49-F238E27FC236}">
                    <a16:creationId xmlns:a16="http://schemas.microsoft.com/office/drawing/2014/main" id="{D3A2D8EF-B0CB-487C-9E02-61A55077DF27}"/>
                  </a:ext>
                </a:extLst>
              </p:cNvPr>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5871;p93">
                <a:extLst>
                  <a:ext uri="{FF2B5EF4-FFF2-40B4-BE49-F238E27FC236}">
                    <a16:creationId xmlns:a16="http://schemas.microsoft.com/office/drawing/2014/main" id="{5F983E81-7B14-41D6-9627-AA6AAB6602BE}"/>
                  </a:ext>
                </a:extLst>
              </p:cNvPr>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5872;p93">
                <a:extLst>
                  <a:ext uri="{FF2B5EF4-FFF2-40B4-BE49-F238E27FC236}">
                    <a16:creationId xmlns:a16="http://schemas.microsoft.com/office/drawing/2014/main" id="{7372E712-45BB-4AF0-9391-75F3C8724A35}"/>
                  </a:ext>
                </a:extLst>
              </p:cNvPr>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5873;p93">
                <a:extLst>
                  <a:ext uri="{FF2B5EF4-FFF2-40B4-BE49-F238E27FC236}">
                    <a16:creationId xmlns:a16="http://schemas.microsoft.com/office/drawing/2014/main" id="{62D0532B-F7CD-483F-875B-3052AE9C53CE}"/>
                  </a:ext>
                </a:extLst>
              </p:cNvPr>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5874;p93">
                <a:extLst>
                  <a:ext uri="{FF2B5EF4-FFF2-40B4-BE49-F238E27FC236}">
                    <a16:creationId xmlns:a16="http://schemas.microsoft.com/office/drawing/2014/main" id="{9984C972-7915-4DD1-B35F-77464D2BE470}"/>
                  </a:ext>
                </a:extLst>
              </p:cNvPr>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5875;p93">
                <a:extLst>
                  <a:ext uri="{FF2B5EF4-FFF2-40B4-BE49-F238E27FC236}">
                    <a16:creationId xmlns:a16="http://schemas.microsoft.com/office/drawing/2014/main" id="{B97C5855-ABEB-4EBA-972C-8E17BC7BF492}"/>
                  </a:ext>
                </a:extLst>
              </p:cNvPr>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5876;p93">
                <a:extLst>
                  <a:ext uri="{FF2B5EF4-FFF2-40B4-BE49-F238E27FC236}">
                    <a16:creationId xmlns:a16="http://schemas.microsoft.com/office/drawing/2014/main" id="{A4DC71EF-FB10-437C-BC48-47DBB0F92DF0}"/>
                  </a:ext>
                </a:extLst>
              </p:cNvPr>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5877;p93">
                <a:extLst>
                  <a:ext uri="{FF2B5EF4-FFF2-40B4-BE49-F238E27FC236}">
                    <a16:creationId xmlns:a16="http://schemas.microsoft.com/office/drawing/2014/main" id="{BFD7940F-2FAD-4D6F-A2CB-08CB16992537}"/>
                  </a:ext>
                </a:extLst>
              </p:cNvPr>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5878;p93">
                <a:extLst>
                  <a:ext uri="{FF2B5EF4-FFF2-40B4-BE49-F238E27FC236}">
                    <a16:creationId xmlns:a16="http://schemas.microsoft.com/office/drawing/2014/main" id="{3C612C47-436C-41E1-BC0B-34D8B504359C}"/>
                  </a:ext>
                </a:extLst>
              </p:cNvPr>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5879;p93">
                <a:extLst>
                  <a:ext uri="{FF2B5EF4-FFF2-40B4-BE49-F238E27FC236}">
                    <a16:creationId xmlns:a16="http://schemas.microsoft.com/office/drawing/2014/main" id="{D77C215F-7CB6-4575-B8D3-81B41BE4F870}"/>
                  </a:ext>
                </a:extLst>
              </p:cNvPr>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5880;p93">
                <a:extLst>
                  <a:ext uri="{FF2B5EF4-FFF2-40B4-BE49-F238E27FC236}">
                    <a16:creationId xmlns:a16="http://schemas.microsoft.com/office/drawing/2014/main" id="{15407533-6F0B-40A7-9479-9EB88A2B79DF}"/>
                  </a:ext>
                </a:extLst>
              </p:cNvPr>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5881;p93">
                <a:extLst>
                  <a:ext uri="{FF2B5EF4-FFF2-40B4-BE49-F238E27FC236}">
                    <a16:creationId xmlns:a16="http://schemas.microsoft.com/office/drawing/2014/main" id="{D9CE8A54-4775-45BD-B0F7-BC0766CC8D35}"/>
                  </a:ext>
                </a:extLst>
              </p:cNvPr>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 name="Google Shape;5882;p93">
                <a:extLst>
                  <a:ext uri="{FF2B5EF4-FFF2-40B4-BE49-F238E27FC236}">
                    <a16:creationId xmlns:a16="http://schemas.microsoft.com/office/drawing/2014/main" id="{D957732A-09EF-4940-8A24-339DE10E473E}"/>
                  </a:ext>
                </a:extLst>
              </p:cNvPr>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 name="Google Shape;5883;p93">
                <a:extLst>
                  <a:ext uri="{FF2B5EF4-FFF2-40B4-BE49-F238E27FC236}">
                    <a16:creationId xmlns:a16="http://schemas.microsoft.com/office/drawing/2014/main" id="{28EB332B-8747-42B8-B0D7-37198B26C63C}"/>
                  </a:ext>
                </a:extLst>
              </p:cNvPr>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1121" name="Google Shape;5884;p93">
              <a:extLst>
                <a:ext uri="{FF2B5EF4-FFF2-40B4-BE49-F238E27FC236}">
                  <a16:creationId xmlns:a16="http://schemas.microsoft.com/office/drawing/2014/main" id="{46F733A1-69A9-45C1-9B6A-6EFF83FA4231}"/>
                </a:ext>
              </a:extLst>
            </p:cNvPr>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5885;p93">
              <a:extLst>
                <a:ext uri="{FF2B5EF4-FFF2-40B4-BE49-F238E27FC236}">
                  <a16:creationId xmlns:a16="http://schemas.microsoft.com/office/drawing/2014/main" id="{CD7BC417-86AE-4408-85FB-FFB11096309F}"/>
                </a:ext>
              </a:extLst>
            </p:cNvPr>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5886;p93">
              <a:extLst>
                <a:ext uri="{FF2B5EF4-FFF2-40B4-BE49-F238E27FC236}">
                  <a16:creationId xmlns:a16="http://schemas.microsoft.com/office/drawing/2014/main" id="{77367507-3DB2-4E9D-BE55-3466151D2083}"/>
                </a:ext>
              </a:extLst>
            </p:cNvPr>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5887;p93">
              <a:extLst>
                <a:ext uri="{FF2B5EF4-FFF2-40B4-BE49-F238E27FC236}">
                  <a16:creationId xmlns:a16="http://schemas.microsoft.com/office/drawing/2014/main" id="{5FC7BA3A-C5BA-46CF-A7FF-C0B0F1FA5C43}"/>
                </a:ext>
              </a:extLst>
            </p:cNvPr>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5888;p93">
              <a:extLst>
                <a:ext uri="{FF2B5EF4-FFF2-40B4-BE49-F238E27FC236}">
                  <a16:creationId xmlns:a16="http://schemas.microsoft.com/office/drawing/2014/main" id="{C4A32C26-8D7D-4E77-B9FB-91B0228FAB60}"/>
                </a:ext>
              </a:extLst>
            </p:cNvPr>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5889;p93">
              <a:extLst>
                <a:ext uri="{FF2B5EF4-FFF2-40B4-BE49-F238E27FC236}">
                  <a16:creationId xmlns:a16="http://schemas.microsoft.com/office/drawing/2014/main" id="{AB783E69-239F-4F39-AE2A-40C4A517C9F3}"/>
                </a:ext>
              </a:extLst>
            </p:cNvPr>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5890;p93">
              <a:extLst>
                <a:ext uri="{FF2B5EF4-FFF2-40B4-BE49-F238E27FC236}">
                  <a16:creationId xmlns:a16="http://schemas.microsoft.com/office/drawing/2014/main" id="{BD96C4D8-707F-4EC3-8B45-52E61097F96D}"/>
                </a:ext>
              </a:extLst>
            </p:cNvPr>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5891;p93">
              <a:extLst>
                <a:ext uri="{FF2B5EF4-FFF2-40B4-BE49-F238E27FC236}">
                  <a16:creationId xmlns:a16="http://schemas.microsoft.com/office/drawing/2014/main" id="{6323E47A-4050-42B3-971D-26C8D03A3EB6}"/>
                </a:ext>
              </a:extLst>
            </p:cNvPr>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5892;p93">
              <a:extLst>
                <a:ext uri="{FF2B5EF4-FFF2-40B4-BE49-F238E27FC236}">
                  <a16:creationId xmlns:a16="http://schemas.microsoft.com/office/drawing/2014/main" id="{EDE61BE1-0DA1-4A3E-8CE1-4849024473C1}"/>
                </a:ext>
              </a:extLst>
            </p:cNvPr>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5893;p93">
              <a:extLst>
                <a:ext uri="{FF2B5EF4-FFF2-40B4-BE49-F238E27FC236}">
                  <a16:creationId xmlns:a16="http://schemas.microsoft.com/office/drawing/2014/main" id="{5B6FA16D-59F9-4F8B-97FA-7044C3DD9282}"/>
                </a:ext>
              </a:extLst>
            </p:cNvPr>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5894;p93">
              <a:extLst>
                <a:ext uri="{FF2B5EF4-FFF2-40B4-BE49-F238E27FC236}">
                  <a16:creationId xmlns:a16="http://schemas.microsoft.com/office/drawing/2014/main" id="{03B6BD34-E6F9-4C51-9C0E-6852BBB0DB56}"/>
                </a:ext>
              </a:extLst>
            </p:cNvPr>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5895;p93">
              <a:extLst>
                <a:ext uri="{FF2B5EF4-FFF2-40B4-BE49-F238E27FC236}">
                  <a16:creationId xmlns:a16="http://schemas.microsoft.com/office/drawing/2014/main" id="{34A7E42E-6C51-4507-BB50-5B0317960F1F}"/>
                </a:ext>
              </a:extLst>
            </p:cNvPr>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5896;p93">
              <a:extLst>
                <a:ext uri="{FF2B5EF4-FFF2-40B4-BE49-F238E27FC236}">
                  <a16:creationId xmlns:a16="http://schemas.microsoft.com/office/drawing/2014/main" id="{62AFF165-6F9A-4484-B0F7-DB9F1C99D76C}"/>
                </a:ext>
              </a:extLst>
            </p:cNvPr>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5897;p93">
              <a:extLst>
                <a:ext uri="{FF2B5EF4-FFF2-40B4-BE49-F238E27FC236}">
                  <a16:creationId xmlns:a16="http://schemas.microsoft.com/office/drawing/2014/main" id="{EEDD9631-D3CD-4E4D-93F0-EB0780CFAFE1}"/>
                </a:ext>
              </a:extLst>
            </p:cNvPr>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5898;p93">
              <a:extLst>
                <a:ext uri="{FF2B5EF4-FFF2-40B4-BE49-F238E27FC236}">
                  <a16:creationId xmlns:a16="http://schemas.microsoft.com/office/drawing/2014/main" id="{8F1ABA6C-FB3A-45D9-AE94-CA93419DA3B0}"/>
                </a:ext>
              </a:extLst>
            </p:cNvPr>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5899;p93">
              <a:extLst>
                <a:ext uri="{FF2B5EF4-FFF2-40B4-BE49-F238E27FC236}">
                  <a16:creationId xmlns:a16="http://schemas.microsoft.com/office/drawing/2014/main" id="{A61B1995-27E3-4C06-B2DA-0FF60A9FD059}"/>
                </a:ext>
              </a:extLst>
            </p:cNvPr>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5900;p93">
              <a:extLst>
                <a:ext uri="{FF2B5EF4-FFF2-40B4-BE49-F238E27FC236}">
                  <a16:creationId xmlns:a16="http://schemas.microsoft.com/office/drawing/2014/main" id="{7922DBEA-A42E-4958-B1F2-336652CFBBA3}"/>
                </a:ext>
              </a:extLst>
            </p:cNvPr>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5901;p93">
              <a:extLst>
                <a:ext uri="{FF2B5EF4-FFF2-40B4-BE49-F238E27FC236}">
                  <a16:creationId xmlns:a16="http://schemas.microsoft.com/office/drawing/2014/main" id="{523F9512-EFC8-4B6D-87F8-647B7EFDE38A}"/>
                </a:ext>
              </a:extLst>
            </p:cNvPr>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5902;p93">
              <a:extLst>
                <a:ext uri="{FF2B5EF4-FFF2-40B4-BE49-F238E27FC236}">
                  <a16:creationId xmlns:a16="http://schemas.microsoft.com/office/drawing/2014/main" id="{BD2E1414-60D9-421F-9415-ED55B4E301C6}"/>
                </a:ext>
              </a:extLst>
            </p:cNvPr>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5903;p93">
              <a:extLst>
                <a:ext uri="{FF2B5EF4-FFF2-40B4-BE49-F238E27FC236}">
                  <a16:creationId xmlns:a16="http://schemas.microsoft.com/office/drawing/2014/main" id="{128640A9-9CF5-4640-895C-42F13AEDA9B9}"/>
                </a:ext>
              </a:extLst>
            </p:cNvPr>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141" name="Google Shape;5904;p93">
              <a:extLst>
                <a:ext uri="{FF2B5EF4-FFF2-40B4-BE49-F238E27FC236}">
                  <a16:creationId xmlns:a16="http://schemas.microsoft.com/office/drawing/2014/main" id="{E817AA82-85BD-4789-9900-114601850E68}"/>
                </a:ext>
              </a:extLst>
            </p:cNvPr>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142" name="Google Shape;5905;p93">
              <a:extLst>
                <a:ext uri="{FF2B5EF4-FFF2-40B4-BE49-F238E27FC236}">
                  <a16:creationId xmlns:a16="http://schemas.microsoft.com/office/drawing/2014/main" id="{1009C6C3-E9E5-4BBB-9F3E-DD554B4A46DC}"/>
                </a:ext>
              </a:extLst>
            </p:cNvPr>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3" name="Google Shape;5906;p93">
              <a:extLst>
                <a:ext uri="{FF2B5EF4-FFF2-40B4-BE49-F238E27FC236}">
                  <a16:creationId xmlns:a16="http://schemas.microsoft.com/office/drawing/2014/main" id="{32643B7B-575F-49BB-ACE8-60AA8A216073}"/>
                </a:ext>
              </a:extLst>
            </p:cNvPr>
            <p:cNvGrpSpPr/>
            <p:nvPr/>
          </p:nvGrpSpPr>
          <p:grpSpPr>
            <a:xfrm>
              <a:off x="3280929" y="3294542"/>
              <a:ext cx="109894" cy="272224"/>
              <a:chOff x="2711750" y="3572300"/>
              <a:chExt cx="230725" cy="598425"/>
            </a:xfrm>
          </p:grpSpPr>
          <p:sp>
            <p:nvSpPr>
              <p:cNvPr id="1307" name="Google Shape;5907;p93">
                <a:extLst>
                  <a:ext uri="{FF2B5EF4-FFF2-40B4-BE49-F238E27FC236}">
                    <a16:creationId xmlns:a16="http://schemas.microsoft.com/office/drawing/2014/main" id="{AF0B70D7-4C27-4618-8116-70B038BD2A35}"/>
                  </a:ext>
                </a:extLst>
              </p:cNvPr>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5908;p93">
                <a:extLst>
                  <a:ext uri="{FF2B5EF4-FFF2-40B4-BE49-F238E27FC236}">
                    <a16:creationId xmlns:a16="http://schemas.microsoft.com/office/drawing/2014/main" id="{813A0672-8E95-443B-BC3D-848A8207D46C}"/>
                  </a:ext>
                </a:extLst>
              </p:cNvPr>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4" name="Google Shape;5909;p93">
              <a:extLst>
                <a:ext uri="{FF2B5EF4-FFF2-40B4-BE49-F238E27FC236}">
                  <a16:creationId xmlns:a16="http://schemas.microsoft.com/office/drawing/2014/main" id="{BE2C506D-71A3-4693-93B8-A671E2A15478}"/>
                </a:ext>
              </a:extLst>
            </p:cNvPr>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5" name="Google Shape;5910;p93">
              <a:extLst>
                <a:ext uri="{FF2B5EF4-FFF2-40B4-BE49-F238E27FC236}">
                  <a16:creationId xmlns:a16="http://schemas.microsoft.com/office/drawing/2014/main" id="{A067842A-4685-4DAB-9EBE-0658B05CDD0F}"/>
                </a:ext>
              </a:extLst>
            </p:cNvPr>
            <p:cNvGrpSpPr/>
            <p:nvPr/>
          </p:nvGrpSpPr>
          <p:grpSpPr>
            <a:xfrm>
              <a:off x="3790439" y="2408636"/>
              <a:ext cx="73017" cy="75684"/>
              <a:chOff x="3781475" y="1624825"/>
              <a:chExt cx="153300" cy="166375"/>
            </a:xfrm>
          </p:grpSpPr>
          <p:sp>
            <p:nvSpPr>
              <p:cNvPr id="1303" name="Google Shape;5911;p93">
                <a:extLst>
                  <a:ext uri="{FF2B5EF4-FFF2-40B4-BE49-F238E27FC236}">
                    <a16:creationId xmlns:a16="http://schemas.microsoft.com/office/drawing/2014/main" id="{95159B27-2DCD-4FB6-AE3B-D628B35D1FCE}"/>
                  </a:ext>
                </a:extLst>
              </p:cNvPr>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5912;p93">
                <a:extLst>
                  <a:ext uri="{FF2B5EF4-FFF2-40B4-BE49-F238E27FC236}">
                    <a16:creationId xmlns:a16="http://schemas.microsoft.com/office/drawing/2014/main" id="{4670728C-6307-47AF-9544-B077B2B6DAA8}"/>
                  </a:ext>
                </a:extLst>
              </p:cNvPr>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5913;p93">
                <a:extLst>
                  <a:ext uri="{FF2B5EF4-FFF2-40B4-BE49-F238E27FC236}">
                    <a16:creationId xmlns:a16="http://schemas.microsoft.com/office/drawing/2014/main" id="{55B0778C-F532-4DE7-874D-3728A4ED1DE3}"/>
                  </a:ext>
                </a:extLst>
              </p:cNvPr>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5914;p93">
                <a:extLst>
                  <a:ext uri="{FF2B5EF4-FFF2-40B4-BE49-F238E27FC236}">
                    <a16:creationId xmlns:a16="http://schemas.microsoft.com/office/drawing/2014/main" id="{86EFE06A-5E9E-4526-8421-E46DB400FD0C}"/>
                  </a:ext>
                </a:extLst>
              </p:cNvPr>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6" name="Google Shape;5915;p93">
              <a:extLst>
                <a:ext uri="{FF2B5EF4-FFF2-40B4-BE49-F238E27FC236}">
                  <a16:creationId xmlns:a16="http://schemas.microsoft.com/office/drawing/2014/main" id="{9B8C8BC9-F76B-40B2-8513-4EDF063E3B0D}"/>
                </a:ext>
              </a:extLst>
            </p:cNvPr>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5916;p93">
              <a:extLst>
                <a:ext uri="{FF2B5EF4-FFF2-40B4-BE49-F238E27FC236}">
                  <a16:creationId xmlns:a16="http://schemas.microsoft.com/office/drawing/2014/main" id="{E016B2CF-B04C-4717-BEC7-B4A7E03E9FA1}"/>
                </a:ext>
              </a:extLst>
            </p:cNvPr>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5917;p93">
              <a:extLst>
                <a:ext uri="{FF2B5EF4-FFF2-40B4-BE49-F238E27FC236}">
                  <a16:creationId xmlns:a16="http://schemas.microsoft.com/office/drawing/2014/main" id="{CBC10ECC-FB43-446E-955A-90862FA1D630}"/>
                </a:ext>
              </a:extLst>
            </p:cNvPr>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5918;p93">
              <a:extLst>
                <a:ext uri="{FF2B5EF4-FFF2-40B4-BE49-F238E27FC236}">
                  <a16:creationId xmlns:a16="http://schemas.microsoft.com/office/drawing/2014/main" id="{7A237C60-2E15-4C6A-B485-EFDD248D2EEC}"/>
                </a:ext>
              </a:extLst>
            </p:cNvPr>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5919;p93">
              <a:extLst>
                <a:ext uri="{FF2B5EF4-FFF2-40B4-BE49-F238E27FC236}">
                  <a16:creationId xmlns:a16="http://schemas.microsoft.com/office/drawing/2014/main" id="{B67BEF9B-076C-4D17-9485-1D011D584ACE}"/>
                </a:ext>
              </a:extLst>
            </p:cNvPr>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5920;p93">
              <a:extLst>
                <a:ext uri="{FF2B5EF4-FFF2-40B4-BE49-F238E27FC236}">
                  <a16:creationId xmlns:a16="http://schemas.microsoft.com/office/drawing/2014/main" id="{4C3272A8-5F15-4144-A33D-8B565BB6CA98}"/>
                </a:ext>
              </a:extLst>
            </p:cNvPr>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5921;p93">
              <a:extLst>
                <a:ext uri="{FF2B5EF4-FFF2-40B4-BE49-F238E27FC236}">
                  <a16:creationId xmlns:a16="http://schemas.microsoft.com/office/drawing/2014/main" id="{99241128-EB71-4295-B472-C2F04AC2FD28}"/>
                </a:ext>
              </a:extLst>
            </p:cNvPr>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53" name="Google Shape;5922;p93">
              <a:extLst>
                <a:ext uri="{FF2B5EF4-FFF2-40B4-BE49-F238E27FC236}">
                  <a16:creationId xmlns:a16="http://schemas.microsoft.com/office/drawing/2014/main" id="{2C74FAAE-6279-46D9-928A-C3875FEA63C1}"/>
                </a:ext>
              </a:extLst>
            </p:cNvPr>
            <p:cNvGrpSpPr/>
            <p:nvPr/>
          </p:nvGrpSpPr>
          <p:grpSpPr>
            <a:xfrm>
              <a:off x="4403342" y="3107749"/>
              <a:ext cx="316680" cy="101374"/>
              <a:chOff x="5068275" y="3161675"/>
              <a:chExt cx="664875" cy="222850"/>
            </a:xfrm>
          </p:grpSpPr>
          <p:sp>
            <p:nvSpPr>
              <p:cNvPr id="1299" name="Google Shape;5923;p93">
                <a:extLst>
                  <a:ext uri="{FF2B5EF4-FFF2-40B4-BE49-F238E27FC236}">
                    <a16:creationId xmlns:a16="http://schemas.microsoft.com/office/drawing/2014/main" id="{55BE02AA-B963-419D-A5CC-EB8C23815E55}"/>
                  </a:ext>
                </a:extLst>
              </p:cNvPr>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5924;p93">
                <a:extLst>
                  <a:ext uri="{FF2B5EF4-FFF2-40B4-BE49-F238E27FC236}">
                    <a16:creationId xmlns:a16="http://schemas.microsoft.com/office/drawing/2014/main" id="{F4F2E1D4-4C8B-4EB7-B847-1DE9BB93A1C8}"/>
                  </a:ext>
                </a:extLst>
              </p:cNvPr>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5925;p93">
                <a:extLst>
                  <a:ext uri="{FF2B5EF4-FFF2-40B4-BE49-F238E27FC236}">
                    <a16:creationId xmlns:a16="http://schemas.microsoft.com/office/drawing/2014/main" id="{38F7169B-2B59-4E5C-B8D7-2A25C70CDB59}"/>
                  </a:ext>
                </a:extLst>
              </p:cNvPr>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5926;p93">
                <a:extLst>
                  <a:ext uri="{FF2B5EF4-FFF2-40B4-BE49-F238E27FC236}">
                    <a16:creationId xmlns:a16="http://schemas.microsoft.com/office/drawing/2014/main" id="{828188A0-BEDE-4F2B-B059-8B5E552182BA}"/>
                  </a:ext>
                </a:extLst>
              </p:cNvPr>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4" name="Google Shape;5927;p93">
              <a:extLst>
                <a:ext uri="{FF2B5EF4-FFF2-40B4-BE49-F238E27FC236}">
                  <a16:creationId xmlns:a16="http://schemas.microsoft.com/office/drawing/2014/main" id="{82636FC4-50D6-4DD7-B488-55D29C3269B0}"/>
                </a:ext>
              </a:extLst>
            </p:cNvPr>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5928;p93">
              <a:extLst>
                <a:ext uri="{FF2B5EF4-FFF2-40B4-BE49-F238E27FC236}">
                  <a16:creationId xmlns:a16="http://schemas.microsoft.com/office/drawing/2014/main" id="{3EE58E07-B680-4DEB-9B84-F4F74549D318}"/>
                </a:ext>
              </a:extLst>
            </p:cNvPr>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5929;p93">
              <a:extLst>
                <a:ext uri="{FF2B5EF4-FFF2-40B4-BE49-F238E27FC236}">
                  <a16:creationId xmlns:a16="http://schemas.microsoft.com/office/drawing/2014/main" id="{B2E2795C-00B8-4035-8BC2-A0CE54B95B3A}"/>
                </a:ext>
              </a:extLst>
            </p:cNvPr>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5930;p93">
              <a:extLst>
                <a:ext uri="{FF2B5EF4-FFF2-40B4-BE49-F238E27FC236}">
                  <a16:creationId xmlns:a16="http://schemas.microsoft.com/office/drawing/2014/main" id="{107E4F3D-BEA9-4F86-879D-56EF28500CE4}"/>
                </a:ext>
              </a:extLst>
            </p:cNvPr>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5931;p93">
              <a:extLst>
                <a:ext uri="{FF2B5EF4-FFF2-40B4-BE49-F238E27FC236}">
                  <a16:creationId xmlns:a16="http://schemas.microsoft.com/office/drawing/2014/main" id="{3123ACB1-B003-4044-B4F5-2DBA5FED53D8}"/>
                </a:ext>
              </a:extLst>
            </p:cNvPr>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5932;p93">
              <a:extLst>
                <a:ext uri="{FF2B5EF4-FFF2-40B4-BE49-F238E27FC236}">
                  <a16:creationId xmlns:a16="http://schemas.microsoft.com/office/drawing/2014/main" id="{680718DB-A98A-4300-8AEB-918B37FBF59A}"/>
                </a:ext>
              </a:extLst>
            </p:cNvPr>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5933;p93">
              <a:extLst>
                <a:ext uri="{FF2B5EF4-FFF2-40B4-BE49-F238E27FC236}">
                  <a16:creationId xmlns:a16="http://schemas.microsoft.com/office/drawing/2014/main" id="{2AE46866-A627-4FF2-B02E-D6189CF67E41}"/>
                </a:ext>
              </a:extLst>
            </p:cNvPr>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5934;p93">
              <a:extLst>
                <a:ext uri="{FF2B5EF4-FFF2-40B4-BE49-F238E27FC236}">
                  <a16:creationId xmlns:a16="http://schemas.microsoft.com/office/drawing/2014/main" id="{506B8BB0-F4D6-40EC-9301-086DD0A2CB94}"/>
                </a:ext>
              </a:extLst>
            </p:cNvPr>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5935;p93">
              <a:extLst>
                <a:ext uri="{FF2B5EF4-FFF2-40B4-BE49-F238E27FC236}">
                  <a16:creationId xmlns:a16="http://schemas.microsoft.com/office/drawing/2014/main" id="{A766DBD6-A9B2-4684-B1C8-2E790D5393B5}"/>
                </a:ext>
              </a:extLst>
            </p:cNvPr>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5936;p93">
              <a:extLst>
                <a:ext uri="{FF2B5EF4-FFF2-40B4-BE49-F238E27FC236}">
                  <a16:creationId xmlns:a16="http://schemas.microsoft.com/office/drawing/2014/main" id="{BBDCD59F-8D5A-4320-B382-17C177973479}"/>
                </a:ext>
              </a:extLst>
            </p:cNvPr>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5937;p93">
              <a:extLst>
                <a:ext uri="{FF2B5EF4-FFF2-40B4-BE49-F238E27FC236}">
                  <a16:creationId xmlns:a16="http://schemas.microsoft.com/office/drawing/2014/main" id="{9C0FEE58-7AF5-466C-AB77-3BDB6D1E05C1}"/>
                </a:ext>
              </a:extLst>
            </p:cNvPr>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5938;p93">
              <a:extLst>
                <a:ext uri="{FF2B5EF4-FFF2-40B4-BE49-F238E27FC236}">
                  <a16:creationId xmlns:a16="http://schemas.microsoft.com/office/drawing/2014/main" id="{ECF0CBA3-5A24-44EE-AE9D-5D4808DE519E}"/>
                </a:ext>
              </a:extLst>
            </p:cNvPr>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5939;p93">
              <a:extLst>
                <a:ext uri="{FF2B5EF4-FFF2-40B4-BE49-F238E27FC236}">
                  <a16:creationId xmlns:a16="http://schemas.microsoft.com/office/drawing/2014/main" id="{1C64F4E7-DDC4-46E9-9156-0F43926A3146}"/>
                </a:ext>
              </a:extLst>
            </p:cNvPr>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5940;p93">
              <a:extLst>
                <a:ext uri="{FF2B5EF4-FFF2-40B4-BE49-F238E27FC236}">
                  <a16:creationId xmlns:a16="http://schemas.microsoft.com/office/drawing/2014/main" id="{AAC7D403-AFD5-46A3-B1E5-EDF11A6CCC1C}"/>
                </a:ext>
              </a:extLst>
            </p:cNvPr>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5941;p93">
              <a:extLst>
                <a:ext uri="{FF2B5EF4-FFF2-40B4-BE49-F238E27FC236}">
                  <a16:creationId xmlns:a16="http://schemas.microsoft.com/office/drawing/2014/main" id="{68792166-6DE9-49F2-8E7A-B48D83591B85}"/>
                </a:ext>
              </a:extLst>
            </p:cNvPr>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5942;p93">
              <a:extLst>
                <a:ext uri="{FF2B5EF4-FFF2-40B4-BE49-F238E27FC236}">
                  <a16:creationId xmlns:a16="http://schemas.microsoft.com/office/drawing/2014/main" id="{CEFC194A-F342-4AF5-8843-5F5D2231D24C}"/>
                </a:ext>
              </a:extLst>
            </p:cNvPr>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5943;p93">
              <a:extLst>
                <a:ext uri="{FF2B5EF4-FFF2-40B4-BE49-F238E27FC236}">
                  <a16:creationId xmlns:a16="http://schemas.microsoft.com/office/drawing/2014/main" id="{F0D24406-341F-4DB5-BB91-38A1025995DE}"/>
                </a:ext>
              </a:extLst>
            </p:cNvPr>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5944;p93">
              <a:extLst>
                <a:ext uri="{FF2B5EF4-FFF2-40B4-BE49-F238E27FC236}">
                  <a16:creationId xmlns:a16="http://schemas.microsoft.com/office/drawing/2014/main" id="{77D6DF67-9705-41B6-8375-D6E4958DBACC}"/>
                </a:ext>
              </a:extLst>
            </p:cNvPr>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5945;p93">
              <a:extLst>
                <a:ext uri="{FF2B5EF4-FFF2-40B4-BE49-F238E27FC236}">
                  <a16:creationId xmlns:a16="http://schemas.microsoft.com/office/drawing/2014/main" id="{1F5172F1-88F8-4264-AB25-93115A659509}"/>
                </a:ext>
              </a:extLst>
            </p:cNvPr>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5946;p93">
              <a:extLst>
                <a:ext uri="{FF2B5EF4-FFF2-40B4-BE49-F238E27FC236}">
                  <a16:creationId xmlns:a16="http://schemas.microsoft.com/office/drawing/2014/main" id="{911ED0D3-0639-4AE7-ACD0-64EF624F4C53}"/>
                </a:ext>
              </a:extLst>
            </p:cNvPr>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5947;p93">
              <a:extLst>
                <a:ext uri="{FF2B5EF4-FFF2-40B4-BE49-F238E27FC236}">
                  <a16:creationId xmlns:a16="http://schemas.microsoft.com/office/drawing/2014/main" id="{AB733121-5C05-4228-8F58-4B050A2A6D14}"/>
                </a:ext>
              </a:extLst>
            </p:cNvPr>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5948;p93">
              <a:extLst>
                <a:ext uri="{FF2B5EF4-FFF2-40B4-BE49-F238E27FC236}">
                  <a16:creationId xmlns:a16="http://schemas.microsoft.com/office/drawing/2014/main" id="{DA1A1021-5C1C-414D-AB02-7D781382ADE2}"/>
                </a:ext>
              </a:extLst>
            </p:cNvPr>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5949;p93">
              <a:extLst>
                <a:ext uri="{FF2B5EF4-FFF2-40B4-BE49-F238E27FC236}">
                  <a16:creationId xmlns:a16="http://schemas.microsoft.com/office/drawing/2014/main" id="{3497C1FE-913D-48A1-BEB0-9738381905F3}"/>
                </a:ext>
              </a:extLst>
            </p:cNvPr>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5950;p93">
              <a:extLst>
                <a:ext uri="{FF2B5EF4-FFF2-40B4-BE49-F238E27FC236}">
                  <a16:creationId xmlns:a16="http://schemas.microsoft.com/office/drawing/2014/main" id="{05A4DECB-CF3C-4BC8-8BD2-3C9A96547A7B}"/>
                </a:ext>
              </a:extLst>
            </p:cNvPr>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5951;p93">
              <a:extLst>
                <a:ext uri="{FF2B5EF4-FFF2-40B4-BE49-F238E27FC236}">
                  <a16:creationId xmlns:a16="http://schemas.microsoft.com/office/drawing/2014/main" id="{B95DA37B-BA05-45F4-BF82-DC689D20C0FC}"/>
                </a:ext>
              </a:extLst>
            </p:cNvPr>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5952;p93">
              <a:extLst>
                <a:ext uri="{FF2B5EF4-FFF2-40B4-BE49-F238E27FC236}">
                  <a16:creationId xmlns:a16="http://schemas.microsoft.com/office/drawing/2014/main" id="{FCC04FA7-B5D2-4999-A7AB-428811D99870}"/>
                </a:ext>
              </a:extLst>
            </p:cNvPr>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5953;p93">
              <a:extLst>
                <a:ext uri="{FF2B5EF4-FFF2-40B4-BE49-F238E27FC236}">
                  <a16:creationId xmlns:a16="http://schemas.microsoft.com/office/drawing/2014/main" id="{5C8FCAB6-C981-4E9D-9BD5-89617CD738AA}"/>
                </a:ext>
              </a:extLst>
            </p:cNvPr>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5954;p93">
              <a:extLst>
                <a:ext uri="{FF2B5EF4-FFF2-40B4-BE49-F238E27FC236}">
                  <a16:creationId xmlns:a16="http://schemas.microsoft.com/office/drawing/2014/main" id="{829CC782-AAF1-43C6-AEF5-E18C2C2CB0B0}"/>
                </a:ext>
              </a:extLst>
            </p:cNvPr>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5955;p93">
              <a:extLst>
                <a:ext uri="{FF2B5EF4-FFF2-40B4-BE49-F238E27FC236}">
                  <a16:creationId xmlns:a16="http://schemas.microsoft.com/office/drawing/2014/main" id="{73310079-3FE8-468D-A529-C14CF1504EBB}"/>
                </a:ext>
              </a:extLst>
            </p:cNvPr>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3" name="Google Shape;5956;p93">
              <a:extLst>
                <a:ext uri="{FF2B5EF4-FFF2-40B4-BE49-F238E27FC236}">
                  <a16:creationId xmlns:a16="http://schemas.microsoft.com/office/drawing/2014/main" id="{B2FE2918-C4FE-448B-9B3E-90838A8F715D}"/>
                </a:ext>
              </a:extLst>
            </p:cNvPr>
            <p:cNvGrpSpPr/>
            <p:nvPr/>
          </p:nvGrpSpPr>
          <p:grpSpPr>
            <a:xfrm>
              <a:off x="3697513" y="2707266"/>
              <a:ext cx="59549" cy="79733"/>
              <a:chOff x="3586375" y="2281300"/>
              <a:chExt cx="125025" cy="175275"/>
            </a:xfrm>
          </p:grpSpPr>
          <p:sp>
            <p:nvSpPr>
              <p:cNvPr id="1297" name="Google Shape;5957;p93">
                <a:extLst>
                  <a:ext uri="{FF2B5EF4-FFF2-40B4-BE49-F238E27FC236}">
                    <a16:creationId xmlns:a16="http://schemas.microsoft.com/office/drawing/2014/main" id="{E5CE38D5-75DB-4907-BF37-EB7F0011EB45}"/>
                  </a:ext>
                </a:extLst>
              </p:cNvPr>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5958;p93">
                <a:extLst>
                  <a:ext uri="{FF2B5EF4-FFF2-40B4-BE49-F238E27FC236}">
                    <a16:creationId xmlns:a16="http://schemas.microsoft.com/office/drawing/2014/main" id="{99923DE4-ADFE-47B5-9D02-65D5B3608429}"/>
                  </a:ext>
                </a:extLst>
              </p:cNvPr>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 name="Google Shape;5959;p93">
              <a:extLst>
                <a:ext uri="{FF2B5EF4-FFF2-40B4-BE49-F238E27FC236}">
                  <a16:creationId xmlns:a16="http://schemas.microsoft.com/office/drawing/2014/main" id="{DED74778-480C-4A23-B418-E36A6F2F5A8D}"/>
                </a:ext>
              </a:extLst>
            </p:cNvPr>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5" name="Google Shape;5960;p93">
              <a:extLst>
                <a:ext uri="{FF2B5EF4-FFF2-40B4-BE49-F238E27FC236}">
                  <a16:creationId xmlns:a16="http://schemas.microsoft.com/office/drawing/2014/main" id="{A381D91E-81A1-4C0F-B9DC-8B29FD724B69}"/>
                </a:ext>
              </a:extLst>
            </p:cNvPr>
            <p:cNvGrpSpPr/>
            <p:nvPr/>
          </p:nvGrpSpPr>
          <p:grpSpPr>
            <a:xfrm>
              <a:off x="4513224" y="3221724"/>
              <a:ext cx="274563" cy="280321"/>
              <a:chOff x="5298975" y="3412225"/>
              <a:chExt cx="576450" cy="616225"/>
            </a:xfrm>
          </p:grpSpPr>
          <p:sp>
            <p:nvSpPr>
              <p:cNvPr id="1295" name="Google Shape;5961;p93">
                <a:extLst>
                  <a:ext uri="{FF2B5EF4-FFF2-40B4-BE49-F238E27FC236}">
                    <a16:creationId xmlns:a16="http://schemas.microsoft.com/office/drawing/2014/main" id="{1FEC4201-BE32-4AAC-8AF8-5F06D6BC0DEF}"/>
                  </a:ext>
                </a:extLst>
              </p:cNvPr>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96" name="Google Shape;5962;p93">
                <a:extLst>
                  <a:ext uri="{FF2B5EF4-FFF2-40B4-BE49-F238E27FC236}">
                    <a16:creationId xmlns:a16="http://schemas.microsoft.com/office/drawing/2014/main" id="{A5288DE8-6CFA-428B-B6ED-5146197F7016}"/>
                  </a:ext>
                </a:extLst>
              </p:cNvPr>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 name="Google Shape;5963;p93">
              <a:extLst>
                <a:ext uri="{FF2B5EF4-FFF2-40B4-BE49-F238E27FC236}">
                  <a16:creationId xmlns:a16="http://schemas.microsoft.com/office/drawing/2014/main" id="{F24BFC80-C0B9-48A2-8FCB-83C8FF5EFA5C}"/>
                </a:ext>
              </a:extLst>
            </p:cNvPr>
            <p:cNvGrpSpPr/>
            <p:nvPr/>
          </p:nvGrpSpPr>
          <p:grpSpPr>
            <a:xfrm>
              <a:off x="4824403" y="3421846"/>
              <a:ext cx="110132" cy="130647"/>
              <a:chOff x="5952300" y="3852150"/>
              <a:chExt cx="231225" cy="287200"/>
            </a:xfrm>
          </p:grpSpPr>
          <p:sp>
            <p:nvSpPr>
              <p:cNvPr id="1293" name="Google Shape;5964;p93">
                <a:extLst>
                  <a:ext uri="{FF2B5EF4-FFF2-40B4-BE49-F238E27FC236}">
                    <a16:creationId xmlns:a16="http://schemas.microsoft.com/office/drawing/2014/main" id="{2C155F29-059C-4BCB-A386-526285C2AF69}"/>
                  </a:ext>
                </a:extLst>
              </p:cNvPr>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5965;p93">
                <a:extLst>
                  <a:ext uri="{FF2B5EF4-FFF2-40B4-BE49-F238E27FC236}">
                    <a16:creationId xmlns:a16="http://schemas.microsoft.com/office/drawing/2014/main" id="{4DBC9587-3F22-4E84-A27D-BB3537E003F9}"/>
                  </a:ext>
                </a:extLst>
              </p:cNvPr>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7" name="Google Shape;5966;p93">
              <a:extLst>
                <a:ext uri="{FF2B5EF4-FFF2-40B4-BE49-F238E27FC236}">
                  <a16:creationId xmlns:a16="http://schemas.microsoft.com/office/drawing/2014/main" id="{353F85B8-E94A-46AC-A155-B8A86D0DD8E9}"/>
                </a:ext>
              </a:extLst>
            </p:cNvPr>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5967;p93">
              <a:extLst>
                <a:ext uri="{FF2B5EF4-FFF2-40B4-BE49-F238E27FC236}">
                  <a16:creationId xmlns:a16="http://schemas.microsoft.com/office/drawing/2014/main" id="{3E2BD072-4041-4594-A7AD-F26A63D73874}"/>
                </a:ext>
              </a:extLst>
            </p:cNvPr>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5968;p93">
              <a:extLst>
                <a:ext uri="{FF2B5EF4-FFF2-40B4-BE49-F238E27FC236}">
                  <a16:creationId xmlns:a16="http://schemas.microsoft.com/office/drawing/2014/main" id="{38D5F631-2B8B-46FC-95EE-EE994409BCCE}"/>
                </a:ext>
              </a:extLst>
            </p:cNvPr>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5969;p93">
              <a:extLst>
                <a:ext uri="{FF2B5EF4-FFF2-40B4-BE49-F238E27FC236}">
                  <a16:creationId xmlns:a16="http://schemas.microsoft.com/office/drawing/2014/main" id="{3CD1AEF2-4F88-4775-B5F3-DFE8CFBF5624}"/>
                </a:ext>
              </a:extLst>
            </p:cNvPr>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5970;p93">
              <a:extLst>
                <a:ext uri="{FF2B5EF4-FFF2-40B4-BE49-F238E27FC236}">
                  <a16:creationId xmlns:a16="http://schemas.microsoft.com/office/drawing/2014/main" id="{4A8FB22C-E43E-424D-9FBD-DC5D5A6F3F06}"/>
                </a:ext>
              </a:extLst>
            </p:cNvPr>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5971;p93">
              <a:extLst>
                <a:ext uri="{FF2B5EF4-FFF2-40B4-BE49-F238E27FC236}">
                  <a16:creationId xmlns:a16="http://schemas.microsoft.com/office/drawing/2014/main" id="{653CC3AB-D4AD-43A0-93E2-11524C32E7D7}"/>
                </a:ext>
              </a:extLst>
            </p:cNvPr>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5972;p93">
              <a:extLst>
                <a:ext uri="{FF2B5EF4-FFF2-40B4-BE49-F238E27FC236}">
                  <a16:creationId xmlns:a16="http://schemas.microsoft.com/office/drawing/2014/main" id="{C2AFA6A0-8BEE-421C-BB4B-C098F9607A54}"/>
                </a:ext>
              </a:extLst>
            </p:cNvPr>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5973;p93">
              <a:extLst>
                <a:ext uri="{FF2B5EF4-FFF2-40B4-BE49-F238E27FC236}">
                  <a16:creationId xmlns:a16="http://schemas.microsoft.com/office/drawing/2014/main" id="{3AE71C92-AAE5-4D2A-BF5C-2EFF6BD91572}"/>
                </a:ext>
              </a:extLst>
            </p:cNvPr>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95" name="Google Shape;5974;p93">
              <a:extLst>
                <a:ext uri="{FF2B5EF4-FFF2-40B4-BE49-F238E27FC236}">
                  <a16:creationId xmlns:a16="http://schemas.microsoft.com/office/drawing/2014/main" id="{ABFE48D5-B4AF-47C6-ADE6-153632908936}"/>
                </a:ext>
              </a:extLst>
            </p:cNvPr>
            <p:cNvGrpSpPr/>
            <p:nvPr/>
          </p:nvGrpSpPr>
          <p:grpSpPr>
            <a:xfrm>
              <a:off x="4295710" y="3079670"/>
              <a:ext cx="14968" cy="27135"/>
              <a:chOff x="4842300" y="3099950"/>
              <a:chExt cx="31425" cy="59650"/>
            </a:xfrm>
          </p:grpSpPr>
          <p:sp>
            <p:nvSpPr>
              <p:cNvPr id="1289" name="Google Shape;5975;p93">
                <a:extLst>
                  <a:ext uri="{FF2B5EF4-FFF2-40B4-BE49-F238E27FC236}">
                    <a16:creationId xmlns:a16="http://schemas.microsoft.com/office/drawing/2014/main" id="{425A5B2B-E2ED-458A-B356-E0CF84F511FE}"/>
                  </a:ext>
                </a:extLst>
              </p:cNvPr>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5976;p93">
                <a:extLst>
                  <a:ext uri="{FF2B5EF4-FFF2-40B4-BE49-F238E27FC236}">
                    <a16:creationId xmlns:a16="http://schemas.microsoft.com/office/drawing/2014/main" id="{DE814F8A-F100-4844-A967-903BE157D101}"/>
                  </a:ext>
                </a:extLst>
              </p:cNvPr>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5977;p93">
                <a:extLst>
                  <a:ext uri="{FF2B5EF4-FFF2-40B4-BE49-F238E27FC236}">
                    <a16:creationId xmlns:a16="http://schemas.microsoft.com/office/drawing/2014/main" id="{6CF5653E-B49E-487E-AFC7-ECDC85702C66}"/>
                  </a:ext>
                </a:extLst>
              </p:cNvPr>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5978;p93">
                <a:extLst>
                  <a:ext uri="{FF2B5EF4-FFF2-40B4-BE49-F238E27FC236}">
                    <a16:creationId xmlns:a16="http://schemas.microsoft.com/office/drawing/2014/main" id="{80345B85-5616-46DE-9EB2-3190F61CDCAC}"/>
                  </a:ext>
                </a:extLst>
              </p:cNvPr>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96" name="Google Shape;5979;p93">
              <a:extLst>
                <a:ext uri="{FF2B5EF4-FFF2-40B4-BE49-F238E27FC236}">
                  <a16:creationId xmlns:a16="http://schemas.microsoft.com/office/drawing/2014/main" id="{EF49D7DA-462C-4804-AD01-104ACC1BD003}"/>
                </a:ext>
              </a:extLst>
            </p:cNvPr>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5980;p93">
              <a:extLst>
                <a:ext uri="{FF2B5EF4-FFF2-40B4-BE49-F238E27FC236}">
                  <a16:creationId xmlns:a16="http://schemas.microsoft.com/office/drawing/2014/main" id="{50B48DAB-BFF6-414A-AAB2-AC0C080F6F1E}"/>
                </a:ext>
              </a:extLst>
            </p:cNvPr>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5981;p93">
              <a:extLst>
                <a:ext uri="{FF2B5EF4-FFF2-40B4-BE49-F238E27FC236}">
                  <a16:creationId xmlns:a16="http://schemas.microsoft.com/office/drawing/2014/main" id="{C612FAE1-6762-4D65-9CFF-1775B12A48EF}"/>
                </a:ext>
              </a:extLst>
            </p:cNvPr>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5982;p93">
              <a:extLst>
                <a:ext uri="{FF2B5EF4-FFF2-40B4-BE49-F238E27FC236}">
                  <a16:creationId xmlns:a16="http://schemas.microsoft.com/office/drawing/2014/main" id="{829D1D34-4BFE-4964-AC52-72ECA58CADB8}"/>
                </a:ext>
              </a:extLst>
            </p:cNvPr>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5983;p93">
              <a:extLst>
                <a:ext uri="{FF2B5EF4-FFF2-40B4-BE49-F238E27FC236}">
                  <a16:creationId xmlns:a16="http://schemas.microsoft.com/office/drawing/2014/main" id="{69687495-7CDB-4506-BBEA-A81D1F708288}"/>
                </a:ext>
              </a:extLst>
            </p:cNvPr>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5984;p93">
              <a:extLst>
                <a:ext uri="{FF2B5EF4-FFF2-40B4-BE49-F238E27FC236}">
                  <a16:creationId xmlns:a16="http://schemas.microsoft.com/office/drawing/2014/main" id="{6631BE36-F5FB-41C4-8307-F65893F76934}"/>
                </a:ext>
              </a:extLst>
            </p:cNvPr>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 name="Google Shape;5985;p93">
              <a:extLst>
                <a:ext uri="{FF2B5EF4-FFF2-40B4-BE49-F238E27FC236}">
                  <a16:creationId xmlns:a16="http://schemas.microsoft.com/office/drawing/2014/main" id="{7815BD35-E4C9-4F35-BDC6-44145C0149E2}"/>
                </a:ext>
              </a:extLst>
            </p:cNvPr>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 name="Google Shape;5986;p93">
              <a:extLst>
                <a:ext uri="{FF2B5EF4-FFF2-40B4-BE49-F238E27FC236}">
                  <a16:creationId xmlns:a16="http://schemas.microsoft.com/office/drawing/2014/main" id="{5A7D4B82-9848-4CBA-941C-EE16C3A8F317}"/>
                </a:ext>
              </a:extLst>
            </p:cNvPr>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 name="Google Shape;5987;p93">
              <a:extLst>
                <a:ext uri="{FF2B5EF4-FFF2-40B4-BE49-F238E27FC236}">
                  <a16:creationId xmlns:a16="http://schemas.microsoft.com/office/drawing/2014/main" id="{D674FA71-C497-456A-909E-0A51E8A61AE6}"/>
                </a:ext>
              </a:extLst>
            </p:cNvPr>
            <p:cNvGrpSpPr/>
            <p:nvPr/>
          </p:nvGrpSpPr>
          <p:grpSpPr>
            <a:xfrm>
              <a:off x="3831056" y="2816010"/>
              <a:ext cx="37378" cy="27612"/>
              <a:chOff x="3866750" y="2520350"/>
              <a:chExt cx="78475" cy="60700"/>
            </a:xfrm>
          </p:grpSpPr>
          <p:sp>
            <p:nvSpPr>
              <p:cNvPr id="1285" name="Google Shape;5988;p93">
                <a:extLst>
                  <a:ext uri="{FF2B5EF4-FFF2-40B4-BE49-F238E27FC236}">
                    <a16:creationId xmlns:a16="http://schemas.microsoft.com/office/drawing/2014/main" id="{2BC43FB5-8B2B-45D8-B966-7C3458D180CE}"/>
                  </a:ext>
                </a:extLst>
              </p:cNvPr>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5989;p93">
                <a:extLst>
                  <a:ext uri="{FF2B5EF4-FFF2-40B4-BE49-F238E27FC236}">
                    <a16:creationId xmlns:a16="http://schemas.microsoft.com/office/drawing/2014/main" id="{3DDF6174-9EAC-4850-BE3A-617C1B46BF2B}"/>
                  </a:ext>
                </a:extLst>
              </p:cNvPr>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5990;p93">
                <a:extLst>
                  <a:ext uri="{FF2B5EF4-FFF2-40B4-BE49-F238E27FC236}">
                    <a16:creationId xmlns:a16="http://schemas.microsoft.com/office/drawing/2014/main" id="{705E7628-24E8-41F7-8224-958C1DB1E100}"/>
                  </a:ext>
                </a:extLst>
              </p:cNvPr>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5991;p93">
                <a:extLst>
                  <a:ext uri="{FF2B5EF4-FFF2-40B4-BE49-F238E27FC236}">
                    <a16:creationId xmlns:a16="http://schemas.microsoft.com/office/drawing/2014/main" id="{56526B86-5180-47AD-9E2C-22E9FBA05AE6}"/>
                  </a:ext>
                </a:extLst>
              </p:cNvPr>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5" name="Google Shape;5992;p93">
              <a:extLst>
                <a:ext uri="{FF2B5EF4-FFF2-40B4-BE49-F238E27FC236}">
                  <a16:creationId xmlns:a16="http://schemas.microsoft.com/office/drawing/2014/main" id="{7F87FBE6-35B2-4851-A823-D92EE8C66AD1}"/>
                </a:ext>
              </a:extLst>
            </p:cNvPr>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5993;p93">
              <a:extLst>
                <a:ext uri="{FF2B5EF4-FFF2-40B4-BE49-F238E27FC236}">
                  <a16:creationId xmlns:a16="http://schemas.microsoft.com/office/drawing/2014/main" id="{FFDF73BF-7DBD-40FB-8120-8DBCFA2E3BC8}"/>
                </a:ext>
              </a:extLst>
            </p:cNvPr>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5994;p93">
              <a:extLst>
                <a:ext uri="{FF2B5EF4-FFF2-40B4-BE49-F238E27FC236}">
                  <a16:creationId xmlns:a16="http://schemas.microsoft.com/office/drawing/2014/main" id="{DBE7C119-6746-4F60-A875-C2CBF00C658F}"/>
                </a:ext>
              </a:extLst>
            </p:cNvPr>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5995;p93">
              <a:extLst>
                <a:ext uri="{FF2B5EF4-FFF2-40B4-BE49-F238E27FC236}">
                  <a16:creationId xmlns:a16="http://schemas.microsoft.com/office/drawing/2014/main" id="{70FFAEB3-224A-4561-9BBB-20A9ED57D2CB}"/>
                </a:ext>
              </a:extLst>
            </p:cNvPr>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5996;p93">
              <a:extLst>
                <a:ext uri="{FF2B5EF4-FFF2-40B4-BE49-F238E27FC236}">
                  <a16:creationId xmlns:a16="http://schemas.microsoft.com/office/drawing/2014/main" id="{32AFE50A-06F0-4A4E-95EB-7793818BECF2}"/>
                </a:ext>
              </a:extLst>
            </p:cNvPr>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5997;p93">
              <a:extLst>
                <a:ext uri="{FF2B5EF4-FFF2-40B4-BE49-F238E27FC236}">
                  <a16:creationId xmlns:a16="http://schemas.microsoft.com/office/drawing/2014/main" id="{C9AE9742-BB77-4800-A1E0-04C1FC25C516}"/>
                </a:ext>
              </a:extLst>
            </p:cNvPr>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5998;p93">
              <a:extLst>
                <a:ext uri="{FF2B5EF4-FFF2-40B4-BE49-F238E27FC236}">
                  <a16:creationId xmlns:a16="http://schemas.microsoft.com/office/drawing/2014/main" id="{B1E787A2-5F4D-4114-BAD6-0EDCA478AF77}"/>
                </a:ext>
              </a:extLst>
            </p:cNvPr>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5999;p93">
              <a:extLst>
                <a:ext uri="{FF2B5EF4-FFF2-40B4-BE49-F238E27FC236}">
                  <a16:creationId xmlns:a16="http://schemas.microsoft.com/office/drawing/2014/main" id="{F67AF83E-53EF-4D7B-AA3E-C1D1773CB8C2}"/>
                </a:ext>
              </a:extLst>
            </p:cNvPr>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6000;p93">
              <a:extLst>
                <a:ext uri="{FF2B5EF4-FFF2-40B4-BE49-F238E27FC236}">
                  <a16:creationId xmlns:a16="http://schemas.microsoft.com/office/drawing/2014/main" id="{E9424067-B133-4618-B6EB-E77985B2FE51}"/>
                </a:ext>
              </a:extLst>
            </p:cNvPr>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6001;p93">
              <a:extLst>
                <a:ext uri="{FF2B5EF4-FFF2-40B4-BE49-F238E27FC236}">
                  <a16:creationId xmlns:a16="http://schemas.microsoft.com/office/drawing/2014/main" id="{E5C57595-610E-42D0-8A6A-7955AB12AFD7}"/>
                </a:ext>
              </a:extLst>
            </p:cNvPr>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6002;p93">
              <a:extLst>
                <a:ext uri="{FF2B5EF4-FFF2-40B4-BE49-F238E27FC236}">
                  <a16:creationId xmlns:a16="http://schemas.microsoft.com/office/drawing/2014/main" id="{B2B379B5-69E4-463B-B39D-FFD02B0BC41F}"/>
                </a:ext>
              </a:extLst>
            </p:cNvPr>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 name="Google Shape;6003;p93">
              <a:extLst>
                <a:ext uri="{FF2B5EF4-FFF2-40B4-BE49-F238E27FC236}">
                  <a16:creationId xmlns:a16="http://schemas.microsoft.com/office/drawing/2014/main" id="{B80E513C-29C7-4192-8BF8-8042A7763395}"/>
                </a:ext>
              </a:extLst>
            </p:cNvPr>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6004;p93">
              <a:extLst>
                <a:ext uri="{FF2B5EF4-FFF2-40B4-BE49-F238E27FC236}">
                  <a16:creationId xmlns:a16="http://schemas.microsoft.com/office/drawing/2014/main" id="{1AB784F2-E5C0-442B-8E6F-14A36ABB9605}"/>
                </a:ext>
              </a:extLst>
            </p:cNvPr>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6005;p93">
              <a:extLst>
                <a:ext uri="{FF2B5EF4-FFF2-40B4-BE49-F238E27FC236}">
                  <a16:creationId xmlns:a16="http://schemas.microsoft.com/office/drawing/2014/main" id="{6EA10394-F048-4E4E-84BF-D566BE3D15CD}"/>
                </a:ext>
              </a:extLst>
            </p:cNvPr>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6006;p93">
              <a:extLst>
                <a:ext uri="{FF2B5EF4-FFF2-40B4-BE49-F238E27FC236}">
                  <a16:creationId xmlns:a16="http://schemas.microsoft.com/office/drawing/2014/main" id="{87B3BE05-D8FC-4ED8-9AE5-3AA9ADEE7FCA}"/>
                </a:ext>
              </a:extLst>
            </p:cNvPr>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6007;p93">
              <a:extLst>
                <a:ext uri="{FF2B5EF4-FFF2-40B4-BE49-F238E27FC236}">
                  <a16:creationId xmlns:a16="http://schemas.microsoft.com/office/drawing/2014/main" id="{F4B7FF11-E092-44E9-8699-6808AF851E5D}"/>
                </a:ext>
              </a:extLst>
            </p:cNvPr>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6008;p93">
              <a:extLst>
                <a:ext uri="{FF2B5EF4-FFF2-40B4-BE49-F238E27FC236}">
                  <a16:creationId xmlns:a16="http://schemas.microsoft.com/office/drawing/2014/main" id="{0BD8B89C-8340-4C6D-9DF5-B6AE88B10640}"/>
                </a:ext>
              </a:extLst>
            </p:cNvPr>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22" name="Google Shape;6009;p93">
              <a:extLst>
                <a:ext uri="{FF2B5EF4-FFF2-40B4-BE49-F238E27FC236}">
                  <a16:creationId xmlns:a16="http://schemas.microsoft.com/office/drawing/2014/main" id="{860F9908-CEAE-457D-BD2D-39542FFB7982}"/>
                </a:ext>
              </a:extLst>
            </p:cNvPr>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 name="Google Shape;6010;p93">
              <a:extLst>
                <a:ext uri="{FF2B5EF4-FFF2-40B4-BE49-F238E27FC236}">
                  <a16:creationId xmlns:a16="http://schemas.microsoft.com/office/drawing/2014/main" id="{5F6AFFB0-451C-4E4B-836F-8DBEF111A7B4}"/>
                </a:ext>
              </a:extLst>
            </p:cNvPr>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 name="Google Shape;6011;p93">
              <a:extLst>
                <a:ext uri="{FF2B5EF4-FFF2-40B4-BE49-F238E27FC236}">
                  <a16:creationId xmlns:a16="http://schemas.microsoft.com/office/drawing/2014/main" id="{4125D163-7FF8-4B02-B9F0-0FA8D0741F59}"/>
                </a:ext>
              </a:extLst>
            </p:cNvPr>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6012;p93">
              <a:extLst>
                <a:ext uri="{FF2B5EF4-FFF2-40B4-BE49-F238E27FC236}">
                  <a16:creationId xmlns:a16="http://schemas.microsoft.com/office/drawing/2014/main" id="{E162985A-5489-48F0-B1C3-4A0A06D6A520}"/>
                </a:ext>
              </a:extLst>
            </p:cNvPr>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6013;p93">
              <a:extLst>
                <a:ext uri="{FF2B5EF4-FFF2-40B4-BE49-F238E27FC236}">
                  <a16:creationId xmlns:a16="http://schemas.microsoft.com/office/drawing/2014/main" id="{715F35FB-93C4-4D24-8A73-13A4143FC4FF}"/>
                </a:ext>
              </a:extLst>
            </p:cNvPr>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6014;p93">
              <a:extLst>
                <a:ext uri="{FF2B5EF4-FFF2-40B4-BE49-F238E27FC236}">
                  <a16:creationId xmlns:a16="http://schemas.microsoft.com/office/drawing/2014/main" id="{571A08E6-9EBA-490C-89B1-B2F509F834D2}"/>
                </a:ext>
              </a:extLst>
            </p:cNvPr>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6015;p93">
              <a:extLst>
                <a:ext uri="{FF2B5EF4-FFF2-40B4-BE49-F238E27FC236}">
                  <a16:creationId xmlns:a16="http://schemas.microsoft.com/office/drawing/2014/main" id="{3DE61170-6152-48FA-AD63-53726DF33DC7}"/>
                </a:ext>
              </a:extLst>
            </p:cNvPr>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 name="Google Shape;6016;p93">
              <a:extLst>
                <a:ext uri="{FF2B5EF4-FFF2-40B4-BE49-F238E27FC236}">
                  <a16:creationId xmlns:a16="http://schemas.microsoft.com/office/drawing/2014/main" id="{21B3AB9A-3DFD-4B11-BF94-D042632EABA0}"/>
                </a:ext>
              </a:extLst>
            </p:cNvPr>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 name="Google Shape;6017;p93">
              <a:extLst>
                <a:ext uri="{FF2B5EF4-FFF2-40B4-BE49-F238E27FC236}">
                  <a16:creationId xmlns:a16="http://schemas.microsoft.com/office/drawing/2014/main" id="{3431AA45-8AFB-4BD4-B140-4F92909511D2}"/>
                </a:ext>
              </a:extLst>
            </p:cNvPr>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 name="Google Shape;6018;p93">
              <a:extLst>
                <a:ext uri="{FF2B5EF4-FFF2-40B4-BE49-F238E27FC236}">
                  <a16:creationId xmlns:a16="http://schemas.microsoft.com/office/drawing/2014/main" id="{B1E7144E-9F04-43B1-A5DD-5C0AF57E7C00}"/>
                </a:ext>
              </a:extLst>
            </p:cNvPr>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 name="Google Shape;6019;p93">
              <a:extLst>
                <a:ext uri="{FF2B5EF4-FFF2-40B4-BE49-F238E27FC236}">
                  <a16:creationId xmlns:a16="http://schemas.microsoft.com/office/drawing/2014/main" id="{DB8B4E37-5838-4645-8475-BC7A598F5C84}"/>
                </a:ext>
              </a:extLst>
            </p:cNvPr>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 name="Google Shape;6020;p93">
              <a:extLst>
                <a:ext uri="{FF2B5EF4-FFF2-40B4-BE49-F238E27FC236}">
                  <a16:creationId xmlns:a16="http://schemas.microsoft.com/office/drawing/2014/main" id="{19FB766F-ECFD-427B-9FCE-1F5EC6FBF465}"/>
                </a:ext>
              </a:extLst>
            </p:cNvPr>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34" name="Google Shape;6021;p93">
              <a:extLst>
                <a:ext uri="{FF2B5EF4-FFF2-40B4-BE49-F238E27FC236}">
                  <a16:creationId xmlns:a16="http://schemas.microsoft.com/office/drawing/2014/main" id="{08F6C422-4DD7-4891-98EA-7B9D635D77EF}"/>
                </a:ext>
              </a:extLst>
            </p:cNvPr>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 name="Google Shape;6022;p93">
              <a:extLst>
                <a:ext uri="{FF2B5EF4-FFF2-40B4-BE49-F238E27FC236}">
                  <a16:creationId xmlns:a16="http://schemas.microsoft.com/office/drawing/2014/main" id="{E1D3CE9D-DFE5-40AA-85AC-39D80A50D081}"/>
                </a:ext>
              </a:extLst>
            </p:cNvPr>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 name="Google Shape;6023;p93">
              <a:extLst>
                <a:ext uri="{FF2B5EF4-FFF2-40B4-BE49-F238E27FC236}">
                  <a16:creationId xmlns:a16="http://schemas.microsoft.com/office/drawing/2014/main" id="{08E91680-38AA-42C8-B1C3-B763A45042A4}"/>
                </a:ext>
              </a:extLst>
            </p:cNvPr>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 name="Google Shape;6024;p93">
              <a:extLst>
                <a:ext uri="{FF2B5EF4-FFF2-40B4-BE49-F238E27FC236}">
                  <a16:creationId xmlns:a16="http://schemas.microsoft.com/office/drawing/2014/main" id="{0E0434F9-3F12-4CB7-86B8-B0FD251146BC}"/>
                </a:ext>
              </a:extLst>
            </p:cNvPr>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 name="Google Shape;6025;p93">
              <a:extLst>
                <a:ext uri="{FF2B5EF4-FFF2-40B4-BE49-F238E27FC236}">
                  <a16:creationId xmlns:a16="http://schemas.microsoft.com/office/drawing/2014/main" id="{1A07ADDF-CA26-40A8-A5A6-3DC67BE4EC4F}"/>
                </a:ext>
              </a:extLst>
            </p:cNvPr>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 name="Google Shape;6026;p93">
              <a:extLst>
                <a:ext uri="{FF2B5EF4-FFF2-40B4-BE49-F238E27FC236}">
                  <a16:creationId xmlns:a16="http://schemas.microsoft.com/office/drawing/2014/main" id="{D73C2D76-CC8D-4C2B-8955-D23BEF21308A}"/>
                </a:ext>
              </a:extLst>
            </p:cNvPr>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 name="Google Shape;6027;p93">
              <a:extLst>
                <a:ext uri="{FF2B5EF4-FFF2-40B4-BE49-F238E27FC236}">
                  <a16:creationId xmlns:a16="http://schemas.microsoft.com/office/drawing/2014/main" id="{8AC9818D-CBED-4E59-8752-187E727CDCC2}"/>
                </a:ext>
              </a:extLst>
            </p:cNvPr>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6028;p93">
              <a:extLst>
                <a:ext uri="{FF2B5EF4-FFF2-40B4-BE49-F238E27FC236}">
                  <a16:creationId xmlns:a16="http://schemas.microsoft.com/office/drawing/2014/main" id="{B2BBD4AE-EBDF-4228-AE2A-1A5990085C0D}"/>
                </a:ext>
              </a:extLst>
            </p:cNvPr>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6029;p93">
              <a:extLst>
                <a:ext uri="{FF2B5EF4-FFF2-40B4-BE49-F238E27FC236}">
                  <a16:creationId xmlns:a16="http://schemas.microsoft.com/office/drawing/2014/main" id="{CE5AB296-4578-4003-BE91-3A666DF6BB9D}"/>
                </a:ext>
              </a:extLst>
            </p:cNvPr>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 name="Google Shape;6030;p93">
              <a:extLst>
                <a:ext uri="{FF2B5EF4-FFF2-40B4-BE49-F238E27FC236}">
                  <a16:creationId xmlns:a16="http://schemas.microsoft.com/office/drawing/2014/main" id="{6785E040-F458-47E0-A91D-4B8E19980E34}"/>
                </a:ext>
              </a:extLst>
            </p:cNvPr>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 name="Google Shape;6031;p93">
              <a:extLst>
                <a:ext uri="{FF2B5EF4-FFF2-40B4-BE49-F238E27FC236}">
                  <a16:creationId xmlns:a16="http://schemas.microsoft.com/office/drawing/2014/main" id="{64454B14-A426-414F-B825-A2C648893F72}"/>
                </a:ext>
              </a:extLst>
            </p:cNvPr>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6032;p93">
              <a:extLst>
                <a:ext uri="{FF2B5EF4-FFF2-40B4-BE49-F238E27FC236}">
                  <a16:creationId xmlns:a16="http://schemas.microsoft.com/office/drawing/2014/main" id="{44E593FA-3E04-4322-A90C-726157D2E562}"/>
                </a:ext>
              </a:extLst>
            </p:cNvPr>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6033;p93">
              <a:extLst>
                <a:ext uri="{FF2B5EF4-FFF2-40B4-BE49-F238E27FC236}">
                  <a16:creationId xmlns:a16="http://schemas.microsoft.com/office/drawing/2014/main" id="{FC951B84-5112-42BF-8759-08B4DE16B3C1}"/>
                </a:ext>
              </a:extLst>
            </p:cNvPr>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47" name="Google Shape;6034;p93">
              <a:extLst>
                <a:ext uri="{FF2B5EF4-FFF2-40B4-BE49-F238E27FC236}">
                  <a16:creationId xmlns:a16="http://schemas.microsoft.com/office/drawing/2014/main" id="{ADEAAABE-405C-4068-A19C-F7AC35AA68DD}"/>
                </a:ext>
              </a:extLst>
            </p:cNvPr>
            <p:cNvGrpSpPr/>
            <p:nvPr/>
          </p:nvGrpSpPr>
          <p:grpSpPr>
            <a:xfrm>
              <a:off x="3632736" y="3051591"/>
              <a:ext cx="63288" cy="45217"/>
              <a:chOff x="3450375" y="3038225"/>
              <a:chExt cx="132875" cy="99400"/>
            </a:xfrm>
          </p:grpSpPr>
          <p:sp>
            <p:nvSpPr>
              <p:cNvPr id="1283" name="Google Shape;6035;p93">
                <a:extLst>
                  <a:ext uri="{FF2B5EF4-FFF2-40B4-BE49-F238E27FC236}">
                    <a16:creationId xmlns:a16="http://schemas.microsoft.com/office/drawing/2014/main" id="{F6DAE941-456D-4E1D-AA04-CC87AA2D0672}"/>
                  </a:ext>
                </a:extLst>
              </p:cNvPr>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6036;p93">
                <a:extLst>
                  <a:ext uri="{FF2B5EF4-FFF2-40B4-BE49-F238E27FC236}">
                    <a16:creationId xmlns:a16="http://schemas.microsoft.com/office/drawing/2014/main" id="{CE426183-3A2A-459E-924B-CDE9E1861AE1}"/>
                  </a:ext>
                </a:extLst>
              </p:cNvPr>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48" name="Google Shape;6037;p93">
              <a:extLst>
                <a:ext uri="{FF2B5EF4-FFF2-40B4-BE49-F238E27FC236}">
                  <a16:creationId xmlns:a16="http://schemas.microsoft.com/office/drawing/2014/main" id="{61828636-7ADE-48F6-B6BF-7D47D672A1B4}"/>
                </a:ext>
              </a:extLst>
            </p:cNvPr>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6038;p93">
              <a:extLst>
                <a:ext uri="{FF2B5EF4-FFF2-40B4-BE49-F238E27FC236}">
                  <a16:creationId xmlns:a16="http://schemas.microsoft.com/office/drawing/2014/main" id="{A1DEC1C0-310D-4BD3-BA07-5C0FD4C4FB31}"/>
                </a:ext>
              </a:extLst>
            </p:cNvPr>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 name="Google Shape;6039;p93">
              <a:extLst>
                <a:ext uri="{FF2B5EF4-FFF2-40B4-BE49-F238E27FC236}">
                  <a16:creationId xmlns:a16="http://schemas.microsoft.com/office/drawing/2014/main" id="{089973A7-F531-4F25-BCDE-A7679F89CB9A}"/>
                </a:ext>
              </a:extLst>
            </p:cNvPr>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 name="Google Shape;6040;p93">
              <a:extLst>
                <a:ext uri="{FF2B5EF4-FFF2-40B4-BE49-F238E27FC236}">
                  <a16:creationId xmlns:a16="http://schemas.microsoft.com/office/drawing/2014/main" id="{C7BD579E-8D20-4065-B7C0-1C498D3524AA}"/>
                </a:ext>
              </a:extLst>
            </p:cNvPr>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 name="Google Shape;6041;p93">
              <a:extLst>
                <a:ext uri="{FF2B5EF4-FFF2-40B4-BE49-F238E27FC236}">
                  <a16:creationId xmlns:a16="http://schemas.microsoft.com/office/drawing/2014/main" id="{ECF3E118-87D0-4F93-B741-27688B75E0DC}"/>
                </a:ext>
              </a:extLst>
            </p:cNvPr>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 name="Google Shape;6042;p93">
              <a:extLst>
                <a:ext uri="{FF2B5EF4-FFF2-40B4-BE49-F238E27FC236}">
                  <a16:creationId xmlns:a16="http://schemas.microsoft.com/office/drawing/2014/main" id="{881667B8-6FD5-4379-A3EF-E07FAAE9C292}"/>
                </a:ext>
              </a:extLst>
            </p:cNvPr>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 name="Google Shape;6043;p93">
              <a:extLst>
                <a:ext uri="{FF2B5EF4-FFF2-40B4-BE49-F238E27FC236}">
                  <a16:creationId xmlns:a16="http://schemas.microsoft.com/office/drawing/2014/main" id="{A6FB9F91-F681-437A-A576-DD9500EAA852}"/>
                </a:ext>
              </a:extLst>
            </p:cNvPr>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 name="Google Shape;6044;p93">
              <a:extLst>
                <a:ext uri="{FF2B5EF4-FFF2-40B4-BE49-F238E27FC236}">
                  <a16:creationId xmlns:a16="http://schemas.microsoft.com/office/drawing/2014/main" id="{6C84C07C-8A33-4C49-803F-ED2CCBBFD29D}"/>
                </a:ext>
              </a:extLst>
            </p:cNvPr>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 name="Google Shape;6045;p93">
              <a:extLst>
                <a:ext uri="{FF2B5EF4-FFF2-40B4-BE49-F238E27FC236}">
                  <a16:creationId xmlns:a16="http://schemas.microsoft.com/office/drawing/2014/main" id="{70FD0FD0-5254-41E4-B0FC-9F7AE728210D}"/>
                </a:ext>
              </a:extLst>
            </p:cNvPr>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57" name="Google Shape;6046;p93">
              <a:extLst>
                <a:ext uri="{FF2B5EF4-FFF2-40B4-BE49-F238E27FC236}">
                  <a16:creationId xmlns:a16="http://schemas.microsoft.com/office/drawing/2014/main" id="{980C61BD-F9D0-4E8E-B4E8-F5E5B956B04A}"/>
                </a:ext>
              </a:extLst>
            </p:cNvPr>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 name="Google Shape;6047;p93">
              <a:extLst>
                <a:ext uri="{FF2B5EF4-FFF2-40B4-BE49-F238E27FC236}">
                  <a16:creationId xmlns:a16="http://schemas.microsoft.com/office/drawing/2014/main" id="{9B436503-5557-4F94-8037-66F32517EF78}"/>
                </a:ext>
              </a:extLst>
            </p:cNvPr>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 name="Google Shape;6048;p93">
              <a:extLst>
                <a:ext uri="{FF2B5EF4-FFF2-40B4-BE49-F238E27FC236}">
                  <a16:creationId xmlns:a16="http://schemas.microsoft.com/office/drawing/2014/main" id="{3DC54204-E97C-4EB5-9966-8E35FFE6E1CC}"/>
                </a:ext>
              </a:extLst>
            </p:cNvPr>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 name="Google Shape;6049;p93">
              <a:extLst>
                <a:ext uri="{FF2B5EF4-FFF2-40B4-BE49-F238E27FC236}">
                  <a16:creationId xmlns:a16="http://schemas.microsoft.com/office/drawing/2014/main" id="{02335D4F-0A16-4E08-8E70-A7479FD4BD7E}"/>
                </a:ext>
              </a:extLst>
            </p:cNvPr>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 name="Google Shape;6050;p93">
              <a:extLst>
                <a:ext uri="{FF2B5EF4-FFF2-40B4-BE49-F238E27FC236}">
                  <a16:creationId xmlns:a16="http://schemas.microsoft.com/office/drawing/2014/main" id="{D0931975-1090-4455-8E84-465C97E5FF5E}"/>
                </a:ext>
              </a:extLst>
            </p:cNvPr>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 name="Google Shape;6051;p93">
              <a:extLst>
                <a:ext uri="{FF2B5EF4-FFF2-40B4-BE49-F238E27FC236}">
                  <a16:creationId xmlns:a16="http://schemas.microsoft.com/office/drawing/2014/main" id="{A2366F3B-BC0D-4730-B9CE-5B43302DEBEB}"/>
                </a:ext>
              </a:extLst>
            </p:cNvPr>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6052;p93">
              <a:extLst>
                <a:ext uri="{FF2B5EF4-FFF2-40B4-BE49-F238E27FC236}">
                  <a16:creationId xmlns:a16="http://schemas.microsoft.com/office/drawing/2014/main" id="{DA5C1F1B-766A-4143-835B-E4603A4B64DE}"/>
                </a:ext>
              </a:extLst>
            </p:cNvPr>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6053;p93">
              <a:extLst>
                <a:ext uri="{FF2B5EF4-FFF2-40B4-BE49-F238E27FC236}">
                  <a16:creationId xmlns:a16="http://schemas.microsoft.com/office/drawing/2014/main" id="{4DC62A7D-43C0-426C-B65B-D4666BFB8D8B}"/>
                </a:ext>
              </a:extLst>
            </p:cNvPr>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6054;p93">
              <a:extLst>
                <a:ext uri="{FF2B5EF4-FFF2-40B4-BE49-F238E27FC236}">
                  <a16:creationId xmlns:a16="http://schemas.microsoft.com/office/drawing/2014/main" id="{9B83B623-F1F2-4827-9ABD-62015AD3CCBE}"/>
                </a:ext>
              </a:extLst>
            </p:cNvPr>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6055;p93">
              <a:extLst>
                <a:ext uri="{FF2B5EF4-FFF2-40B4-BE49-F238E27FC236}">
                  <a16:creationId xmlns:a16="http://schemas.microsoft.com/office/drawing/2014/main" id="{A85A8B0B-AE2D-41DC-84B0-7F3D0EE03F31}"/>
                </a:ext>
              </a:extLst>
            </p:cNvPr>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67" name="Google Shape;6056;p93">
              <a:extLst>
                <a:ext uri="{FF2B5EF4-FFF2-40B4-BE49-F238E27FC236}">
                  <a16:creationId xmlns:a16="http://schemas.microsoft.com/office/drawing/2014/main" id="{3047F745-0B5F-476A-AF7F-7EA3B8DA567C}"/>
                </a:ext>
              </a:extLst>
            </p:cNvPr>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6057;p93">
              <a:extLst>
                <a:ext uri="{FF2B5EF4-FFF2-40B4-BE49-F238E27FC236}">
                  <a16:creationId xmlns:a16="http://schemas.microsoft.com/office/drawing/2014/main" id="{0B8A6F5E-6A57-4657-80DD-2C062B2FEAEE}"/>
                </a:ext>
              </a:extLst>
            </p:cNvPr>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6058;p93">
              <a:extLst>
                <a:ext uri="{FF2B5EF4-FFF2-40B4-BE49-F238E27FC236}">
                  <a16:creationId xmlns:a16="http://schemas.microsoft.com/office/drawing/2014/main" id="{08F50087-F283-4A48-9116-4FD30970DE08}"/>
                </a:ext>
              </a:extLst>
            </p:cNvPr>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6059;p93">
              <a:extLst>
                <a:ext uri="{FF2B5EF4-FFF2-40B4-BE49-F238E27FC236}">
                  <a16:creationId xmlns:a16="http://schemas.microsoft.com/office/drawing/2014/main" id="{29ADECC3-6DB5-4AEC-A010-A8BB60DC93C8}"/>
                </a:ext>
              </a:extLst>
            </p:cNvPr>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6060;p93">
              <a:extLst>
                <a:ext uri="{FF2B5EF4-FFF2-40B4-BE49-F238E27FC236}">
                  <a16:creationId xmlns:a16="http://schemas.microsoft.com/office/drawing/2014/main" id="{2C7EBFAD-1359-4540-89F7-CFF4B184E21B}"/>
                </a:ext>
              </a:extLst>
            </p:cNvPr>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6061;p93">
              <a:extLst>
                <a:ext uri="{FF2B5EF4-FFF2-40B4-BE49-F238E27FC236}">
                  <a16:creationId xmlns:a16="http://schemas.microsoft.com/office/drawing/2014/main" id="{DAE666C3-0B7D-43B1-A947-F83334B6CC8B}"/>
                </a:ext>
              </a:extLst>
            </p:cNvPr>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73" name="Google Shape;6062;p93">
              <a:extLst>
                <a:ext uri="{FF2B5EF4-FFF2-40B4-BE49-F238E27FC236}">
                  <a16:creationId xmlns:a16="http://schemas.microsoft.com/office/drawing/2014/main" id="{465B42F6-D30A-428B-88D9-386EF6D9906C}"/>
                </a:ext>
              </a:extLst>
            </p:cNvPr>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6063;p93">
              <a:extLst>
                <a:ext uri="{FF2B5EF4-FFF2-40B4-BE49-F238E27FC236}">
                  <a16:creationId xmlns:a16="http://schemas.microsoft.com/office/drawing/2014/main" id="{0DE7F1D4-F7F1-4530-AECE-E9B6CD5014B9}"/>
                </a:ext>
              </a:extLst>
            </p:cNvPr>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6064;p93">
              <a:extLst>
                <a:ext uri="{FF2B5EF4-FFF2-40B4-BE49-F238E27FC236}">
                  <a16:creationId xmlns:a16="http://schemas.microsoft.com/office/drawing/2014/main" id="{BE5F7407-3C3C-4265-A5EE-4A77097514F7}"/>
                </a:ext>
              </a:extLst>
            </p:cNvPr>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6065;p93">
              <a:extLst>
                <a:ext uri="{FF2B5EF4-FFF2-40B4-BE49-F238E27FC236}">
                  <a16:creationId xmlns:a16="http://schemas.microsoft.com/office/drawing/2014/main" id="{97F9BB3D-7094-4C0D-91B0-B40448CB28CC}"/>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6066;p93">
              <a:extLst>
                <a:ext uri="{FF2B5EF4-FFF2-40B4-BE49-F238E27FC236}">
                  <a16:creationId xmlns:a16="http://schemas.microsoft.com/office/drawing/2014/main" id="{D7AC0935-C9C7-4459-A378-8F5668926B08}"/>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6067;p93">
              <a:extLst>
                <a:ext uri="{FF2B5EF4-FFF2-40B4-BE49-F238E27FC236}">
                  <a16:creationId xmlns:a16="http://schemas.microsoft.com/office/drawing/2014/main" id="{CB7F2180-3B27-4700-9DF3-340A7E60B125}"/>
                </a:ext>
              </a:extLst>
            </p:cNvPr>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6068;p93">
              <a:extLst>
                <a:ext uri="{FF2B5EF4-FFF2-40B4-BE49-F238E27FC236}">
                  <a16:creationId xmlns:a16="http://schemas.microsoft.com/office/drawing/2014/main" id="{52452D6A-C3C6-4B6B-97F2-41B2235035F4}"/>
                </a:ext>
              </a:extLst>
            </p:cNvPr>
            <p:cNvSpPr/>
            <p:nvPr/>
          </p:nvSpPr>
          <p:spPr>
            <a:xfrm>
              <a:off x="4036853" y="2853608"/>
              <a:ext cx="1250" cy="1205"/>
            </a:xfrm>
            <a:custGeom>
              <a:avLst/>
              <a:gdLst/>
              <a:ahLst/>
              <a:cxnLst/>
              <a:rect l="l" t="t" r="r" b="b"/>
              <a:pathLst>
                <a:path w="105" h="106" fill="none" extrusionOk="0">
                  <a:moveTo>
                    <a:pt x="105" y="105"/>
                  </a:moveTo>
                  <a:lnTo>
                    <a:pt x="0" y="1"/>
                  </a:lnTo>
                </a:path>
              </a:pathLst>
            </a:custGeom>
            <a:ln>
              <a:headEnd type="none" w="sm" len="sm"/>
              <a:tailEnd type="none" w="sm" len="s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6069;p93">
              <a:extLst>
                <a:ext uri="{FF2B5EF4-FFF2-40B4-BE49-F238E27FC236}">
                  <a16:creationId xmlns:a16="http://schemas.microsoft.com/office/drawing/2014/main" id="{DFDF4247-8A4B-4735-BFE0-D5770EFD8D70}"/>
                </a:ext>
              </a:extLst>
            </p:cNvPr>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 name="Google Shape;6070;p93">
              <a:extLst>
                <a:ext uri="{FF2B5EF4-FFF2-40B4-BE49-F238E27FC236}">
                  <a16:creationId xmlns:a16="http://schemas.microsoft.com/office/drawing/2014/main" id="{1911854A-B731-4B8C-B8C7-A842887604F8}"/>
                </a:ext>
              </a:extLst>
            </p:cNvPr>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 name="Google Shape;6071;p93">
              <a:extLst>
                <a:ext uri="{FF2B5EF4-FFF2-40B4-BE49-F238E27FC236}">
                  <a16:creationId xmlns:a16="http://schemas.microsoft.com/office/drawing/2014/main" id="{AC4FA942-EF1B-4302-8144-D232F64602CC}"/>
                </a:ext>
              </a:extLst>
            </p:cNvPr>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11" name="Content Placeholder 10">
            <a:extLst>
              <a:ext uri="{FF2B5EF4-FFF2-40B4-BE49-F238E27FC236}">
                <a16:creationId xmlns:a16="http://schemas.microsoft.com/office/drawing/2014/main" id="{64AD906B-C9AA-4CE5-B8C7-EA83161D6126}"/>
              </a:ext>
            </a:extLst>
          </p:cNvPr>
          <p:cNvGraphicFramePr>
            <a:graphicFrameLocks noGrp="1"/>
          </p:cNvGraphicFramePr>
          <p:nvPr>
            <p:ph idx="1"/>
            <p:extLst>
              <p:ext uri="{D42A27DB-BD31-4B8C-83A1-F6EECF244321}">
                <p14:modId xmlns:p14="http://schemas.microsoft.com/office/powerpoint/2010/main" val="3907566934"/>
              </p:ext>
            </p:extLst>
          </p:nvPr>
        </p:nvGraphicFramePr>
        <p:xfrm>
          <a:off x="1141413" y="2249488"/>
          <a:ext cx="9906000" cy="3541712"/>
        </p:xfrm>
        <a:graphic>
          <a:graphicData uri="http://schemas.openxmlformats.org/drawingml/2006/chart">
            <c:chart xmlns:c="http://schemas.openxmlformats.org/drawingml/2006/chart" xmlns:r="http://schemas.openxmlformats.org/officeDocument/2006/relationships" r:id="rId2"/>
          </a:graphicData>
        </a:graphic>
      </p:graphicFrame>
      <p:sp>
        <p:nvSpPr>
          <p:cNvPr id="14" name="Google Shape;11;p2">
            <a:extLst>
              <a:ext uri="{FF2B5EF4-FFF2-40B4-BE49-F238E27FC236}">
                <a16:creationId xmlns:a16="http://schemas.microsoft.com/office/drawing/2014/main" id="{8E0D89D9-AFEF-40BE-B5EE-946B65F37298}"/>
              </a:ext>
            </a:extLst>
          </p:cNvPr>
          <p:cNvSpPr/>
          <p:nvPr/>
        </p:nvSpPr>
        <p:spPr>
          <a:xfrm rot="1074665" flipH="1">
            <a:off x="5104928" y="-993910"/>
            <a:ext cx="3493975" cy="4013859"/>
          </a:xfrm>
          <a:prstGeom prst="lightningBolt">
            <a:avLst/>
          </a:prstGeom>
          <a:ln/>
          <a:effectLst>
            <a:glow rad="660400">
              <a:schemeClr val="accent1">
                <a:alpha val="40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Title 6">
            <a:extLst>
              <a:ext uri="{FF2B5EF4-FFF2-40B4-BE49-F238E27FC236}">
                <a16:creationId xmlns:a16="http://schemas.microsoft.com/office/drawing/2014/main" id="{C87A06D3-7BC5-40B0-984A-4369A006BF33}"/>
              </a:ext>
            </a:extLst>
          </p:cNvPr>
          <p:cNvSpPr>
            <a:spLocks noGrp="1"/>
          </p:cNvSpPr>
          <p:nvPr>
            <p:ph type="title"/>
          </p:nvPr>
        </p:nvSpPr>
        <p:spPr>
          <a:effectLst>
            <a:glow>
              <a:schemeClr val="accent1">
                <a:alpha val="40000"/>
              </a:schemeClr>
            </a:glow>
          </a:effectLst>
        </p:spPr>
        <p:txBody>
          <a:bodyPr/>
          <a:lstStyle/>
          <a:p>
            <a:r>
              <a:rPr lang="en-US" dirty="0">
                <a:solidFill>
                  <a:srgbClr val="F7743C"/>
                </a:solidFill>
                <a:latin typeface="Saira SemiCondensed ExtraBold" panose="00000906000000000000" pitchFamily="2" charset="0"/>
              </a:rPr>
              <a:t>Gaming industry rise</a:t>
            </a:r>
          </a:p>
        </p:txBody>
      </p:sp>
      <p:sp>
        <p:nvSpPr>
          <p:cNvPr id="15" name="Arrow: Down 14">
            <a:extLst>
              <a:ext uri="{FF2B5EF4-FFF2-40B4-BE49-F238E27FC236}">
                <a16:creationId xmlns:a16="http://schemas.microsoft.com/office/drawing/2014/main" id="{762C02F2-6A36-4C2E-AEFE-46139FA65F45}"/>
              </a:ext>
            </a:extLst>
          </p:cNvPr>
          <p:cNvSpPr/>
          <p:nvPr/>
        </p:nvSpPr>
        <p:spPr>
          <a:xfrm>
            <a:off x="8646816" y="2695631"/>
            <a:ext cx="484632" cy="9784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A4787E9-2849-4170-8FC0-1CD684ABE23B}"/>
              </a:ext>
            </a:extLst>
          </p:cNvPr>
          <p:cNvSpPr/>
          <p:nvPr/>
        </p:nvSpPr>
        <p:spPr>
          <a:xfrm>
            <a:off x="7998246" y="2429210"/>
            <a:ext cx="1781770" cy="338554"/>
          </a:xfrm>
          <a:prstGeom prst="rect">
            <a:avLst/>
          </a:prstGeom>
          <a:noFill/>
        </p:spPr>
        <p:txBody>
          <a:bodyPr wrap="non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rPr>
              <a:t>Milestone Pandemic</a:t>
            </a:r>
          </a:p>
        </p:txBody>
      </p:sp>
      <p:sp>
        <p:nvSpPr>
          <p:cNvPr id="17" name="Google Shape;1373;p56">
            <a:extLst>
              <a:ext uri="{FF2B5EF4-FFF2-40B4-BE49-F238E27FC236}">
                <a16:creationId xmlns:a16="http://schemas.microsoft.com/office/drawing/2014/main" id="{329D5D16-6AD1-4A87-A74F-54E969A4C158}"/>
              </a:ext>
            </a:extLst>
          </p:cNvPr>
          <p:cNvSpPr/>
          <p:nvPr/>
        </p:nvSpPr>
        <p:spPr>
          <a:xfrm>
            <a:off x="9360932" y="154742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374;p56">
            <a:extLst>
              <a:ext uri="{FF2B5EF4-FFF2-40B4-BE49-F238E27FC236}">
                <a16:creationId xmlns:a16="http://schemas.microsoft.com/office/drawing/2014/main" id="{9AF8A649-742E-4168-A31F-0479AB33CFB8}"/>
              </a:ext>
            </a:extLst>
          </p:cNvPr>
          <p:cNvSpPr/>
          <p:nvPr/>
        </p:nvSpPr>
        <p:spPr>
          <a:xfrm>
            <a:off x="10857811" y="395992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375;p56">
            <a:extLst>
              <a:ext uri="{FF2B5EF4-FFF2-40B4-BE49-F238E27FC236}">
                <a16:creationId xmlns:a16="http://schemas.microsoft.com/office/drawing/2014/main" id="{85DC78EA-9EBB-4514-BD86-9E6A9A943054}"/>
              </a:ext>
            </a:extLst>
          </p:cNvPr>
          <p:cNvSpPr/>
          <p:nvPr/>
        </p:nvSpPr>
        <p:spPr>
          <a:xfrm>
            <a:off x="2106653" y="330261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1375;p56">
            <a:extLst>
              <a:ext uri="{FF2B5EF4-FFF2-40B4-BE49-F238E27FC236}">
                <a16:creationId xmlns:a16="http://schemas.microsoft.com/office/drawing/2014/main" id="{8F60EBF6-9F70-421A-AD29-1B15623DF850}"/>
              </a:ext>
            </a:extLst>
          </p:cNvPr>
          <p:cNvSpPr/>
          <p:nvPr/>
        </p:nvSpPr>
        <p:spPr>
          <a:xfrm>
            <a:off x="4248099" y="3713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24" name="Group 23">
            <a:extLst>
              <a:ext uri="{FF2B5EF4-FFF2-40B4-BE49-F238E27FC236}">
                <a16:creationId xmlns:a16="http://schemas.microsoft.com/office/drawing/2014/main" id="{E7190B29-F71A-41F7-BE59-BB7B4A6C42BA}"/>
              </a:ext>
            </a:extLst>
          </p:cNvPr>
          <p:cNvGrpSpPr/>
          <p:nvPr/>
        </p:nvGrpSpPr>
        <p:grpSpPr>
          <a:xfrm>
            <a:off x="10645929" y="1434253"/>
            <a:ext cx="802964" cy="667914"/>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25" name="Group 24">
              <a:extLst>
                <a:ext uri="{FF2B5EF4-FFF2-40B4-BE49-F238E27FC236}">
                  <a16:creationId xmlns:a16="http://schemas.microsoft.com/office/drawing/2014/main" id="{C1A0E5B0-6401-4BE5-BA85-1D79FCE42CF7}"/>
                </a:ext>
              </a:extLst>
            </p:cNvPr>
            <p:cNvGrpSpPr/>
            <p:nvPr/>
          </p:nvGrpSpPr>
          <p:grpSpPr>
            <a:xfrm>
              <a:off x="5241585" y="4198069"/>
              <a:ext cx="411449" cy="357382"/>
              <a:chOff x="5241585" y="4198069"/>
              <a:chExt cx="411449" cy="357382"/>
            </a:xfrm>
          </p:grpSpPr>
          <p:sp>
            <p:nvSpPr>
              <p:cNvPr id="27" name="Google Shape;658;p48">
                <a:extLst>
                  <a:ext uri="{FF2B5EF4-FFF2-40B4-BE49-F238E27FC236}">
                    <a16:creationId xmlns:a16="http://schemas.microsoft.com/office/drawing/2014/main" id="{38640CF8-6A66-414F-9B6A-3DC8B494AB2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59;p48">
                <a:extLst>
                  <a:ext uri="{FF2B5EF4-FFF2-40B4-BE49-F238E27FC236}">
                    <a16:creationId xmlns:a16="http://schemas.microsoft.com/office/drawing/2014/main" id="{ED3EDF64-0398-40F5-9A85-4407D255FEC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60;p48">
                <a:extLst>
                  <a:ext uri="{FF2B5EF4-FFF2-40B4-BE49-F238E27FC236}">
                    <a16:creationId xmlns:a16="http://schemas.microsoft.com/office/drawing/2014/main" id="{9D6E0010-5CB2-4770-93A0-E72E693F977B}"/>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Google Shape;661;p48">
              <a:extLst>
                <a:ext uri="{FF2B5EF4-FFF2-40B4-BE49-F238E27FC236}">
                  <a16:creationId xmlns:a16="http://schemas.microsoft.com/office/drawing/2014/main" id="{842495D0-A1C9-42FD-AC58-18DA7820FB5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3271910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arcadepic - Black Nerd Problems">
            <a:extLst>
              <a:ext uri="{FF2B5EF4-FFF2-40B4-BE49-F238E27FC236}">
                <a16:creationId xmlns:a16="http://schemas.microsoft.com/office/drawing/2014/main" id="{616395B6-D198-4C66-8B5F-5C51E0723633}"/>
              </a:ext>
            </a:extLst>
          </p:cNvPr>
          <p:cNvPicPr>
            <a:picLocks noChangeAspect="1" noChangeArrowheads="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0"/>
            <a:ext cx="6079873" cy="34199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apcom Arcade Stadium Packs 1, 2, and 3 – Mini-Album Bundle στο Steam">
            <a:extLst>
              <a:ext uri="{FF2B5EF4-FFF2-40B4-BE49-F238E27FC236}">
                <a16:creationId xmlns:a16="http://schemas.microsoft.com/office/drawing/2014/main" id="{0B71B81D-36AC-452A-B880-4BC47AE4A04D}"/>
              </a:ext>
            </a:extLst>
          </p:cNvPr>
          <p:cNvPicPr>
            <a:picLocks noChangeAspect="1" noChangeArrowheads="1"/>
          </p:cNvPicPr>
          <p:nvPr/>
        </p:nvPicPr>
        <p:blipFill>
          <a:blip r:embed="rId4">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3419929"/>
            <a:ext cx="6181473" cy="3477079"/>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a:extLst>
              <a:ext uri="{FF2B5EF4-FFF2-40B4-BE49-F238E27FC236}">
                <a16:creationId xmlns:a16="http://schemas.microsoft.com/office/drawing/2014/main" id="{ADA18B43-8F98-44A1-AC80-DD5B03DA3BF1}"/>
              </a:ext>
            </a:extLst>
          </p:cNvPr>
          <p:cNvSpPr txBox="1">
            <a:spLocks/>
          </p:cNvSpPr>
          <p:nvPr/>
        </p:nvSpPr>
        <p:spPr>
          <a:xfrm>
            <a:off x="1037848" y="1482078"/>
            <a:ext cx="4956552" cy="2581921"/>
          </a:xfrm>
          <a:prstGeom prst="rect">
            <a:avLst/>
          </a:prstGeom>
        </p:spPr>
        <p:txBody>
          <a:bodyPr>
            <a:norm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400" dirty="0">
                <a:latin typeface="Saira SemiCondensed ExtraBold" panose="00000906000000000000" pitchFamily="2" charset="0"/>
                <a:cs typeface="Sora" pitchFamily="2" charset="0"/>
              </a:rPr>
              <a:t>Metaverse concept implicitly began late 70’s.</a:t>
            </a:r>
          </a:p>
          <a:p>
            <a:endParaRPr lang="en-US" sz="2400" dirty="0">
              <a:latin typeface="Saira SemiCondensed ExtraBold" panose="00000906000000000000" pitchFamily="2" charset="0"/>
              <a:cs typeface="Sora" pitchFamily="2" charset="0"/>
            </a:endParaRPr>
          </a:p>
          <a:p>
            <a:r>
              <a:rPr lang="en-US" sz="2400" dirty="0">
                <a:latin typeface="Saira SemiCondensed ExtraBold" panose="00000906000000000000" pitchFamily="2" charset="0"/>
              </a:rPr>
              <a:t>a place to gather people  &amp; interactivity</a:t>
            </a:r>
          </a:p>
          <a:p>
            <a:endParaRPr lang="en-US" sz="2400" dirty="0">
              <a:latin typeface="Saira SemiCondensed ExtraBold" panose="00000906000000000000" pitchFamily="2" charset="0"/>
            </a:endParaRPr>
          </a:p>
          <a:p>
            <a:r>
              <a:rPr lang="en-US" sz="2400" dirty="0">
                <a:latin typeface="Saira SemiCondensed ExtraBold" panose="00000906000000000000" pitchFamily="2" charset="0"/>
              </a:rPr>
              <a:t>To share common interests</a:t>
            </a:r>
          </a:p>
          <a:p>
            <a:endParaRPr lang="en-US" sz="2400" dirty="0">
              <a:latin typeface="Saira SemiCondensed ExtraBold" panose="00000906000000000000" pitchFamily="2" charset="0"/>
              <a:cs typeface="Sora" pitchFamily="2" charset="0"/>
            </a:endParaRPr>
          </a:p>
        </p:txBody>
      </p:sp>
      <p:sp>
        <p:nvSpPr>
          <p:cNvPr id="15" name="Google Shape;1296;p55">
            <a:extLst>
              <a:ext uri="{FF2B5EF4-FFF2-40B4-BE49-F238E27FC236}">
                <a16:creationId xmlns:a16="http://schemas.microsoft.com/office/drawing/2014/main" id="{DE37D491-C29D-4670-8453-312937826855}"/>
              </a:ext>
            </a:extLst>
          </p:cNvPr>
          <p:cNvSpPr/>
          <p:nvPr/>
        </p:nvSpPr>
        <p:spPr>
          <a:xfrm flipH="1">
            <a:off x="6096000"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BBFE39A8-2EAC-4742-8FBC-C3F384667CB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521047F8-6704-475B-8061-1A33F850112A}"/>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CD48A59-73EA-4F98-BCD4-DEDEBBCA0E15}"/>
              </a:ext>
            </a:extLst>
          </p:cNvPr>
          <p:cNvGrpSpPr/>
          <p:nvPr/>
        </p:nvGrpSpPr>
        <p:grpSpPr>
          <a:xfrm>
            <a:off x="2328542" y="4823789"/>
            <a:ext cx="1187582" cy="1104265"/>
            <a:chOff x="9379963" y="4497336"/>
            <a:chExt cx="1187582" cy="1104265"/>
          </a:xfrm>
        </p:grpSpPr>
        <p:grpSp>
          <p:nvGrpSpPr>
            <p:cNvPr id="19" name="Google Shape;802;p51">
              <a:extLst>
                <a:ext uri="{FF2B5EF4-FFF2-40B4-BE49-F238E27FC236}">
                  <a16:creationId xmlns:a16="http://schemas.microsoft.com/office/drawing/2014/main" id="{53D4EF21-CBAD-4B93-90CD-8A52A27E245B}"/>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6" name="Google Shape;803;p51">
                <a:extLst>
                  <a:ext uri="{FF2B5EF4-FFF2-40B4-BE49-F238E27FC236}">
                    <a16:creationId xmlns:a16="http://schemas.microsoft.com/office/drawing/2014/main" id="{63A6A9FD-8FCE-42CD-92A2-8457ED49C32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4;p51">
                <a:extLst>
                  <a:ext uri="{FF2B5EF4-FFF2-40B4-BE49-F238E27FC236}">
                    <a16:creationId xmlns:a16="http://schemas.microsoft.com/office/drawing/2014/main" id="{76D6F3C0-A5DB-4549-AE40-1783FCEA47BE}"/>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5;p51">
                <a:extLst>
                  <a:ext uri="{FF2B5EF4-FFF2-40B4-BE49-F238E27FC236}">
                    <a16:creationId xmlns:a16="http://schemas.microsoft.com/office/drawing/2014/main" id="{5B97641E-6EAB-4E78-980C-31582D677E0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6;p51">
                <a:extLst>
                  <a:ext uri="{FF2B5EF4-FFF2-40B4-BE49-F238E27FC236}">
                    <a16:creationId xmlns:a16="http://schemas.microsoft.com/office/drawing/2014/main" id="{0D5B2A83-F70F-4CBD-B3FC-2C524FBF887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7;p51">
                <a:extLst>
                  <a:ext uri="{FF2B5EF4-FFF2-40B4-BE49-F238E27FC236}">
                    <a16:creationId xmlns:a16="http://schemas.microsoft.com/office/drawing/2014/main" id="{5C2346A4-71BD-4699-9A3B-CC4473C0AD49}"/>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8;p51">
                <a:extLst>
                  <a:ext uri="{FF2B5EF4-FFF2-40B4-BE49-F238E27FC236}">
                    <a16:creationId xmlns:a16="http://schemas.microsoft.com/office/drawing/2014/main" id="{171C4413-1BEF-4DE8-BEC7-59335C5FD577}"/>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9;p51">
                <a:extLst>
                  <a:ext uri="{FF2B5EF4-FFF2-40B4-BE49-F238E27FC236}">
                    <a16:creationId xmlns:a16="http://schemas.microsoft.com/office/drawing/2014/main" id="{9B38BA46-B793-40C6-8B5E-E5CAF5EC269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0;p51">
                <a:extLst>
                  <a:ext uri="{FF2B5EF4-FFF2-40B4-BE49-F238E27FC236}">
                    <a16:creationId xmlns:a16="http://schemas.microsoft.com/office/drawing/2014/main" id="{9B73E437-C2F5-45DD-88CD-9E63AFA0D21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1;p51">
                <a:extLst>
                  <a:ext uri="{FF2B5EF4-FFF2-40B4-BE49-F238E27FC236}">
                    <a16:creationId xmlns:a16="http://schemas.microsoft.com/office/drawing/2014/main" id="{E76982F3-B159-41FF-AE50-498992FC7DB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2;p51">
                <a:extLst>
                  <a:ext uri="{FF2B5EF4-FFF2-40B4-BE49-F238E27FC236}">
                    <a16:creationId xmlns:a16="http://schemas.microsoft.com/office/drawing/2014/main" id="{F54C5ECA-9ECB-4C3A-82B5-A3E2A4DE2FE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3;p51">
                <a:extLst>
                  <a:ext uri="{FF2B5EF4-FFF2-40B4-BE49-F238E27FC236}">
                    <a16:creationId xmlns:a16="http://schemas.microsoft.com/office/drawing/2014/main" id="{7BD8EC8C-37CA-4125-A535-082858FD10AA}"/>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4;p51">
                <a:extLst>
                  <a:ext uri="{FF2B5EF4-FFF2-40B4-BE49-F238E27FC236}">
                    <a16:creationId xmlns:a16="http://schemas.microsoft.com/office/drawing/2014/main" id="{DB9F6CFB-15D4-406F-BAF6-2DD47372B71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5;p51">
                <a:extLst>
                  <a:ext uri="{FF2B5EF4-FFF2-40B4-BE49-F238E27FC236}">
                    <a16:creationId xmlns:a16="http://schemas.microsoft.com/office/drawing/2014/main" id="{6876EDA2-7051-4FDB-9862-ED68D77D4437}"/>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6;p51">
                <a:extLst>
                  <a:ext uri="{FF2B5EF4-FFF2-40B4-BE49-F238E27FC236}">
                    <a16:creationId xmlns:a16="http://schemas.microsoft.com/office/drawing/2014/main" id="{37BD0DD1-9C42-4B0B-A4DD-34F89AF3C7A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7;p51">
                <a:extLst>
                  <a:ext uri="{FF2B5EF4-FFF2-40B4-BE49-F238E27FC236}">
                    <a16:creationId xmlns:a16="http://schemas.microsoft.com/office/drawing/2014/main" id="{1DF3616C-2CEA-4B16-B66C-FF5AAA3FD9C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8;p51">
                <a:extLst>
                  <a:ext uri="{FF2B5EF4-FFF2-40B4-BE49-F238E27FC236}">
                    <a16:creationId xmlns:a16="http://schemas.microsoft.com/office/drawing/2014/main" id="{46339220-5831-4528-93B2-0265802787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9;p51">
                <a:extLst>
                  <a:ext uri="{FF2B5EF4-FFF2-40B4-BE49-F238E27FC236}">
                    <a16:creationId xmlns:a16="http://schemas.microsoft.com/office/drawing/2014/main" id="{D958002B-DF4F-462F-AF5B-2E3212E204FA}"/>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0;p51">
                <a:extLst>
                  <a:ext uri="{FF2B5EF4-FFF2-40B4-BE49-F238E27FC236}">
                    <a16:creationId xmlns:a16="http://schemas.microsoft.com/office/drawing/2014/main" id="{3A7B42CD-9297-4AAC-85B6-36963D13DF8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1;p51">
                <a:extLst>
                  <a:ext uri="{FF2B5EF4-FFF2-40B4-BE49-F238E27FC236}">
                    <a16:creationId xmlns:a16="http://schemas.microsoft.com/office/drawing/2014/main" id="{E36482B0-66F3-44DE-8B7E-0298EF743B93}"/>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2;p51">
                <a:extLst>
                  <a:ext uri="{FF2B5EF4-FFF2-40B4-BE49-F238E27FC236}">
                    <a16:creationId xmlns:a16="http://schemas.microsoft.com/office/drawing/2014/main" id="{CC904087-F001-42FA-B4DA-F3ECE196471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3;p51">
                <a:extLst>
                  <a:ext uri="{FF2B5EF4-FFF2-40B4-BE49-F238E27FC236}">
                    <a16:creationId xmlns:a16="http://schemas.microsoft.com/office/drawing/2014/main" id="{74D26488-093D-47A8-BE59-A9FF657C566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4;p51">
                <a:extLst>
                  <a:ext uri="{FF2B5EF4-FFF2-40B4-BE49-F238E27FC236}">
                    <a16:creationId xmlns:a16="http://schemas.microsoft.com/office/drawing/2014/main" id="{50AB1CEF-321A-45C5-BE2B-FA835295350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5;p51">
                <a:extLst>
                  <a:ext uri="{FF2B5EF4-FFF2-40B4-BE49-F238E27FC236}">
                    <a16:creationId xmlns:a16="http://schemas.microsoft.com/office/drawing/2014/main" id="{44EA7518-356B-446D-B19D-7B1936D62C0F}"/>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6;p51">
                <a:extLst>
                  <a:ext uri="{FF2B5EF4-FFF2-40B4-BE49-F238E27FC236}">
                    <a16:creationId xmlns:a16="http://schemas.microsoft.com/office/drawing/2014/main" id="{A45C8780-D867-4351-A721-38170650C00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7;p51">
                <a:extLst>
                  <a:ext uri="{FF2B5EF4-FFF2-40B4-BE49-F238E27FC236}">
                    <a16:creationId xmlns:a16="http://schemas.microsoft.com/office/drawing/2014/main" id="{302C5749-7FFD-4AC3-84D6-67CCC3CAA888}"/>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0" name="Group 19">
              <a:extLst>
                <a:ext uri="{FF2B5EF4-FFF2-40B4-BE49-F238E27FC236}">
                  <a16:creationId xmlns:a16="http://schemas.microsoft.com/office/drawing/2014/main" id="{E1290FA6-43CE-49BB-B289-EFB5EAED4A52}"/>
                </a:ext>
              </a:extLst>
            </p:cNvPr>
            <p:cNvGrpSpPr/>
            <p:nvPr/>
          </p:nvGrpSpPr>
          <p:grpSpPr>
            <a:xfrm>
              <a:off x="9459173" y="4651735"/>
              <a:ext cx="965465" cy="814701"/>
              <a:chOff x="2122052" y="4430998"/>
              <a:chExt cx="516998" cy="436265"/>
            </a:xfrm>
          </p:grpSpPr>
          <p:sp>
            <p:nvSpPr>
              <p:cNvPr id="21" name="Google Shape;663;p48">
                <a:extLst>
                  <a:ext uri="{FF2B5EF4-FFF2-40B4-BE49-F238E27FC236}">
                    <a16:creationId xmlns:a16="http://schemas.microsoft.com/office/drawing/2014/main" id="{F64355C2-2E82-48EC-8289-893CAC6BD0F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149D74AF-1B36-408D-B571-90DBAF83F2BC}"/>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FC18753D-C3C4-42C6-BEE8-1DBCA3E7C3E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C480D836-5D2F-4E7E-8DED-3A3047578A5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41CE0E68-BB63-4A0E-922B-9DB254700A4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9AAD1A48-47DD-4F27-9F99-78B2BD528C42}"/>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624D1B86-FD93-4E2E-B4E3-80E6F3FD46E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55BD2C59-FB44-4065-87FE-F41C015DC64A}"/>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C87E558-AC73-406D-8070-C2E9150922A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E98927EC-B5A4-4646-876E-7230AF732E2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3B2810EF-1E3C-4C89-9FA7-8A147E17E69E}"/>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16784570-7B8C-4E69-BFB9-0F37775145B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20AFF322-D81A-4FD8-8424-2ED6A47AC85D}"/>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72439A3D-CB3E-4B86-9E02-0ED35F8271C5}"/>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8A53925C-F65B-442F-91B8-6D467DF1414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4F77AD5B-B933-4257-BA13-7FD3B85FA7C9}"/>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02A2C035-E71A-415D-B84F-046A3DFA436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90ADBB1A-F98F-411E-ADA5-B72CDAF11BA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E2A0FF8-1930-461B-9335-0DA2F04C499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34304DB-7DA6-4FD8-AD8F-F94C8BE4E31F}"/>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EFC22CE3-BF68-4CCE-B418-1289C8FFAEF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159B907D-3FCF-40BF-972D-7C05EFDEFD8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EF5285D8-3600-4C95-8047-176702203451}"/>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7380708B-A46A-41D2-981F-F9F4B14E0624}"/>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BE2BC8D0-5EB2-42B1-A60F-FFB94692E6C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1" name="Google Shape;1373;p56">
            <a:extLst>
              <a:ext uri="{FF2B5EF4-FFF2-40B4-BE49-F238E27FC236}">
                <a16:creationId xmlns:a16="http://schemas.microsoft.com/office/drawing/2014/main" id="{094210EA-E9F7-4364-BCA3-A5B896A37128}"/>
              </a:ext>
            </a:extLst>
          </p:cNvPr>
          <p:cNvSpPr/>
          <p:nvPr/>
        </p:nvSpPr>
        <p:spPr>
          <a:xfrm>
            <a:off x="11641574" y="21541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374;p56">
            <a:extLst>
              <a:ext uri="{FF2B5EF4-FFF2-40B4-BE49-F238E27FC236}">
                <a16:creationId xmlns:a16="http://schemas.microsoft.com/office/drawing/2014/main" id="{113285BA-F617-4648-99CF-DECF8A81E03F}"/>
              </a:ext>
            </a:extLst>
          </p:cNvPr>
          <p:cNvSpPr/>
          <p:nvPr/>
        </p:nvSpPr>
        <p:spPr>
          <a:xfrm>
            <a:off x="7330419" y="23437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375;p56">
            <a:extLst>
              <a:ext uri="{FF2B5EF4-FFF2-40B4-BE49-F238E27FC236}">
                <a16:creationId xmlns:a16="http://schemas.microsoft.com/office/drawing/2014/main" id="{D0B3259A-4739-4192-B276-6C60E57B69EE}"/>
              </a:ext>
            </a:extLst>
          </p:cNvPr>
          <p:cNvSpPr/>
          <p:nvPr/>
        </p:nvSpPr>
        <p:spPr>
          <a:xfrm>
            <a:off x="2308194" y="32123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1375;p56">
            <a:extLst>
              <a:ext uri="{FF2B5EF4-FFF2-40B4-BE49-F238E27FC236}">
                <a16:creationId xmlns:a16="http://schemas.microsoft.com/office/drawing/2014/main" id="{C71481EF-BDD0-49F3-8282-38B7383EA604}"/>
              </a:ext>
            </a:extLst>
          </p:cNvPr>
          <p:cNvSpPr/>
          <p:nvPr/>
        </p:nvSpPr>
        <p:spPr>
          <a:xfrm>
            <a:off x="4449640" y="28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5" name="Google Shape;1373;p56">
            <a:extLst>
              <a:ext uri="{FF2B5EF4-FFF2-40B4-BE49-F238E27FC236}">
                <a16:creationId xmlns:a16="http://schemas.microsoft.com/office/drawing/2014/main" id="{A428F0C8-A20A-4159-86AD-A4E796B53C7B}"/>
              </a:ext>
            </a:extLst>
          </p:cNvPr>
          <p:cNvSpPr/>
          <p:nvPr/>
        </p:nvSpPr>
        <p:spPr>
          <a:xfrm>
            <a:off x="6840087" y="38743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375;p56">
            <a:extLst>
              <a:ext uri="{FF2B5EF4-FFF2-40B4-BE49-F238E27FC236}">
                <a16:creationId xmlns:a16="http://schemas.microsoft.com/office/drawing/2014/main" id="{24DDF27B-AC3C-4FA9-894D-9AB607D4FAE7}"/>
              </a:ext>
            </a:extLst>
          </p:cNvPr>
          <p:cNvSpPr/>
          <p:nvPr/>
        </p:nvSpPr>
        <p:spPr>
          <a:xfrm>
            <a:off x="5535131" y="581638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77" name="Group 76">
            <a:extLst>
              <a:ext uri="{FF2B5EF4-FFF2-40B4-BE49-F238E27FC236}">
                <a16:creationId xmlns:a16="http://schemas.microsoft.com/office/drawing/2014/main" id="{558C4B3D-5407-472B-A6FA-094CA6D94879}"/>
              </a:ext>
            </a:extLst>
          </p:cNvPr>
          <p:cNvGrpSpPr/>
          <p:nvPr/>
        </p:nvGrpSpPr>
        <p:grpSpPr>
          <a:xfrm rot="5115502">
            <a:off x="4451499" y="4583630"/>
            <a:ext cx="857311" cy="71312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8" name="Group 77">
              <a:extLst>
                <a:ext uri="{FF2B5EF4-FFF2-40B4-BE49-F238E27FC236}">
                  <a16:creationId xmlns:a16="http://schemas.microsoft.com/office/drawing/2014/main" id="{D60B8923-5FF5-4788-B049-2B01DBEDD6F8}"/>
                </a:ext>
              </a:extLst>
            </p:cNvPr>
            <p:cNvGrpSpPr/>
            <p:nvPr/>
          </p:nvGrpSpPr>
          <p:grpSpPr>
            <a:xfrm>
              <a:off x="5241585" y="4198069"/>
              <a:ext cx="411449" cy="357382"/>
              <a:chOff x="5241585" y="4198069"/>
              <a:chExt cx="411449" cy="357382"/>
            </a:xfrm>
          </p:grpSpPr>
          <p:sp>
            <p:nvSpPr>
              <p:cNvPr id="80" name="Google Shape;658;p48">
                <a:extLst>
                  <a:ext uri="{FF2B5EF4-FFF2-40B4-BE49-F238E27FC236}">
                    <a16:creationId xmlns:a16="http://schemas.microsoft.com/office/drawing/2014/main" id="{04F277CD-00B6-4406-A3E4-789157289088}"/>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659;p48">
                <a:extLst>
                  <a:ext uri="{FF2B5EF4-FFF2-40B4-BE49-F238E27FC236}">
                    <a16:creationId xmlns:a16="http://schemas.microsoft.com/office/drawing/2014/main" id="{C819AEF9-6FEB-4CFF-9219-4BC2EDFFFA0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2" name="Google Shape;660;p48">
                <a:extLst>
                  <a:ext uri="{FF2B5EF4-FFF2-40B4-BE49-F238E27FC236}">
                    <a16:creationId xmlns:a16="http://schemas.microsoft.com/office/drawing/2014/main" id="{953C351D-82DC-426D-A8DD-A2ED6E0704C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9" name="Google Shape;661;p48">
              <a:extLst>
                <a:ext uri="{FF2B5EF4-FFF2-40B4-BE49-F238E27FC236}">
                  <a16:creationId xmlns:a16="http://schemas.microsoft.com/office/drawing/2014/main" id="{7068C8BD-BCF9-4481-998F-BF2EF5BC7121}"/>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6850606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5" name="Google Shape;12;p2">
            <a:extLst>
              <a:ext uri="{FF2B5EF4-FFF2-40B4-BE49-F238E27FC236}">
                <a16:creationId xmlns:a16="http://schemas.microsoft.com/office/drawing/2014/main" id="{1A06647C-1C5A-4E0F-971D-BC7E48967C53}"/>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dirty="0">
                <a:solidFill>
                  <a:srgbClr val="F7743C"/>
                </a:solidFill>
                <a:latin typeface="Saira SemiCondensed ExtraBold" panose="00000906000000000000" pitchFamily="2" charset="0"/>
              </a:rPr>
              <a:t>Flow of gaming/Simulation evolution (1)</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Arcade</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18203" b="18203"/>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normAutofit/>
          </a:bodyPr>
          <a:lstStyle/>
          <a:p>
            <a:r>
              <a:rPr lang="en-US" dirty="0">
                <a:latin typeface="Sora" pitchFamily="2" charset="0"/>
                <a:cs typeface="Sora" pitchFamily="2" charset="0"/>
              </a:rPr>
              <a:t>Entertainment</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Consol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t="7631" b="7631"/>
          <a:stretch>
            <a:fillRect/>
          </a:stretch>
        </p:blipFill>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Entertainment</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obil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7607" b="7607"/>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a:xfrm>
            <a:off x="7852441" y="4980854"/>
            <a:ext cx="3198145" cy="810345"/>
          </a:xfrm>
        </p:spPr>
        <p:txBody>
          <a:bodyPr>
            <a:normAutofit/>
          </a:bodyPr>
          <a:lstStyle/>
          <a:p>
            <a:r>
              <a:rPr lang="en-US" sz="1200" dirty="0">
                <a:latin typeface="Sora" pitchFamily="2" charset="0"/>
                <a:cs typeface="Sora" pitchFamily="2" charset="0"/>
              </a:rPr>
              <a:t>2D/3D gaming on a 2D screen to </a:t>
            </a:r>
            <a:r>
              <a:rPr lang="en-US" sz="1200" dirty="0">
                <a:solidFill>
                  <a:srgbClr val="448B91"/>
                </a:solidFill>
                <a:latin typeface="Sora" pitchFamily="2" charset="0"/>
                <a:cs typeface="Sora" pitchFamily="2" charset="0"/>
              </a:rPr>
              <a:t>AR</a:t>
            </a:r>
            <a:r>
              <a:rPr lang="en-US" sz="1200" dirty="0">
                <a:latin typeface="Sora" pitchFamily="2" charset="0"/>
                <a:cs typeface="Sora" pitchFamily="2" charset="0"/>
              </a:rPr>
              <a:t> + Online social life by reading data</a:t>
            </a:r>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s://www.flickr.com/photos/40168038@N08/36005328171"/>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7A2A5D18-85D3-4213-9579-8CEB30F67045}"/>
              </a:ext>
            </a:extLst>
          </p:cNvPr>
          <p:cNvSpPr/>
          <p:nvPr/>
        </p:nvSpPr>
        <p:spPr>
          <a:xfrm>
            <a:off x="8888027" y="177458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A7357E85-73E6-4DC7-8822-4440A9A1CD2B}"/>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netivist.org/debate/pokemon-go-pros-and-cons"/>
              </a:rPr>
              <a:t>This Photo</a:t>
            </a:r>
            <a:r>
              <a:rPr lang="en-US" sz="900"/>
              <a:t> by Unknown Author is licensed under </a:t>
            </a:r>
            <a:r>
              <a:rPr lang="en-US" sz="900">
                <a:hlinkClick r:id="rId8" tooltip="https://creativecommons.org/licenses/by-nc-sa/3.0/"/>
              </a:rPr>
              <a:t>CC BY-SA-NC</a:t>
            </a:r>
            <a:endParaRPr lang="en-US" sz="900"/>
          </a:p>
        </p:txBody>
      </p:sp>
      <p:graphicFrame>
        <p:nvGraphicFramePr>
          <p:cNvPr id="41" name="Diagram 40">
            <a:extLst>
              <a:ext uri="{FF2B5EF4-FFF2-40B4-BE49-F238E27FC236}">
                <a16:creationId xmlns:a16="http://schemas.microsoft.com/office/drawing/2014/main" id="{42DC0C6C-E985-4B37-9132-7CF756D09DB1}"/>
              </a:ext>
            </a:extLst>
          </p:cNvPr>
          <p:cNvGraphicFramePr/>
          <p:nvPr>
            <p:extLst>
              <p:ext uri="{D42A27DB-BD31-4B8C-83A1-F6EECF244321}">
                <p14:modId xmlns:p14="http://schemas.microsoft.com/office/powerpoint/2010/main" val="3261262709"/>
              </p:ext>
            </p:extLst>
          </p:nvPr>
        </p:nvGraphicFramePr>
        <p:xfrm>
          <a:off x="1148692" y="5644363"/>
          <a:ext cx="9901894" cy="91835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46" name="Google Shape;1373;p56">
            <a:extLst>
              <a:ext uri="{FF2B5EF4-FFF2-40B4-BE49-F238E27FC236}">
                <a16:creationId xmlns:a16="http://schemas.microsoft.com/office/drawing/2014/main" id="{6121E138-3F7A-42B6-A4C4-00F258075306}"/>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374;p56">
            <a:extLst>
              <a:ext uri="{FF2B5EF4-FFF2-40B4-BE49-F238E27FC236}">
                <a16:creationId xmlns:a16="http://schemas.microsoft.com/office/drawing/2014/main" id="{58DA82A5-1313-4FAC-ADC4-7AC06B4F5E16}"/>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375;p56">
            <a:extLst>
              <a:ext uri="{FF2B5EF4-FFF2-40B4-BE49-F238E27FC236}">
                <a16:creationId xmlns:a16="http://schemas.microsoft.com/office/drawing/2014/main" id="{A84DD289-F257-4F65-8EF2-02054589E1BD}"/>
              </a:ext>
            </a:extLst>
          </p:cNvPr>
          <p:cNvSpPr/>
          <p:nvPr/>
        </p:nvSpPr>
        <p:spPr>
          <a:xfrm>
            <a:off x="2681425" y="44921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 name="Google Shape;1375;p56">
            <a:extLst>
              <a:ext uri="{FF2B5EF4-FFF2-40B4-BE49-F238E27FC236}">
                <a16:creationId xmlns:a16="http://schemas.microsoft.com/office/drawing/2014/main" id="{B4A5D491-A361-4B40-B8BE-370F0BB8ED1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1373;p56">
            <a:extLst>
              <a:ext uri="{FF2B5EF4-FFF2-40B4-BE49-F238E27FC236}">
                <a16:creationId xmlns:a16="http://schemas.microsoft.com/office/drawing/2014/main" id="{603C48C0-E68B-48D5-80C0-E7326CA4E383}"/>
              </a:ext>
            </a:extLst>
          </p:cNvPr>
          <p:cNvSpPr/>
          <p:nvPr/>
        </p:nvSpPr>
        <p:spPr>
          <a:xfrm>
            <a:off x="6549970" y="387635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375;p56">
            <a:extLst>
              <a:ext uri="{FF2B5EF4-FFF2-40B4-BE49-F238E27FC236}">
                <a16:creationId xmlns:a16="http://schemas.microsoft.com/office/drawing/2014/main" id="{2762DFF7-BE12-4181-BEDE-6FEB9812497B}"/>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4476434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38549E5_E6FA_4FCB_93FB_B092CE5B520D&quot;,&quot;SourceFullName&quot;:&quot;https://www.youtube.com/embed/K6WGjKm1JZo?feature=oembed&quot;,&quot;LastUpdate&quot;:&quot;2021-12-31 1:41 AM&quot;,&quot;UpdatedBy&quot;:&quot;backt&quot;,&quot;IsLinked&quot;:false,&quot;IsBrokenLink&quot;:false,&quot;Type&quot;:2}"/>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FD920DD_3D2F_4903_A012_4363948BFF4F&quot;,&quot;SourceFullName&quot;:&quot;https://www.youtube.com/embed/UaiMWREsuQU?feature=oembed&quot;,&quot;LastUpdate&quot;:&quot;2022-01-09 5:29 AM&quot;,&quot;UpdatedBy&quot;:&quot;backt&quot;,&quot;IsLinked&quot;:false,&quot;IsBrokenLink&quot;:false,&quot;Type&quot;:2}"/>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37DA301_1354_4B74_BB90_2071C262FF7F&quot;,&quot;SourceFullName&quot;:&quot;https://www.youtube.com/embed/WU0gvPcc3jQ?feature=oembed&quot;,&quot;LastUpdate&quot;:&quot;2021-12-23 8:57 PM&quot;,&quot;UpdatedBy&quot;:&quot;backt&quot;,&quot;IsLinked&quot;:false,&quot;IsBrokenLink&quot;:true,&quot;Type&quot;:2}"/>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2B5F27"/>
      </a:dk2>
      <a:lt2>
        <a:srgbClr val="D8FC68"/>
      </a:lt2>
      <a:accent1>
        <a:srgbClr val="DDC855"/>
      </a:accent1>
      <a:accent2>
        <a:srgbClr val="FCA03D"/>
      </a:accent2>
      <a:accent3>
        <a:srgbClr val="E36439"/>
      </a:accent3>
      <a:accent4>
        <a:srgbClr val="C2935B"/>
      </a:accent4>
      <a:accent5>
        <a:srgbClr val="88C25C"/>
      </a:accent5>
      <a:accent6>
        <a:srgbClr val="BFCC86"/>
      </a:accent6>
      <a:hlink>
        <a:srgbClr val="FFCE23"/>
      </a:hlink>
      <a:folHlink>
        <a:srgbClr val="FDEB86"/>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88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82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97ECCC31-8429-4523-BE8D-8F09B7A4D4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4033919[[fn=Circuit]]</Template>
  <TotalTime>5469</TotalTime>
  <Words>1699</Words>
  <Application>Microsoft Office PowerPoint</Application>
  <PresentationFormat>Widescreen</PresentationFormat>
  <Paragraphs>356</Paragraphs>
  <Slides>47</Slides>
  <Notes>27</Notes>
  <HiddenSlides>0</HiddenSlides>
  <MMClips>3</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47</vt:i4>
      </vt:variant>
    </vt:vector>
  </HeadingPairs>
  <TitlesOfParts>
    <vt:vector size="59" baseType="lpstr">
      <vt:lpstr>Arial</vt:lpstr>
      <vt:lpstr>Arial</vt:lpstr>
      <vt:lpstr>Arimo</vt:lpstr>
      <vt:lpstr>Calibri</vt:lpstr>
      <vt:lpstr>charter</vt:lpstr>
      <vt:lpstr>Cinzel</vt:lpstr>
      <vt:lpstr>icomoon</vt:lpstr>
      <vt:lpstr>Saira SemiCondensed</vt:lpstr>
      <vt:lpstr>Saira SemiCondensed ExtraBold</vt:lpstr>
      <vt:lpstr>Sora</vt:lpstr>
      <vt:lpstr>Tw Cen MT</vt:lpstr>
      <vt:lpstr>Circuit</vt:lpstr>
      <vt:lpstr>Advanced Gameplay Mechanics</vt:lpstr>
      <vt:lpstr>Table of contents | Agenda</vt:lpstr>
      <vt:lpstr>PowerPoint Presentation</vt:lpstr>
      <vt:lpstr>PowerPoint Presentation</vt:lpstr>
      <vt:lpstr>PowerPoint Presentation</vt:lpstr>
      <vt:lpstr>PowerPoint Presentation</vt:lpstr>
      <vt:lpstr>Gaming industry rise</vt:lpstr>
      <vt:lpstr>PowerPoint Presentation</vt:lpstr>
      <vt:lpstr>Flow of gaming/Simulation evolution (1)</vt:lpstr>
      <vt:lpstr>Flow of gaming/Simulation evolution (2)</vt:lpstr>
      <vt:lpstr>PowerPoint Presentation</vt:lpstr>
      <vt:lpstr>PowerPoint Presentation</vt:lpstr>
      <vt:lpstr>PowerPoint Presentation</vt:lpstr>
      <vt:lpstr>PowerPoint Presentation</vt:lpstr>
      <vt:lpstr>PowerPoint Presentation</vt:lpstr>
      <vt:lpstr>PowerPoint Presentation</vt:lpstr>
      <vt:lpstr>Programming behind everything</vt:lpstr>
      <vt:lpstr>PowerPoint Presentation</vt:lpstr>
      <vt:lpstr>PowerPoint Presentation</vt:lpstr>
      <vt:lpstr>PowerPoint Presentation</vt:lpstr>
      <vt:lpstr>PowerPoint Presentation</vt:lpstr>
      <vt:lpstr>PowerPoint Presentation</vt:lpstr>
      <vt:lpstr>PowerPoint Presentation</vt:lpstr>
      <vt:lpstr>Metaverse concept (1)</vt:lpstr>
      <vt:lpstr>Metaverse concept (2)</vt:lpstr>
      <vt:lpstr>The metaverse is already here — it’s called Fortnite </vt:lpstr>
      <vt:lpstr>Survival Horror (1)</vt:lpstr>
      <vt:lpstr>Metaverse concept (2)</vt:lpstr>
      <vt:lpstr>Survival Horror (3)</vt:lpstr>
      <vt:lpstr>PowerPoint Presentation</vt:lpstr>
      <vt:lpstr>PowerPoint Presentation</vt:lpstr>
      <vt:lpstr>User Experience</vt:lpstr>
      <vt:lpstr>PowerPoint Presentation</vt:lpstr>
      <vt:lpstr>Gameplay mechanics - DEMO</vt:lpstr>
      <vt:lpstr>Gameplay mechanics - technical</vt:lpstr>
      <vt:lpstr>Gameplay mechanics - technical</vt:lpstr>
      <vt:lpstr>Gameplay mechanics - technical</vt:lpstr>
      <vt:lpstr>Gameplay mechanics - technical</vt:lpstr>
      <vt:lpstr>PowerPoint Presentation</vt:lpstr>
      <vt:lpstr>PowerPoint Presentation</vt:lpstr>
      <vt:lpstr>SDLC &amp; DEV-OPS for R&amp;D</vt:lpstr>
      <vt:lpstr>PowerPoint Presentation</vt:lpstr>
      <vt:lpstr>PowerPoint Presentation</vt:lpstr>
      <vt:lpstr>PowerPoint Presentation</vt:lpstr>
      <vt:lpstr>Enter The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il M</dc:creator>
  <cp:lastModifiedBy>Michail M</cp:lastModifiedBy>
  <cp:revision>470</cp:revision>
  <dcterms:created xsi:type="dcterms:W3CDTF">2021-12-20T17:41:23Z</dcterms:created>
  <dcterms:modified xsi:type="dcterms:W3CDTF">2022-01-10T16:46:18Z</dcterms:modified>
</cp:coreProperties>
</file>